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comments/modernComment_135_819D9188.xml" ContentType="application/vnd.ms-powerpoint.comments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6"/>
  </p:notesMasterIdLst>
  <p:sldIdLst>
    <p:sldId id="256" r:id="rId2"/>
    <p:sldId id="698" r:id="rId3"/>
    <p:sldId id="260" r:id="rId4"/>
    <p:sldId id="699" r:id="rId5"/>
    <p:sldId id="263" r:id="rId6"/>
    <p:sldId id="265" r:id="rId7"/>
    <p:sldId id="267" r:id="rId8"/>
    <p:sldId id="308" r:id="rId9"/>
    <p:sldId id="309" r:id="rId10"/>
    <p:sldId id="310" r:id="rId11"/>
    <p:sldId id="311" r:id="rId12"/>
    <p:sldId id="312" r:id="rId13"/>
    <p:sldId id="315" r:id="rId14"/>
    <p:sldId id="307" r:id="rId15"/>
  </p:sldIdLst>
  <p:sldSz cx="12192000" cy="68580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Franklin Gothic" panose="020B0604020202020204" charset="0"/>
      <p:bold r:id="rId21"/>
    </p:embeddedFont>
    <p:embeddedFont>
      <p:font typeface="Lato Black" panose="020F0502020204030203" pitchFamily="34" charset="0"/>
      <p:bold r:id="rId22"/>
      <p:boldItalic r:id="rId23"/>
    </p:embeddedFont>
    <p:embeddedFont>
      <p:font typeface="Libre Franklin" pitchFamily="2" charset="0"/>
      <p:regular r:id="rId24"/>
      <p:bold r:id="rId25"/>
      <p:italic r:id="rId26"/>
      <p:boldItalic r:id="rId2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76" roundtripDataSignature="AMtx7mgghH6RoZkcjIERekzxCQJVUWwQLg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47D791D-E184-DA20-C4F8-8A00B79EF1D7}" name="Casa 2" initials="C2" userId="S::casa2@infomineo.onmicrosoft.com::d7e8ebbf-1ff4-46f1-9a57-24baf09ba88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AFE7EE9-ED7C-40CA-AF1E-A08888E85C80}">
  <a:tblStyle styleId="{3AFE7EE9-ED7C-40CA-AF1E-A08888E85C80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6F3FF"/>
          </a:solidFill>
        </a:fill>
      </a:tcStyle>
    </a:wholeTbl>
    <a:band1H>
      <a:tcTxStyle b="off" i="off"/>
      <a:tcStyle>
        <a:tcBdr/>
        <a:fill>
          <a:solidFill>
            <a:srgbClr val="CAE6FF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CAE6FF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A20F74DF-852B-4954-AB12-B576ED68018E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61" autoAdjust="0"/>
    <p:restoredTop sz="94660"/>
  </p:normalViewPr>
  <p:slideViewPr>
    <p:cSldViewPr snapToGrid="0">
      <p:cViewPr varScale="1">
        <p:scale>
          <a:sx n="62" d="100"/>
          <a:sy n="62" d="100"/>
        </p:scale>
        <p:origin x="6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6" Type="http://customschemas.google.com/relationships/presentationmetadata" Target="meta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78" Type="http://schemas.openxmlformats.org/officeDocument/2006/relationships/viewProps" Target="viewProps.xml"/><Relationship Id="rId81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80" Type="http://schemas.openxmlformats.org/officeDocument/2006/relationships/tableStyles" Target="tableStyles.xml"/></Relationships>
</file>

<file path=ppt/comments/modernComment_135_819D918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0C57567-2D26-4D99-AA84-29117828EF47}" authorId="{947D791D-E184-DA20-C4F8-8A00B79EF1D7}" created="2023-01-17T11:08:01.003">
    <pc:sldMkLst xmlns:pc="http://schemas.microsoft.com/office/powerpoint/2013/main/command">
      <pc:docMk/>
      <pc:sldMk cId="2174587272" sldId="309"/>
    </pc:sldMkLst>
    <p188:txBody>
      <a:bodyPr/>
      <a:lstStyle/>
      <a:p>
        <a:r>
          <a:rPr lang="en-US"/>
          <a:t>Not sure it is tru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0" name="Google Shape;1080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81" name="Google Shape;1081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4" name="Google Shape;1404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05" name="Google Shape;140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5463288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0" name="Google Shape;1450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51" name="Google Shape;145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679105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6" name="Google Shape;1506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07" name="Google Shape;150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52201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2" name="Google Shape;1632;p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33" name="Google Shape;1633;p7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34" name="Google Shape;1634;p7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416284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8" name="Google Shape;2988;p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89" name="Google Shape;2989;p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990" name="Google Shape;2990;p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" name="Google Shape;482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203713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2" name="Google Shape;1222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23" name="Google Shape;1223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1" name="Google Shape;1281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82" name="Google Shape;128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7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86" name="Google Shape;1386;p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4" name="Google Shape;1404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05" name="Google Shape;140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6" name="Google Shape;1506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07" name="Google Shape;150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7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86" name="Google Shape;1386;p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2815197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1" name="Google Shape;1391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92" name="Google Shape;1392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587425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Infomineo/" TargetMode="External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hyperlink" Target="https://infomineo.com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linkedin.com/company-beta/2416143/admin/updates/" TargetMode="External"/><Relationship Id="rId5" Type="http://schemas.openxmlformats.org/officeDocument/2006/relationships/image" Target="../media/image5.png"/><Relationship Id="rId4" Type="http://schemas.openxmlformats.org/officeDocument/2006/relationships/hyperlink" Target="https://infomineo.com/insights/blog/" TargetMode="External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 type="title">
  <p:cSld name="TITL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46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6"/>
          <p:cNvSpPr/>
          <p:nvPr/>
        </p:nvSpPr>
        <p:spPr>
          <a:xfrm>
            <a:off x="536448" y="540000"/>
            <a:ext cx="6363891" cy="631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8235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8235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6"/>
          <p:cNvSpPr txBox="1"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46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46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8" name="Google Shape;38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02896" y="901732"/>
            <a:ext cx="2497452" cy="5742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6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235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63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6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3" name="Google Shape;203;p63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64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235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p64"/>
          <p:cNvSpPr txBox="1">
            <a:spLocks noGrp="1"/>
          </p:cNvSpPr>
          <p:nvPr>
            <p:ph type="title"/>
          </p:nvPr>
        </p:nvSpPr>
        <p:spPr>
          <a:xfrm>
            <a:off x="539400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6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8" name="Google Shape;208;p6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" name="Google Shape;209;p64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6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6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13" name="Google Shape;213;p6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4" name="Google Shape;214;p6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5" name="Google Shape;215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19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" name="Google Shape;228;p6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6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0" name="Google Shape;230;p6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Gradient BG (with Title)">
  <p:cSld name="1_Gradient BG (with Title)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6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3" name="Google Shape;233;p66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4" name="Google Shape;234;p6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35;p6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6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37;p6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6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6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6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6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6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6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6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6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6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7" name="Google Shape;247;p66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6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9" name="Google Shape;249;p6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67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p67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" name="Google Shape;253;p67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" name="Google Shape;254;p6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5" name="Google Shape;255;p6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56" name="Google Shape;256;p6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6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6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6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6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6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6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6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6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6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6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6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6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9" name="Google Shape;269;p6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67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Google Shape;27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6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8235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p69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8235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5" name="Google Shape;275;p6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76" name="Google Shape;276;p6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6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6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6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6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6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6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6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6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6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6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9" name="Google Shape;289;p6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6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" name="Google Shape;291;p69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70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3137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4" name="Google Shape;294;p70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95" name="Google Shape;295;p70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70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70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70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70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70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70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70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70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70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70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70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70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70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70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70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70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70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70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" name="Google Shape;314;p70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5" name="Google Shape;315;p70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6" name="Google Shape;316;p70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7" name="Google Shape;317;p70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8" name="Google Shape;318;p70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823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319;p70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3137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70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3333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1" name="Google Shape;321;p70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22" name="Google Shape;322;p70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70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70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70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70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70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70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329;p70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p70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331;p70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332;p70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3" name="Google Shape;333;p70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p70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5" name="Google Shape;335;p7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6" name="Google Shape;336;p70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37" name="Google Shape;337;p70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338;p70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70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340;p70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341;p70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Full-width Page">
  <p:cSld name="5_Full-width Page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Google Shape;343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" y="0"/>
            <a:ext cx="34924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71"/>
          <p:cNvSpPr/>
          <p:nvPr/>
        </p:nvSpPr>
        <p:spPr>
          <a:xfrm>
            <a:off x="0" y="-1"/>
            <a:ext cx="3492497" cy="6857999"/>
          </a:xfrm>
          <a:prstGeom prst="rect">
            <a:avLst/>
          </a:prstGeom>
          <a:gradFill>
            <a:gsLst>
              <a:gs pos="0">
                <a:schemeClr val="dk2"/>
              </a:gs>
              <a:gs pos="76000">
                <a:srgbClr val="4873F5">
                  <a:alpha val="83137"/>
                </a:srgbClr>
              </a:gs>
              <a:gs pos="100000">
                <a:srgbClr val="00B9FF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71"/>
          <p:cNvSpPr txBox="1">
            <a:spLocks noGrp="1"/>
          </p:cNvSpPr>
          <p:nvPr>
            <p:ph type="title"/>
          </p:nvPr>
        </p:nvSpPr>
        <p:spPr>
          <a:xfrm>
            <a:off x="376385" y="410423"/>
            <a:ext cx="30235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6" name="Google Shape;346;p71"/>
          <p:cNvCxnSpPr/>
          <p:nvPr/>
        </p:nvCxnSpPr>
        <p:spPr>
          <a:xfrm>
            <a:off x="362847" y="361101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48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" name="Google Shape;66;p48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48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" name="Google Shape;68;p4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" name="Google Shape;69;p4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70" name="Google Shape;70;p4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1;p4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2;p4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3;p4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4;p4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5;p4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76;p4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7;p4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78;p4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;p4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80;p4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81;p4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2;p4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" name="Google Shape;83;p4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4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22035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118773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 (with background)">
  <p:cSld name="2_Title only (with background)">
    <p:bg>
      <p:bgPr>
        <a:solidFill>
          <a:schemeClr val="lt2"/>
        </a:solidFill>
        <a:effectLst/>
      </p:bgPr>
    </p:bg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Google Shape;707;p8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8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709" name="Google Shape;709;p83"/>
          <p:cNvGrpSpPr/>
          <p:nvPr/>
        </p:nvGrpSpPr>
        <p:grpSpPr>
          <a:xfrm>
            <a:off x="11979441" y="4535495"/>
            <a:ext cx="110800" cy="2041948"/>
            <a:chOff x="11979441" y="4535495"/>
            <a:chExt cx="110800" cy="2041948"/>
          </a:xfrm>
        </p:grpSpPr>
        <p:grpSp>
          <p:nvGrpSpPr>
            <p:cNvPr id="710" name="Google Shape;710;p83"/>
            <p:cNvGrpSpPr/>
            <p:nvPr/>
          </p:nvGrpSpPr>
          <p:grpSpPr>
            <a:xfrm>
              <a:off x="11998460" y="6135518"/>
              <a:ext cx="68500" cy="441925"/>
              <a:chOff x="11998459" y="6162188"/>
              <a:chExt cx="68500" cy="441925"/>
            </a:xfrm>
          </p:grpSpPr>
          <p:sp>
            <p:nvSpPr>
              <p:cNvPr id="711" name="Google Shape;711;p83"/>
              <p:cNvSpPr/>
              <p:nvPr/>
            </p:nvSpPr>
            <p:spPr>
              <a:xfrm rot="-5400000">
                <a:off x="12063068" y="6476346"/>
                <a:ext cx="17" cy="1717"/>
              </a:xfrm>
              <a:custGeom>
                <a:avLst/>
                <a:gdLst/>
                <a:ahLst/>
                <a:cxnLst/>
                <a:rect l="l" t="t" r="r" b="b"/>
                <a:pathLst>
                  <a:path w="17" h="1717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2" name="Google Shape;712;p83"/>
              <p:cNvSpPr/>
              <p:nvPr/>
            </p:nvSpPr>
            <p:spPr>
              <a:xfrm rot="-5400000">
                <a:off x="12023737" y="6455896"/>
                <a:ext cx="453" cy="271"/>
              </a:xfrm>
              <a:custGeom>
                <a:avLst/>
                <a:gdLst/>
                <a:ahLst/>
                <a:cxnLst/>
                <a:rect l="l" t="t" r="r" b="b"/>
                <a:pathLst>
                  <a:path w="453" h="271" extrusionOk="0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" name="Google Shape;713;p83"/>
              <p:cNvSpPr/>
              <p:nvPr/>
            </p:nvSpPr>
            <p:spPr>
              <a:xfrm rot="-5400000">
                <a:off x="12023907" y="6477766"/>
                <a:ext cx="15" cy="76"/>
              </a:xfrm>
              <a:custGeom>
                <a:avLst/>
                <a:gdLst/>
                <a:ahLst/>
                <a:cxnLst/>
                <a:rect l="l" t="t" r="r" b="b"/>
                <a:pathLst>
                  <a:path w="15" h="76" extrusionOk="0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4" name="Google Shape;714;p83"/>
              <p:cNvSpPr/>
              <p:nvPr/>
            </p:nvSpPr>
            <p:spPr>
              <a:xfrm rot="-5400000">
                <a:off x="12021636" y="6473651"/>
                <a:ext cx="261" cy="103"/>
              </a:xfrm>
              <a:custGeom>
                <a:avLst/>
                <a:gdLst/>
                <a:ahLst/>
                <a:cxnLst/>
                <a:rect l="l" t="t" r="r" b="b"/>
                <a:pathLst>
                  <a:path w="261" h="103" extrusionOk="0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83"/>
              <p:cNvSpPr/>
              <p:nvPr/>
            </p:nvSpPr>
            <p:spPr>
              <a:xfrm rot="-5400000">
                <a:off x="12015635" y="6442208"/>
                <a:ext cx="51323" cy="51323"/>
              </a:xfrm>
              <a:custGeom>
                <a:avLst/>
                <a:gdLst/>
                <a:ahLst/>
                <a:cxnLst/>
                <a:rect l="l" t="t" r="r" b="b"/>
                <a:pathLst>
                  <a:path w="51323" h="51323" extrusionOk="0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6" name="Google Shape;716;p83"/>
              <p:cNvSpPr/>
              <p:nvPr/>
            </p:nvSpPr>
            <p:spPr>
              <a:xfrm rot="-5400000">
                <a:off x="12026199" y="6563439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" name="Google Shape;717;p83"/>
              <p:cNvSpPr/>
              <p:nvPr/>
            </p:nvSpPr>
            <p:spPr>
              <a:xfrm rot="-5400000">
                <a:off x="12018640" y="6529825"/>
                <a:ext cx="45208" cy="51256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6" extrusionOk="0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" name="Google Shape;718;p83"/>
              <p:cNvSpPr/>
              <p:nvPr/>
            </p:nvSpPr>
            <p:spPr>
              <a:xfrm rot="-5400000">
                <a:off x="12018195" y="6477145"/>
                <a:ext cx="28942" cy="68414"/>
              </a:xfrm>
              <a:custGeom>
                <a:avLst/>
                <a:gdLst/>
                <a:ahLst/>
                <a:cxnLst/>
                <a:rect l="l" t="t" r="r" b="b"/>
                <a:pathLst>
                  <a:path w="28942" h="68414" extrusionOk="0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" name="Google Shape;719;p83"/>
              <p:cNvSpPr/>
              <p:nvPr/>
            </p:nvSpPr>
            <p:spPr>
              <a:xfrm rot="-5400000">
                <a:off x="12016830" y="6161182"/>
                <a:ext cx="49036" cy="51048"/>
              </a:xfrm>
              <a:custGeom>
                <a:avLst/>
                <a:gdLst/>
                <a:ahLst/>
                <a:cxnLst/>
                <a:rect l="l" t="t" r="r" b="b"/>
                <a:pathLst>
                  <a:path w="49036" h="51048" extrusionOk="0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0" name="Google Shape;720;p83"/>
              <p:cNvSpPr/>
              <p:nvPr/>
            </p:nvSpPr>
            <p:spPr>
              <a:xfrm rot="-5400000">
                <a:off x="12005374" y="6370523"/>
                <a:ext cx="71791" cy="51205"/>
              </a:xfrm>
              <a:custGeom>
                <a:avLst/>
                <a:gdLst/>
                <a:ahLst/>
                <a:cxnLst/>
                <a:rect l="l" t="t" r="r" b="b"/>
                <a:pathLst>
                  <a:path w="71791" h="51205" extrusionOk="0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" name="Google Shape;721;p83"/>
              <p:cNvSpPr/>
              <p:nvPr/>
            </p:nvSpPr>
            <p:spPr>
              <a:xfrm rot="-5400000">
                <a:off x="12026199" y="6307354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2" name="Google Shape;722;p83"/>
              <p:cNvSpPr/>
              <p:nvPr/>
            </p:nvSpPr>
            <p:spPr>
              <a:xfrm rot="-5400000">
                <a:off x="12018641" y="6273739"/>
                <a:ext cx="45208" cy="51255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5" extrusionOk="0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" name="Google Shape;723;p83"/>
              <p:cNvSpPr/>
              <p:nvPr/>
            </p:nvSpPr>
            <p:spPr>
              <a:xfrm rot="-5400000">
                <a:off x="12017163" y="6218687"/>
                <a:ext cx="48082" cy="51510"/>
              </a:xfrm>
              <a:custGeom>
                <a:avLst/>
                <a:gdLst/>
                <a:ahLst/>
                <a:cxnLst/>
                <a:rect l="l" t="t" r="r" b="b"/>
                <a:pathLst>
                  <a:path w="48082" h="51510" extrusionOk="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724" name="Google Shape;724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1811888" y="6322371"/>
              <a:ext cx="441438" cy="6870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25" name="Google Shape;725;p83"/>
            <p:cNvSpPr txBox="1"/>
            <p:nvPr/>
          </p:nvSpPr>
          <p:spPr>
            <a:xfrm rot="-5400000">
              <a:off x="11250972" y="5263963"/>
              <a:ext cx="1567737" cy="11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0. All rights reserved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26" name="Google Shape;726;p83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923060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47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" name="Google Shape;42;p47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oogle Shape;44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68"/>
          <p:cNvSpPr/>
          <p:nvPr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lt2">
              <a:alpha val="68235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" name="Google Shape;46;p68"/>
          <p:cNvSpPr/>
          <p:nvPr/>
        </p:nvSpPr>
        <p:spPr>
          <a:xfrm>
            <a:off x="0" y="3700463"/>
            <a:ext cx="9412014" cy="2414587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235"/>
                </a:srgbClr>
              </a:gs>
              <a:gs pos="100000">
                <a:srgbClr val="43E1D3">
                  <a:alpha val="88235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68"/>
          <p:cNvSpPr txBox="1">
            <a:spLocks noGrp="1"/>
          </p:cNvSpPr>
          <p:nvPr>
            <p:ph type="title"/>
          </p:nvPr>
        </p:nvSpPr>
        <p:spPr>
          <a:xfrm>
            <a:off x="737591" y="4108436"/>
            <a:ext cx="8494899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8235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" name="Google Shape;48;p6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49" name="Google Shape;49;p6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6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6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6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6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6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6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6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6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6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6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6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6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" name="Google Shape;62;p6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6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st Page">
  <p:cSld name="Last Page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5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" name="Google Shape;138;p57"/>
          <p:cNvSpPr txBox="1"/>
          <p:nvPr/>
        </p:nvSpPr>
        <p:spPr>
          <a:xfrm>
            <a:off x="550863" y="5965461"/>
            <a:ext cx="302890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sng" strike="noStrike" cap="none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fomineo.com</a:t>
            </a:r>
            <a:endParaRPr sz="1200" b="1" i="0" u="none" strike="noStrike" cap="none">
              <a:solidFill>
                <a:srgbClr val="43E1D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9" name="Google Shape;139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56669" y="3006053"/>
            <a:ext cx="3678662" cy="845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0" name="Google Shape;140;p57">
            <a:hlinkClick r:id="rId4"/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323329" y="5965461"/>
            <a:ext cx="370332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1" name="Google Shape;141;p57">
            <a:hlinkClick r:id="rId6"/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825964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2" name="Google Shape;142;p57">
            <a:hlinkClick r:id="rId8"/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328599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5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5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6" name="Google Shape;146;p5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50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5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50" name="Google Shape;150;p5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1" name="Google Shape;151;p5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5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5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5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5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5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5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5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5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5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5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5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5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4" name="Google Shape;164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p5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5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5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5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" name="Google Shape;170;p59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59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59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59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5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6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" name="Google Shape;178;p60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60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60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60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60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60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6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62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6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" name="Google Shape;188;p62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62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62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" name="Google Shape;191;p62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62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62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62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62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62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62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6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oogle Shape;10;p4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4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4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4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4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4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4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4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4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4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4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4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4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45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4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45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" name="Google Shape;29;p4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4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45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730" r:id="rId18"/>
    <p:sldLayoutId id="2147483731" r:id="rId1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9.png"/><Relationship Id="rId5" Type="http://schemas.openxmlformats.org/officeDocument/2006/relationships/image" Target="../media/image58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Relationship Id="rId9" Type="http://schemas.openxmlformats.org/officeDocument/2006/relationships/image" Target="../media/image5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66.png"/><Relationship Id="rId5" Type="http://schemas.openxmlformats.org/officeDocument/2006/relationships/image" Target="../media/image58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5" Type="http://schemas.openxmlformats.org/officeDocument/2006/relationships/image" Target="../media/image70.png"/><Relationship Id="rId10" Type="http://schemas.openxmlformats.org/officeDocument/2006/relationships/image" Target="../media/image75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35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34" Type="http://schemas.openxmlformats.org/officeDocument/2006/relationships/image" Target="../media/image43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4.jpg"/><Relationship Id="rId33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29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32" Type="http://schemas.openxmlformats.org/officeDocument/2006/relationships/image" Target="../media/image41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31" Type="http://schemas.openxmlformats.org/officeDocument/2006/relationships/image" Target="../media/image40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36.png"/><Relationship Id="rId30" Type="http://schemas.openxmlformats.org/officeDocument/2006/relationships/image" Target="../media/image39.png"/><Relationship Id="rId8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image" Target="../media/image58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6" Type="http://schemas.openxmlformats.org/officeDocument/2006/relationships/image" Target="../media/image58.emf"/><Relationship Id="rId5" Type="http://schemas.openxmlformats.org/officeDocument/2006/relationships/oleObject" Target="../embeddings/oleObject3.bin"/><Relationship Id="rId4" Type="http://schemas.microsoft.com/office/2018/10/relationships/comments" Target="../comments/modernComment_135_819D91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3" name="Google Shape;1083;p1"/>
          <p:cNvSpPr txBox="1">
            <a:spLocks noGrp="1"/>
          </p:cNvSpPr>
          <p:nvPr>
            <p:ph type="ctrTitle"/>
          </p:nvPr>
        </p:nvSpPr>
        <p:spPr>
          <a:xfrm>
            <a:off x="820703" y="2330237"/>
            <a:ext cx="5853504" cy="2456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500"/>
              <a:buFont typeface="Franklin Gothic"/>
              <a:buNone/>
            </a:pPr>
            <a:r>
              <a:rPr lang="en-US" sz="5400" dirty="0" err="1"/>
              <a:t>Infomineo</a:t>
            </a:r>
            <a:r>
              <a:rPr lang="en-US" sz="5400" dirty="0"/>
              <a:t> presentation</a:t>
            </a:r>
            <a:br>
              <a:rPr lang="en-US" sz="5400" dirty="0"/>
            </a:br>
            <a:br>
              <a:rPr lang="en-US" sz="7200" dirty="0"/>
            </a:br>
            <a:endParaRPr sz="4800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7705C9ED-E66E-0375-F73D-08098A239B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703" y="4500262"/>
            <a:ext cx="2591974" cy="166214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26DEB3-3265-216D-7BC6-01475BCAF0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26DEB3-3265-216D-7BC6-01475BCAF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07" name="Google Shape;1407;p9"/>
          <p:cNvSpPr/>
          <p:nvPr/>
        </p:nvSpPr>
        <p:spPr>
          <a:xfrm>
            <a:off x="550863" y="1562582"/>
            <a:ext cx="3387145" cy="4734829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294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8" name="Google Shape;1408;p9"/>
          <p:cNvSpPr/>
          <p:nvPr/>
        </p:nvSpPr>
        <p:spPr>
          <a:xfrm>
            <a:off x="4355141" y="1651150"/>
            <a:ext cx="3387145" cy="4734829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294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9" name="Google Shape;1409;p9"/>
          <p:cNvSpPr/>
          <p:nvPr/>
        </p:nvSpPr>
        <p:spPr>
          <a:xfrm>
            <a:off x="8273352" y="1562582"/>
            <a:ext cx="3387145" cy="4734829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294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Calibri"/>
              <a:buNone/>
            </a:pP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0" name="Google Shape;1410;p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 err="1"/>
              <a:t>Infomineo</a:t>
            </a:r>
            <a:r>
              <a:rPr lang="en-US" dirty="0"/>
              <a:t> offers a full suite of Data Analytics Services</a:t>
            </a:r>
            <a:endParaRPr dirty="0"/>
          </a:p>
        </p:txBody>
      </p:sp>
      <p:sp>
        <p:nvSpPr>
          <p:cNvPr id="1411" name="Google Shape;1411;p9"/>
          <p:cNvSpPr txBox="1"/>
          <p:nvPr/>
        </p:nvSpPr>
        <p:spPr>
          <a:xfrm>
            <a:off x="1922076" y="2395692"/>
            <a:ext cx="1942311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Exploration &amp; Cleaning</a:t>
            </a:r>
          </a:p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Visualization : reports, automated dashboards</a:t>
            </a:r>
          </a:p>
        </p:txBody>
      </p:sp>
      <p:sp>
        <p:nvSpPr>
          <p:cNvPr id="1412" name="Google Shape;1412;p9"/>
          <p:cNvSpPr/>
          <p:nvPr/>
        </p:nvSpPr>
        <p:spPr>
          <a:xfrm>
            <a:off x="8690485" y="1772498"/>
            <a:ext cx="255287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Three Types of Suppor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3" name="Google Shape;1413;p9"/>
          <p:cNvSpPr/>
          <p:nvPr/>
        </p:nvSpPr>
        <p:spPr>
          <a:xfrm>
            <a:off x="4549902" y="1772498"/>
            <a:ext cx="311155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Business Oriented Approach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4" name="Google Shape;1414;p9"/>
          <p:cNvSpPr/>
          <p:nvPr/>
        </p:nvSpPr>
        <p:spPr>
          <a:xfrm>
            <a:off x="902337" y="1772498"/>
            <a:ext cx="26841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Three Levels of Analytic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5" name="Google Shape;1415;p9"/>
          <p:cNvSpPr/>
          <p:nvPr/>
        </p:nvSpPr>
        <p:spPr>
          <a:xfrm rot="5400000">
            <a:off x="631786" y="2392859"/>
            <a:ext cx="1280160" cy="1005840"/>
          </a:xfrm>
          <a:prstGeom prst="homePlate">
            <a:avLst>
              <a:gd name="adj" fmla="val 18367"/>
            </a:avLst>
          </a:prstGeom>
          <a:solidFill>
            <a:schemeClr val="lt1">
              <a:alpha val="47843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6" name="Google Shape;1416;p9"/>
          <p:cNvSpPr/>
          <p:nvPr/>
        </p:nvSpPr>
        <p:spPr>
          <a:xfrm rot="5400000">
            <a:off x="638694" y="3701449"/>
            <a:ext cx="1280160" cy="1005840"/>
          </a:xfrm>
          <a:prstGeom prst="chevron">
            <a:avLst>
              <a:gd name="adj" fmla="val 17686"/>
            </a:avLst>
          </a:prstGeom>
          <a:solidFill>
            <a:schemeClr val="lt1">
              <a:alpha val="47843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7" name="Google Shape;1417;p9"/>
          <p:cNvSpPr/>
          <p:nvPr/>
        </p:nvSpPr>
        <p:spPr>
          <a:xfrm rot="5400000">
            <a:off x="626667" y="5076686"/>
            <a:ext cx="1280160" cy="1029893"/>
          </a:xfrm>
          <a:prstGeom prst="chevron">
            <a:avLst>
              <a:gd name="adj" fmla="val 17686"/>
            </a:avLst>
          </a:prstGeom>
          <a:solidFill>
            <a:schemeClr val="lt1">
              <a:alpha val="47843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9" name="Google Shape;1419;p9"/>
          <p:cNvSpPr txBox="1"/>
          <p:nvPr/>
        </p:nvSpPr>
        <p:spPr>
          <a:xfrm>
            <a:off x="799426" y="2701880"/>
            <a:ext cx="944880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Analysis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0" name="Google Shape;1420;p9"/>
          <p:cNvSpPr txBox="1"/>
          <p:nvPr/>
        </p:nvSpPr>
        <p:spPr>
          <a:xfrm>
            <a:off x="806334" y="4062561"/>
            <a:ext cx="944880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Science</a:t>
            </a:r>
            <a:endParaRPr sz="1200" b="0" i="0" u="none" strike="noStrike" cap="none" dirty="0">
              <a:solidFill>
                <a:srgbClr val="3D3D3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1" name="Google Shape;1421;p9"/>
          <p:cNvSpPr txBox="1"/>
          <p:nvPr/>
        </p:nvSpPr>
        <p:spPr>
          <a:xfrm>
            <a:off x="794307" y="5397733"/>
            <a:ext cx="944880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Engineering</a:t>
            </a:r>
            <a:endParaRPr sz="1200" b="0" i="0" u="none" strike="noStrike" cap="none" dirty="0">
              <a:solidFill>
                <a:srgbClr val="3D3D3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3" name="Google Shape;1423;p9"/>
          <p:cNvSpPr txBox="1"/>
          <p:nvPr/>
        </p:nvSpPr>
        <p:spPr>
          <a:xfrm>
            <a:off x="1940230" y="3731597"/>
            <a:ext cx="1867604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Statistical Analysis</a:t>
            </a:r>
          </a:p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 building &amp; tuning</a:t>
            </a:r>
          </a:p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 evaluation &amp; </a:t>
            </a: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retraining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4" name="Google Shape;1424;p9"/>
          <p:cNvSpPr txBox="1"/>
          <p:nvPr/>
        </p:nvSpPr>
        <p:spPr>
          <a:xfrm>
            <a:off x="1922076" y="5116310"/>
            <a:ext cx="2046412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Featur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e Engineering : </a:t>
            </a: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wrangling, Data transformation</a:t>
            </a:r>
          </a:p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 Deployment &amp; scalabilit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26" name="Google Shape;1426;p9"/>
          <p:cNvGrpSpPr/>
          <p:nvPr/>
        </p:nvGrpSpPr>
        <p:grpSpPr>
          <a:xfrm>
            <a:off x="4901566" y="3301318"/>
            <a:ext cx="2266638" cy="2074300"/>
            <a:chOff x="4972362" y="3358004"/>
            <a:chExt cx="2266638" cy="2074300"/>
          </a:xfrm>
        </p:grpSpPr>
        <p:sp>
          <p:nvSpPr>
            <p:cNvPr id="1427" name="Google Shape;1427;p9"/>
            <p:cNvSpPr/>
            <p:nvPr/>
          </p:nvSpPr>
          <p:spPr>
            <a:xfrm>
              <a:off x="4972362" y="3358004"/>
              <a:ext cx="1254110" cy="1254111"/>
            </a:xfrm>
            <a:prstGeom prst="flowChartConnector">
              <a:avLst/>
            </a:prstGeom>
            <a:ln>
              <a:headEnd type="none" w="sm" len="sm"/>
              <a:tailEnd type="none" w="sm" len="sm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8" name="Google Shape;1428;p9"/>
            <p:cNvSpPr/>
            <p:nvPr/>
          </p:nvSpPr>
          <p:spPr>
            <a:xfrm>
              <a:off x="5984890" y="3358004"/>
              <a:ext cx="1254110" cy="1254111"/>
            </a:xfrm>
            <a:prstGeom prst="flowChartConnector">
              <a:avLst/>
            </a:prstGeom>
            <a:ln>
              <a:headEnd type="none" w="sm" len="sm"/>
              <a:tailEnd type="none" w="sm" len="sm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9" name="Google Shape;1429;p9"/>
            <p:cNvSpPr/>
            <p:nvPr/>
          </p:nvSpPr>
          <p:spPr>
            <a:xfrm>
              <a:off x="5478626" y="4178193"/>
              <a:ext cx="1254110" cy="1254111"/>
            </a:xfrm>
            <a:prstGeom prst="flowChartConnector">
              <a:avLst/>
            </a:prstGeom>
            <a:ln>
              <a:headEnd type="none" w="sm" len="sm"/>
              <a:tailEnd type="none" w="sm" len="sm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30" name="Google Shape;1430;p9"/>
          <p:cNvSpPr txBox="1"/>
          <p:nvPr/>
        </p:nvSpPr>
        <p:spPr>
          <a:xfrm>
            <a:off x="4932913" y="3661259"/>
            <a:ext cx="982722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Business &amp; Data Understanding</a:t>
            </a:r>
            <a:endParaRPr sz="11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1" name="Google Shape;1431;p9"/>
          <p:cNvSpPr txBox="1"/>
          <p:nvPr/>
        </p:nvSpPr>
        <p:spPr>
          <a:xfrm>
            <a:off x="6084385" y="3738973"/>
            <a:ext cx="863163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Agile Methodology</a:t>
            </a:r>
            <a:endParaRPr sz="11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2" name="Google Shape;1432;p9"/>
          <p:cNvSpPr txBox="1"/>
          <p:nvPr/>
        </p:nvSpPr>
        <p:spPr>
          <a:xfrm>
            <a:off x="5487345" y="4613479"/>
            <a:ext cx="1095080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elivery Management</a:t>
            </a:r>
            <a:endParaRPr sz="11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3" name="Google Shape;1433;p9"/>
          <p:cNvSpPr txBox="1"/>
          <p:nvPr/>
        </p:nvSpPr>
        <p:spPr>
          <a:xfrm>
            <a:off x="4468656" y="2675679"/>
            <a:ext cx="1429647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200" dirty="0" err="1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Infomineo’s</a:t>
            </a:r>
            <a:r>
              <a:rPr lang="en-US" sz="1200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 teams demonstrate a high Business sense</a:t>
            </a:r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4" name="Google Shape;1434;p9"/>
          <p:cNvSpPr txBox="1"/>
          <p:nvPr/>
        </p:nvSpPr>
        <p:spPr>
          <a:xfrm>
            <a:off x="6366517" y="2696861"/>
            <a:ext cx="1346242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1" algn="ctr">
              <a:lnSpc>
                <a:spcPct val="90000"/>
              </a:lnSpc>
              <a:buClr>
                <a:schemeClr val="accent4"/>
              </a:buClr>
              <a:buSzPts val="1400"/>
            </a:pPr>
            <a:r>
              <a:rPr lang="en-US" sz="1200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We work in an iterative approach to fulfill clients needs quickly</a:t>
            </a:r>
            <a:endParaRPr sz="1200" dirty="0">
              <a:solidFill>
                <a:srgbClr val="3D3D3D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435" name="Google Shape;1435;p9"/>
          <p:cNvSpPr txBox="1"/>
          <p:nvPr/>
        </p:nvSpPr>
        <p:spPr>
          <a:xfrm>
            <a:off x="5031283" y="5511020"/>
            <a:ext cx="214879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2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Release &amp; Change Management are handled: versioning, unit tests, model validation, code reviews, documentation…  </a:t>
            </a:r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6" name="Google Shape;1436;p9"/>
          <p:cNvSpPr/>
          <p:nvPr/>
        </p:nvSpPr>
        <p:spPr>
          <a:xfrm>
            <a:off x="8415054" y="2255699"/>
            <a:ext cx="1115025" cy="1115026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" name="Google Shape;1437;p9"/>
          <p:cNvSpPr/>
          <p:nvPr/>
        </p:nvSpPr>
        <p:spPr>
          <a:xfrm>
            <a:off x="8415054" y="3633852"/>
            <a:ext cx="1115025" cy="1115026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8" name="Google Shape;1438;p9"/>
          <p:cNvSpPr/>
          <p:nvPr/>
        </p:nvSpPr>
        <p:spPr>
          <a:xfrm>
            <a:off x="8415054" y="5012004"/>
            <a:ext cx="1115025" cy="1115026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9" name="Google Shape;1439;p9"/>
          <p:cNvSpPr txBox="1"/>
          <p:nvPr/>
        </p:nvSpPr>
        <p:spPr>
          <a:xfrm>
            <a:off x="8385945" y="4018564"/>
            <a:ext cx="1144134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Interactive Visualization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0" name="Google Shape;1440;p9"/>
          <p:cNvSpPr txBox="1"/>
          <p:nvPr/>
        </p:nvSpPr>
        <p:spPr>
          <a:xfrm>
            <a:off x="8463752" y="2619313"/>
            <a:ext cx="1049335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Preparation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9"/>
          <p:cNvSpPr txBox="1"/>
          <p:nvPr/>
        </p:nvSpPr>
        <p:spPr>
          <a:xfrm>
            <a:off x="8503916" y="5472567"/>
            <a:ext cx="988026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ing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2" name="Google Shape;1442;p9"/>
          <p:cNvSpPr txBox="1"/>
          <p:nvPr/>
        </p:nvSpPr>
        <p:spPr>
          <a:xfrm>
            <a:off x="9645638" y="5244993"/>
            <a:ext cx="1790489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Building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p</a:t>
            </a: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redictive and prescriptive models &amp; possibility to deploy to productio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4" name="Google Shape;1444;p9"/>
          <p:cNvSpPr txBox="1"/>
          <p:nvPr/>
        </p:nvSpPr>
        <p:spPr>
          <a:xfrm>
            <a:off x="9653405" y="3973591"/>
            <a:ext cx="1790489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Building and maintaining self service analytic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1400;p8">
            <a:extLst>
              <a:ext uri="{FF2B5EF4-FFF2-40B4-BE49-F238E27FC236}">
                <a16:creationId xmlns:a16="http://schemas.microsoft.com/office/drawing/2014/main" id="{09B7420E-07FF-5A01-0077-413D903814B3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 dirty="0">
                <a:solidFill>
                  <a:schemeClr val="bg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sz="14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BEF7809-1304-BB3B-8466-062E965920D1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6" name="Google Shape;1401;p8">
              <a:extLst>
                <a:ext uri="{FF2B5EF4-FFF2-40B4-BE49-F238E27FC236}">
                  <a16:creationId xmlns:a16="http://schemas.microsoft.com/office/drawing/2014/main" id="{45037A39-E961-9573-1D46-AE6362AE12DD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D00EA03-4E69-E82D-B336-107B61E968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Google Shape;1444;p9">
            <a:extLst>
              <a:ext uri="{FF2B5EF4-FFF2-40B4-BE49-F238E27FC236}">
                <a16:creationId xmlns:a16="http://schemas.microsoft.com/office/drawing/2014/main" id="{D34CF46D-A9DF-C000-16E7-7A9F46D01D46}"/>
              </a:ext>
            </a:extLst>
          </p:cNvPr>
          <p:cNvSpPr txBox="1"/>
          <p:nvPr/>
        </p:nvSpPr>
        <p:spPr>
          <a:xfrm>
            <a:off x="9653405" y="2328465"/>
            <a:ext cx="1790489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Gathering Data from various storage, Assessing Data Quality and processing cleaning and wrangling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81854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3" name="Google Shape;1453;p10"/>
          <p:cNvSpPr/>
          <p:nvPr/>
        </p:nvSpPr>
        <p:spPr>
          <a:xfrm>
            <a:off x="969649" y="1447024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" name="Google Shape;1454;p10"/>
          <p:cNvSpPr/>
          <p:nvPr/>
        </p:nvSpPr>
        <p:spPr>
          <a:xfrm>
            <a:off x="5338130" y="1447024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5" name="Google Shape;1455;p10"/>
          <p:cNvSpPr/>
          <p:nvPr/>
        </p:nvSpPr>
        <p:spPr>
          <a:xfrm>
            <a:off x="8570032" y="1447024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6" name="Google Shape;1456;p10"/>
          <p:cNvSpPr/>
          <p:nvPr/>
        </p:nvSpPr>
        <p:spPr>
          <a:xfrm>
            <a:off x="3544766" y="3289569"/>
            <a:ext cx="5568814" cy="3416068"/>
          </a:xfrm>
          <a:prstGeom prst="roundRect">
            <a:avLst>
              <a:gd name="adj" fmla="val 2870"/>
            </a:avLst>
          </a:prstGeom>
          <a:solidFill>
            <a:srgbClr val="CDD9FC">
              <a:alpha val="60000"/>
            </a:srgbClr>
          </a:solidFill>
          <a:ln>
            <a:noFill/>
          </a:ln>
        </p:spPr>
        <p:txBody>
          <a:bodyPr spcFirstLastPara="1" wrap="square" lIns="0" tIns="37325" rIns="0" bIns="37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7" name="Google Shape;1457;p1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/>
              <a:t>Our approach to helping you</a:t>
            </a:r>
            <a:endParaRPr/>
          </a:p>
        </p:txBody>
      </p:sp>
      <p:sp>
        <p:nvSpPr>
          <p:cNvPr id="1458" name="Google Shape;1458;p10"/>
          <p:cNvSpPr txBox="1"/>
          <p:nvPr/>
        </p:nvSpPr>
        <p:spPr>
          <a:xfrm>
            <a:off x="454519" y="3541181"/>
            <a:ext cx="1448398" cy="3164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Understanding client needs and objectiv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 a deep understanding of the client objectives: 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ype of analytics support considered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questions to answer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ess a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vailable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a, data needs if any, critical data elements to take care of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nned use of the analytics outpu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9" name="Google Shape;1459;p10"/>
          <p:cNvSpPr txBox="1"/>
          <p:nvPr/>
        </p:nvSpPr>
        <p:spPr>
          <a:xfrm>
            <a:off x="2037993" y="3541181"/>
            <a:ext cx="1260000" cy="23652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Structuring approach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he best data analytics strategy to answer the client’s business objectiv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stimate the time neede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he type of output neede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0" name="Google Shape;1460;p10"/>
          <p:cNvSpPr txBox="1"/>
          <p:nvPr/>
        </p:nvSpPr>
        <p:spPr>
          <a:xfrm>
            <a:off x="3663377" y="3529306"/>
            <a:ext cx="1896405" cy="33840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Executing Analytic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veraging a full range of analytics capabiliti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marR="0" lvl="1" indent="-1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endParaRPr lang="en-US" sz="1200" b="1" i="0" u="none" strike="noStrike" cap="none" dirty="0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28588" marR="0" lvl="1" indent="-1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1" i="0" u="none" strike="noStrike" cap="none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Data Preparatio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Data Source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tracting &amp; Transferring Data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tadata &amp; Dictionarie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rging of various data sources &amp; adding new data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essing Data Quality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andling Outlier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structuring Data for analysi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king features extractions  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1" name="Google Shape;1461;p10"/>
          <p:cNvSpPr txBox="1"/>
          <p:nvPr/>
        </p:nvSpPr>
        <p:spPr>
          <a:xfrm>
            <a:off x="9289607" y="3578212"/>
            <a:ext cx="1121238" cy="2392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Deriving</a:t>
            </a:r>
            <a:b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ing</a:t>
            </a:r>
            <a:b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-depth quality assurance</a:t>
            </a: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alyzing the data outputs to derive insights in line with the initial client ask</a:t>
            </a:r>
          </a:p>
          <a:p>
            <a: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3" name="Google Shape;1463;p10"/>
          <p:cNvSpPr txBox="1"/>
          <p:nvPr/>
        </p:nvSpPr>
        <p:spPr>
          <a:xfrm>
            <a:off x="10516084" y="3541180"/>
            <a:ext cx="1533041" cy="3152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Handover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senting the approach, results and potential limitation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ing all the documentation &amp; cod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ting client feedback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ining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caling with clients’ IT Teams (to be scheduled if any)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ing regular model maintenance (to be scheduled if any)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4" name="Google Shape;1464;p10"/>
          <p:cNvSpPr/>
          <p:nvPr/>
        </p:nvSpPr>
        <p:spPr>
          <a:xfrm>
            <a:off x="1344085" y="2320460"/>
            <a:ext cx="1349647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ntake</a:t>
            </a:r>
            <a:endParaRPr sz="22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5" name="Google Shape;1465;p10"/>
          <p:cNvSpPr/>
          <p:nvPr/>
        </p:nvSpPr>
        <p:spPr>
          <a:xfrm>
            <a:off x="5692628" y="2320460"/>
            <a:ext cx="1288027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Execution</a:t>
            </a:r>
            <a:endParaRPr sz="22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0"/>
          <p:cNvSpPr/>
          <p:nvPr/>
        </p:nvSpPr>
        <p:spPr>
          <a:xfrm>
            <a:off x="9907789" y="2320460"/>
            <a:ext cx="1112209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Deliver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67" name="Google Shape;1467;p10"/>
          <p:cNvGrpSpPr/>
          <p:nvPr/>
        </p:nvGrpSpPr>
        <p:grpSpPr>
          <a:xfrm>
            <a:off x="1672775" y="1630423"/>
            <a:ext cx="590770" cy="590768"/>
            <a:chOff x="2021329" y="1470497"/>
            <a:chExt cx="594555" cy="594555"/>
          </a:xfrm>
        </p:grpSpPr>
        <p:sp>
          <p:nvSpPr>
            <p:cNvPr id="1468" name="Google Shape;1468;p10"/>
            <p:cNvSpPr/>
            <p:nvPr/>
          </p:nvSpPr>
          <p:spPr>
            <a:xfrm>
              <a:off x="2568219" y="1786590"/>
              <a:ext cx="17560" cy="61046"/>
            </a:xfrm>
            <a:custGeom>
              <a:avLst/>
              <a:gdLst/>
              <a:ahLst/>
              <a:cxnLst/>
              <a:rect l="l" t="t" r="r" b="b"/>
              <a:pathLst>
                <a:path w="17560" h="61046" extrusionOk="0">
                  <a:moveTo>
                    <a:pt x="8780" y="0"/>
                  </a:moveTo>
                  <a:cubicBezTo>
                    <a:pt x="3934" y="-3"/>
                    <a:pt x="3" y="3924"/>
                    <a:pt x="0" y="8770"/>
                  </a:cubicBezTo>
                  <a:cubicBezTo>
                    <a:pt x="0" y="8774"/>
                    <a:pt x="0" y="8777"/>
                    <a:pt x="0" y="8780"/>
                  </a:cubicBezTo>
                  <a:lnTo>
                    <a:pt x="0" y="52266"/>
                  </a:lnTo>
                  <a:cubicBezTo>
                    <a:pt x="0" y="57115"/>
                    <a:pt x="3931" y="61046"/>
                    <a:pt x="8780" y="61046"/>
                  </a:cubicBezTo>
                  <a:cubicBezTo>
                    <a:pt x="13630" y="61046"/>
                    <a:pt x="17561" y="57115"/>
                    <a:pt x="17561" y="52266"/>
                  </a:cubicBezTo>
                  <a:lnTo>
                    <a:pt x="17561" y="8780"/>
                  </a:lnTo>
                  <a:cubicBezTo>
                    <a:pt x="17563" y="3934"/>
                    <a:pt x="13637" y="3"/>
                    <a:pt x="8790" y="0"/>
                  </a:cubicBezTo>
                  <a:cubicBezTo>
                    <a:pt x="8787" y="0"/>
                    <a:pt x="8784" y="0"/>
                    <a:pt x="8780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9" name="Google Shape;1469;p10"/>
            <p:cNvSpPr/>
            <p:nvPr/>
          </p:nvSpPr>
          <p:spPr>
            <a:xfrm>
              <a:off x="2021329" y="1470497"/>
              <a:ext cx="594555" cy="594555"/>
            </a:xfrm>
            <a:custGeom>
              <a:avLst/>
              <a:gdLst/>
              <a:ahLst/>
              <a:cxnLst/>
              <a:rect l="l" t="t" r="r" b="b"/>
              <a:pathLst>
                <a:path w="594555" h="594555" extrusionOk="0">
                  <a:moveTo>
                    <a:pt x="555671" y="0"/>
                  </a:moveTo>
                  <a:lnTo>
                    <a:pt x="38884" y="0"/>
                  </a:lnTo>
                  <a:cubicBezTo>
                    <a:pt x="17419" y="25"/>
                    <a:pt x="25" y="17419"/>
                    <a:pt x="0" y="38884"/>
                  </a:cubicBezTo>
                  <a:lnTo>
                    <a:pt x="0" y="466914"/>
                  </a:lnTo>
                  <a:cubicBezTo>
                    <a:pt x="25" y="488379"/>
                    <a:pt x="17419" y="505774"/>
                    <a:pt x="38884" y="505798"/>
                  </a:cubicBezTo>
                  <a:lnTo>
                    <a:pt x="88757" y="505798"/>
                  </a:lnTo>
                  <a:lnTo>
                    <a:pt x="88757" y="555671"/>
                  </a:lnTo>
                  <a:cubicBezTo>
                    <a:pt x="88782" y="577136"/>
                    <a:pt x="106176" y="594530"/>
                    <a:pt x="127641" y="594555"/>
                  </a:cubicBezTo>
                  <a:lnTo>
                    <a:pt x="466914" y="594555"/>
                  </a:lnTo>
                  <a:cubicBezTo>
                    <a:pt x="488379" y="594530"/>
                    <a:pt x="505774" y="577136"/>
                    <a:pt x="505798" y="555671"/>
                  </a:cubicBezTo>
                  <a:lnTo>
                    <a:pt x="505798" y="505798"/>
                  </a:lnTo>
                  <a:lnTo>
                    <a:pt x="555671" y="505798"/>
                  </a:lnTo>
                  <a:cubicBezTo>
                    <a:pt x="577136" y="505774"/>
                    <a:pt x="594530" y="488379"/>
                    <a:pt x="594555" y="466914"/>
                  </a:cubicBezTo>
                  <a:lnTo>
                    <a:pt x="594555" y="38884"/>
                  </a:lnTo>
                  <a:cubicBezTo>
                    <a:pt x="594530" y="17419"/>
                    <a:pt x="577136" y="25"/>
                    <a:pt x="555671" y="0"/>
                  </a:cubicBezTo>
                  <a:close/>
                  <a:moveTo>
                    <a:pt x="17561" y="38884"/>
                  </a:moveTo>
                  <a:cubicBezTo>
                    <a:pt x="17575" y="27113"/>
                    <a:pt x="27113" y="17575"/>
                    <a:pt x="38884" y="17561"/>
                  </a:cubicBezTo>
                  <a:lnTo>
                    <a:pt x="555671" y="17561"/>
                  </a:lnTo>
                  <a:cubicBezTo>
                    <a:pt x="567443" y="17572"/>
                    <a:pt x="576983" y="27112"/>
                    <a:pt x="576995" y="38884"/>
                  </a:cubicBezTo>
                  <a:lnTo>
                    <a:pt x="576995" y="60208"/>
                  </a:lnTo>
                  <a:lnTo>
                    <a:pt x="17561" y="60208"/>
                  </a:lnTo>
                  <a:close/>
                  <a:moveTo>
                    <a:pt x="288497" y="363903"/>
                  </a:moveTo>
                  <a:lnTo>
                    <a:pt x="247305" y="330603"/>
                  </a:lnTo>
                  <a:cubicBezTo>
                    <a:pt x="243557" y="327526"/>
                    <a:pt x="238024" y="328070"/>
                    <a:pt x="234947" y="331818"/>
                  </a:cubicBezTo>
                  <a:cubicBezTo>
                    <a:pt x="231870" y="335566"/>
                    <a:pt x="232414" y="341099"/>
                    <a:pt x="236162" y="344176"/>
                  </a:cubicBezTo>
                  <a:cubicBezTo>
                    <a:pt x="236197" y="344204"/>
                    <a:pt x="236232" y="344232"/>
                    <a:pt x="236267" y="344260"/>
                  </a:cubicBezTo>
                  <a:lnTo>
                    <a:pt x="291759" y="389120"/>
                  </a:lnTo>
                  <a:cubicBezTo>
                    <a:pt x="294981" y="391713"/>
                    <a:pt x="299574" y="391713"/>
                    <a:pt x="302797" y="389120"/>
                  </a:cubicBezTo>
                  <a:lnTo>
                    <a:pt x="358289" y="344260"/>
                  </a:lnTo>
                  <a:cubicBezTo>
                    <a:pt x="362083" y="341241"/>
                    <a:pt x="362712" y="335717"/>
                    <a:pt x="359692" y="331922"/>
                  </a:cubicBezTo>
                  <a:cubicBezTo>
                    <a:pt x="356673" y="328128"/>
                    <a:pt x="351149" y="327499"/>
                    <a:pt x="347355" y="330518"/>
                  </a:cubicBezTo>
                  <a:cubicBezTo>
                    <a:pt x="347320" y="330546"/>
                    <a:pt x="347285" y="330574"/>
                    <a:pt x="347250" y="330603"/>
                  </a:cubicBezTo>
                  <a:lnTo>
                    <a:pt x="306058" y="363903"/>
                  </a:lnTo>
                  <a:lnTo>
                    <a:pt x="306058" y="306058"/>
                  </a:lnTo>
                  <a:lnTo>
                    <a:pt x="466914" y="306058"/>
                  </a:lnTo>
                  <a:cubicBezTo>
                    <a:pt x="468451" y="306073"/>
                    <a:pt x="469982" y="306256"/>
                    <a:pt x="471480" y="306605"/>
                  </a:cubicBezTo>
                  <a:lnTo>
                    <a:pt x="297278" y="447397"/>
                  </a:lnTo>
                  <a:lnTo>
                    <a:pt x="123075" y="306605"/>
                  </a:lnTo>
                  <a:cubicBezTo>
                    <a:pt x="124573" y="306256"/>
                    <a:pt x="126104" y="306073"/>
                    <a:pt x="127641" y="306058"/>
                  </a:cubicBezTo>
                  <a:lnTo>
                    <a:pt x="288497" y="306058"/>
                  </a:lnTo>
                  <a:close/>
                  <a:moveTo>
                    <a:pt x="488238" y="555671"/>
                  </a:moveTo>
                  <a:cubicBezTo>
                    <a:pt x="488224" y="567442"/>
                    <a:pt x="478685" y="576981"/>
                    <a:pt x="466914" y="576995"/>
                  </a:cubicBezTo>
                  <a:lnTo>
                    <a:pt x="127641" y="576995"/>
                  </a:lnTo>
                  <a:cubicBezTo>
                    <a:pt x="115870" y="576981"/>
                    <a:pt x="106331" y="567442"/>
                    <a:pt x="106318" y="555671"/>
                  </a:cubicBezTo>
                  <a:lnTo>
                    <a:pt x="106318" y="327382"/>
                  </a:lnTo>
                  <a:cubicBezTo>
                    <a:pt x="106354" y="323985"/>
                    <a:pt x="107215" y="320648"/>
                    <a:pt x="108826" y="317658"/>
                  </a:cubicBezTo>
                  <a:lnTo>
                    <a:pt x="291759" y="465514"/>
                  </a:lnTo>
                  <a:cubicBezTo>
                    <a:pt x="294978" y="468116"/>
                    <a:pt x="299577" y="468116"/>
                    <a:pt x="302797" y="465514"/>
                  </a:cubicBezTo>
                  <a:lnTo>
                    <a:pt x="485749" y="317653"/>
                  </a:lnTo>
                  <a:cubicBezTo>
                    <a:pt x="487357" y="320646"/>
                    <a:pt x="488218" y="323984"/>
                    <a:pt x="488258" y="327382"/>
                  </a:cubicBezTo>
                  <a:close/>
                  <a:moveTo>
                    <a:pt x="555671" y="488238"/>
                  </a:moveTo>
                  <a:lnTo>
                    <a:pt x="505798" y="488238"/>
                  </a:lnTo>
                  <a:lnTo>
                    <a:pt x="505798" y="327382"/>
                  </a:lnTo>
                  <a:cubicBezTo>
                    <a:pt x="505783" y="316496"/>
                    <a:pt x="501193" y="306118"/>
                    <a:pt x="493150" y="298783"/>
                  </a:cubicBezTo>
                  <a:lnTo>
                    <a:pt x="492844" y="298522"/>
                  </a:lnTo>
                  <a:lnTo>
                    <a:pt x="492678" y="298386"/>
                  </a:lnTo>
                  <a:cubicBezTo>
                    <a:pt x="485609" y="292017"/>
                    <a:pt x="476430" y="288494"/>
                    <a:pt x="466914" y="288497"/>
                  </a:cubicBezTo>
                  <a:lnTo>
                    <a:pt x="306058" y="288497"/>
                  </a:lnTo>
                  <a:lnTo>
                    <a:pt x="306058" y="204457"/>
                  </a:lnTo>
                  <a:cubicBezTo>
                    <a:pt x="306058" y="199608"/>
                    <a:pt x="302127" y="195676"/>
                    <a:pt x="297278" y="195676"/>
                  </a:cubicBezTo>
                  <a:cubicBezTo>
                    <a:pt x="292428" y="195676"/>
                    <a:pt x="288497" y="199608"/>
                    <a:pt x="288497" y="204457"/>
                  </a:cubicBezTo>
                  <a:lnTo>
                    <a:pt x="288497" y="288497"/>
                  </a:lnTo>
                  <a:lnTo>
                    <a:pt x="127641" y="288497"/>
                  </a:lnTo>
                  <a:cubicBezTo>
                    <a:pt x="118121" y="288483"/>
                    <a:pt x="108935" y="292003"/>
                    <a:pt x="101862" y="298376"/>
                  </a:cubicBezTo>
                  <a:lnTo>
                    <a:pt x="101727" y="298492"/>
                  </a:lnTo>
                  <a:lnTo>
                    <a:pt x="101466" y="298708"/>
                  </a:lnTo>
                  <a:cubicBezTo>
                    <a:pt x="93384" y="306052"/>
                    <a:pt x="88771" y="316461"/>
                    <a:pt x="88757" y="327382"/>
                  </a:cubicBezTo>
                  <a:lnTo>
                    <a:pt x="88757" y="488238"/>
                  </a:lnTo>
                  <a:lnTo>
                    <a:pt x="38884" y="488238"/>
                  </a:lnTo>
                  <a:cubicBezTo>
                    <a:pt x="27113" y="488224"/>
                    <a:pt x="17575" y="478685"/>
                    <a:pt x="17561" y="466914"/>
                  </a:cubicBezTo>
                  <a:lnTo>
                    <a:pt x="17561" y="77769"/>
                  </a:lnTo>
                  <a:lnTo>
                    <a:pt x="576995" y="77769"/>
                  </a:lnTo>
                  <a:lnTo>
                    <a:pt x="576995" y="466914"/>
                  </a:lnTo>
                  <a:cubicBezTo>
                    <a:pt x="576981" y="478685"/>
                    <a:pt x="567442" y="488224"/>
                    <a:pt x="555671" y="488238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0" name="Google Shape;1470;p10"/>
            <p:cNvSpPr/>
            <p:nvPr/>
          </p:nvSpPr>
          <p:spPr>
            <a:xfrm>
              <a:off x="2478620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1" name="Google Shape;1471;p10"/>
            <p:cNvSpPr/>
            <p:nvPr/>
          </p:nvSpPr>
          <p:spPr>
            <a:xfrm>
              <a:off x="2511232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2" name="Google Shape;1472;p10"/>
            <p:cNvSpPr/>
            <p:nvPr/>
          </p:nvSpPr>
          <p:spPr>
            <a:xfrm>
              <a:off x="2543845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473" name="Google Shape;1473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40804" y="1589717"/>
            <a:ext cx="646179" cy="6461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74" name="Google Shape;1474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20908" y="1589719"/>
            <a:ext cx="631466" cy="631466"/>
          </a:xfrm>
          <a:prstGeom prst="rect">
            <a:avLst/>
          </a:prstGeom>
          <a:noFill/>
          <a:ln>
            <a:noFill/>
          </a:ln>
        </p:spPr>
      </p:pic>
      <p:sp>
        <p:nvSpPr>
          <p:cNvPr id="1475" name="Google Shape;1475;p10"/>
          <p:cNvSpPr/>
          <p:nvPr/>
        </p:nvSpPr>
        <p:spPr>
          <a:xfrm rot="10800000" flipH="1">
            <a:off x="5742844" y="3014982"/>
            <a:ext cx="3370735" cy="315094"/>
          </a:xfrm>
          <a:custGeom>
            <a:avLst/>
            <a:gdLst/>
            <a:ahLst/>
            <a:cxnLst/>
            <a:rect l="l" t="t" r="r" b="b"/>
            <a:pathLst>
              <a:path w="417" h="133" extrusionOk="0">
                <a:moveTo>
                  <a:pt x="385" y="26"/>
                </a:moveTo>
                <a:cubicBezTo>
                  <a:pt x="364" y="0"/>
                  <a:pt x="364" y="0"/>
                  <a:pt x="364" y="0"/>
                </a:cubicBezTo>
                <a:cubicBezTo>
                  <a:pt x="364" y="26"/>
                  <a:pt x="364" y="26"/>
                  <a:pt x="364" y="26"/>
                </a:cubicBezTo>
                <a:cubicBezTo>
                  <a:pt x="194" y="26"/>
                  <a:pt x="194" y="26"/>
                  <a:pt x="194" y="26"/>
                </a:cubicBezTo>
                <a:cubicBezTo>
                  <a:pt x="166" y="26"/>
                  <a:pt x="166" y="26"/>
                  <a:pt x="166" y="26"/>
                </a:cubicBezTo>
                <a:cubicBezTo>
                  <a:pt x="136" y="52"/>
                  <a:pt x="102" y="73"/>
                  <a:pt x="65" y="88"/>
                </a:cubicBezTo>
                <a:cubicBezTo>
                  <a:pt x="48" y="95"/>
                  <a:pt x="24" y="101"/>
                  <a:pt x="0" y="106"/>
                </a:cubicBezTo>
                <a:cubicBezTo>
                  <a:pt x="69" y="106"/>
                  <a:pt x="69" y="106"/>
                  <a:pt x="69" y="106"/>
                </a:cubicBezTo>
                <a:cubicBezTo>
                  <a:pt x="364" y="106"/>
                  <a:pt x="364" y="106"/>
                  <a:pt x="364" y="106"/>
                </a:cubicBezTo>
                <a:cubicBezTo>
                  <a:pt x="364" y="133"/>
                  <a:pt x="364" y="133"/>
                  <a:pt x="364" y="133"/>
                </a:cubicBezTo>
                <a:cubicBezTo>
                  <a:pt x="385" y="106"/>
                  <a:pt x="385" y="106"/>
                  <a:pt x="385" y="106"/>
                </a:cubicBezTo>
                <a:cubicBezTo>
                  <a:pt x="417" y="66"/>
                  <a:pt x="417" y="66"/>
                  <a:pt x="417" y="66"/>
                </a:cubicBezTo>
                <a:lnTo>
                  <a:pt x="385" y="2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6" name="Google Shape;1476;p10"/>
          <p:cNvSpPr/>
          <p:nvPr/>
        </p:nvSpPr>
        <p:spPr>
          <a:xfrm rot="10800000" flipH="1">
            <a:off x="5358180" y="3087484"/>
            <a:ext cx="1988975" cy="1866801"/>
          </a:xfrm>
          <a:custGeom>
            <a:avLst/>
            <a:gdLst/>
            <a:ahLst/>
            <a:cxnLst/>
            <a:rect l="l" t="t" r="r" b="b"/>
            <a:pathLst>
              <a:path w="857" h="803" extrusionOk="0">
                <a:moveTo>
                  <a:pt x="825" y="245"/>
                </a:moveTo>
                <a:cubicBezTo>
                  <a:pt x="805" y="197"/>
                  <a:pt x="776" y="155"/>
                  <a:pt x="739" y="118"/>
                </a:cubicBezTo>
                <a:cubicBezTo>
                  <a:pt x="702" y="81"/>
                  <a:pt x="659" y="52"/>
                  <a:pt x="611" y="31"/>
                </a:cubicBezTo>
                <a:cubicBezTo>
                  <a:pt x="562" y="11"/>
                  <a:pt x="509" y="0"/>
                  <a:pt x="455" y="0"/>
                </a:cubicBezTo>
                <a:cubicBezTo>
                  <a:pt x="401" y="0"/>
                  <a:pt x="348" y="11"/>
                  <a:pt x="299" y="31"/>
                </a:cubicBezTo>
                <a:cubicBezTo>
                  <a:pt x="251" y="52"/>
                  <a:pt x="208" y="81"/>
                  <a:pt x="171" y="118"/>
                </a:cubicBezTo>
                <a:cubicBezTo>
                  <a:pt x="134" y="155"/>
                  <a:pt x="105" y="197"/>
                  <a:pt x="85" y="245"/>
                </a:cubicBezTo>
                <a:cubicBezTo>
                  <a:pt x="65" y="291"/>
                  <a:pt x="55" y="340"/>
                  <a:pt x="53" y="389"/>
                </a:cubicBezTo>
                <a:cubicBezTo>
                  <a:pt x="53" y="389"/>
                  <a:pt x="53" y="389"/>
                  <a:pt x="53" y="389"/>
                </a:cubicBezTo>
                <a:cubicBezTo>
                  <a:pt x="53" y="393"/>
                  <a:pt x="53" y="397"/>
                  <a:pt x="53" y="401"/>
                </a:cubicBezTo>
                <a:cubicBezTo>
                  <a:pt x="53" y="456"/>
                  <a:pt x="64" y="508"/>
                  <a:pt x="85" y="558"/>
                </a:cubicBezTo>
                <a:cubicBezTo>
                  <a:pt x="105" y="606"/>
                  <a:pt x="134" y="649"/>
                  <a:pt x="171" y="686"/>
                </a:cubicBezTo>
                <a:cubicBezTo>
                  <a:pt x="180" y="694"/>
                  <a:pt x="189" y="703"/>
                  <a:pt x="199" y="711"/>
                </a:cubicBezTo>
                <a:cubicBezTo>
                  <a:pt x="369" y="711"/>
                  <a:pt x="369" y="711"/>
                  <a:pt x="369" y="711"/>
                </a:cubicBezTo>
                <a:cubicBezTo>
                  <a:pt x="233" y="673"/>
                  <a:pt x="134" y="549"/>
                  <a:pt x="134" y="401"/>
                </a:cubicBezTo>
                <a:cubicBezTo>
                  <a:pt x="134" y="397"/>
                  <a:pt x="134" y="393"/>
                  <a:pt x="134" y="389"/>
                </a:cubicBezTo>
                <a:cubicBezTo>
                  <a:pt x="134" y="389"/>
                  <a:pt x="134" y="389"/>
                  <a:pt x="134" y="389"/>
                </a:cubicBezTo>
                <a:cubicBezTo>
                  <a:pt x="141" y="218"/>
                  <a:pt x="282" y="81"/>
                  <a:pt x="455" y="81"/>
                </a:cubicBezTo>
                <a:cubicBezTo>
                  <a:pt x="632" y="81"/>
                  <a:pt x="776" y="225"/>
                  <a:pt x="776" y="402"/>
                </a:cubicBezTo>
                <a:cubicBezTo>
                  <a:pt x="776" y="579"/>
                  <a:pt x="632" y="723"/>
                  <a:pt x="455" y="723"/>
                </a:cubicBezTo>
                <a:cubicBezTo>
                  <a:pt x="455" y="723"/>
                  <a:pt x="455" y="723"/>
                  <a:pt x="455" y="723"/>
                </a:cubicBezTo>
                <a:cubicBezTo>
                  <a:pt x="0" y="723"/>
                  <a:pt x="0" y="723"/>
                  <a:pt x="0" y="723"/>
                </a:cubicBezTo>
                <a:cubicBezTo>
                  <a:pt x="32" y="763"/>
                  <a:pt x="32" y="763"/>
                  <a:pt x="32" y="763"/>
                </a:cubicBezTo>
                <a:cubicBezTo>
                  <a:pt x="0" y="803"/>
                  <a:pt x="0" y="803"/>
                  <a:pt x="0" y="803"/>
                </a:cubicBezTo>
                <a:cubicBezTo>
                  <a:pt x="455" y="803"/>
                  <a:pt x="455" y="803"/>
                  <a:pt x="455" y="803"/>
                </a:cubicBezTo>
                <a:cubicBezTo>
                  <a:pt x="455" y="803"/>
                  <a:pt x="562" y="793"/>
                  <a:pt x="612" y="772"/>
                </a:cubicBezTo>
                <a:cubicBezTo>
                  <a:pt x="659" y="752"/>
                  <a:pt x="702" y="723"/>
                  <a:pt x="739" y="686"/>
                </a:cubicBezTo>
                <a:cubicBezTo>
                  <a:pt x="776" y="649"/>
                  <a:pt x="805" y="606"/>
                  <a:pt x="825" y="558"/>
                </a:cubicBezTo>
                <a:cubicBezTo>
                  <a:pt x="846" y="509"/>
                  <a:pt x="857" y="456"/>
                  <a:pt x="857" y="402"/>
                </a:cubicBezTo>
                <a:cubicBezTo>
                  <a:pt x="857" y="348"/>
                  <a:pt x="846" y="295"/>
                  <a:pt x="825" y="2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7" name="Google Shape;1477;p10"/>
          <p:cNvSpPr/>
          <p:nvPr/>
        </p:nvSpPr>
        <p:spPr>
          <a:xfrm rot="10800000" flipH="1">
            <a:off x="1135080" y="3024931"/>
            <a:ext cx="775065" cy="308854"/>
          </a:xfrm>
          <a:custGeom>
            <a:avLst/>
            <a:gdLst/>
            <a:ahLst/>
            <a:cxnLst/>
            <a:rect l="l" t="t" r="r" b="b"/>
            <a:pathLst>
              <a:path w="10000" h="10000" extrusionOk="0">
                <a:moveTo>
                  <a:pt x="9042" y="1962"/>
                </a:moveTo>
                <a:lnTo>
                  <a:pt x="8424" y="0"/>
                </a:lnTo>
                <a:lnTo>
                  <a:pt x="8424" y="1962"/>
                </a:lnTo>
                <a:lnTo>
                  <a:pt x="0" y="1962"/>
                </a:lnTo>
                <a:lnTo>
                  <a:pt x="0" y="7975"/>
                </a:lnTo>
                <a:lnTo>
                  <a:pt x="8424" y="7975"/>
                </a:lnTo>
                <a:lnTo>
                  <a:pt x="8424" y="10000"/>
                </a:lnTo>
                <a:lnTo>
                  <a:pt x="9042" y="7975"/>
                </a:lnTo>
                <a:lnTo>
                  <a:pt x="10000" y="4968"/>
                </a:lnTo>
                <a:lnTo>
                  <a:pt x="9042" y="196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9" name="Google Shape;1479;p10"/>
          <p:cNvSpPr/>
          <p:nvPr/>
        </p:nvSpPr>
        <p:spPr>
          <a:xfrm rot="10800000" flipH="1">
            <a:off x="10197481" y="3005883"/>
            <a:ext cx="704251" cy="308854"/>
          </a:xfrm>
          <a:custGeom>
            <a:avLst/>
            <a:gdLst/>
            <a:ahLst/>
            <a:cxnLst/>
            <a:rect l="l" t="t" r="r" b="b"/>
            <a:pathLst>
              <a:path w="704251" h="308854" extrusionOk="0">
                <a:moveTo>
                  <a:pt x="582101" y="308854"/>
                </a:moveTo>
                <a:lnTo>
                  <a:pt x="630000" y="246311"/>
                </a:lnTo>
                <a:lnTo>
                  <a:pt x="704251" y="153439"/>
                </a:lnTo>
                <a:lnTo>
                  <a:pt x="630000" y="60597"/>
                </a:lnTo>
                <a:lnTo>
                  <a:pt x="582101" y="0"/>
                </a:lnTo>
                <a:lnTo>
                  <a:pt x="582101" y="60597"/>
                </a:lnTo>
                <a:lnTo>
                  <a:pt x="0" y="60597"/>
                </a:lnTo>
                <a:lnTo>
                  <a:pt x="0" y="246311"/>
                </a:lnTo>
                <a:lnTo>
                  <a:pt x="582101" y="246311"/>
                </a:lnTo>
                <a:lnTo>
                  <a:pt x="582101" y="30885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480" name="Google Shape;1480;p10"/>
          <p:cNvGrpSpPr/>
          <p:nvPr/>
        </p:nvGrpSpPr>
        <p:grpSpPr>
          <a:xfrm>
            <a:off x="5600510" y="3295665"/>
            <a:ext cx="1551670" cy="1539882"/>
            <a:chOff x="7285038" y="6072188"/>
            <a:chExt cx="3084131" cy="3060700"/>
          </a:xfrm>
        </p:grpSpPr>
        <p:sp>
          <p:nvSpPr>
            <p:cNvPr id="1481" name="Google Shape;1481;p10"/>
            <p:cNvSpPr/>
            <p:nvPr/>
          </p:nvSpPr>
          <p:spPr>
            <a:xfrm>
              <a:off x="8918576" y="6072188"/>
              <a:ext cx="1450593" cy="2143125"/>
            </a:xfrm>
            <a:custGeom>
              <a:avLst/>
              <a:gdLst/>
              <a:ahLst/>
              <a:cxnLst/>
              <a:rect l="l" t="t" r="r" b="b"/>
              <a:pathLst>
                <a:path w="15000" h="22500" extrusionOk="0">
                  <a:moveTo>
                    <a:pt x="0" y="0"/>
                  </a:moveTo>
                  <a:cubicBezTo>
                    <a:pt x="8284" y="0"/>
                    <a:pt x="15000" y="6716"/>
                    <a:pt x="15000" y="15000"/>
                  </a:cubicBezTo>
                  <a:cubicBezTo>
                    <a:pt x="15000" y="17633"/>
                    <a:pt x="14307" y="20220"/>
                    <a:pt x="12990" y="22500"/>
                  </a:cubicBezTo>
                  <a:lnTo>
                    <a:pt x="0" y="15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E3F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2" name="Google Shape;1482;p10"/>
            <p:cNvSpPr/>
            <p:nvPr/>
          </p:nvSpPr>
          <p:spPr>
            <a:xfrm>
              <a:off x="7680325" y="7500938"/>
              <a:ext cx="2476500" cy="1631950"/>
            </a:xfrm>
            <a:custGeom>
              <a:avLst/>
              <a:gdLst/>
              <a:ahLst/>
              <a:cxnLst/>
              <a:rect l="l" t="t" r="r" b="b"/>
              <a:pathLst>
                <a:path w="12990" h="8566" extrusionOk="0">
                  <a:moveTo>
                    <a:pt x="12990" y="3750"/>
                  </a:moveTo>
                  <a:cubicBezTo>
                    <a:pt x="10919" y="7337"/>
                    <a:pt x="6332" y="8566"/>
                    <a:pt x="2745" y="6495"/>
                  </a:cubicBezTo>
                  <a:cubicBezTo>
                    <a:pt x="1605" y="5837"/>
                    <a:pt x="658" y="4890"/>
                    <a:pt x="0" y="3750"/>
                  </a:cubicBezTo>
                  <a:lnTo>
                    <a:pt x="6495" y="0"/>
                  </a:lnTo>
                  <a:lnTo>
                    <a:pt x="12990" y="3750"/>
                  </a:lnTo>
                  <a:close/>
                </a:path>
              </a:pathLst>
            </a:custGeom>
            <a:solidFill>
              <a:srgbClr val="99E3F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3" name="Google Shape;1483;p10"/>
            <p:cNvSpPr/>
            <p:nvPr/>
          </p:nvSpPr>
          <p:spPr>
            <a:xfrm>
              <a:off x="7285038" y="6072188"/>
              <a:ext cx="1633537" cy="2143125"/>
            </a:xfrm>
            <a:custGeom>
              <a:avLst/>
              <a:gdLst/>
              <a:ahLst/>
              <a:cxnLst/>
              <a:rect l="l" t="t" r="r" b="b"/>
              <a:pathLst>
                <a:path w="17133" h="22500" extrusionOk="0">
                  <a:moveTo>
                    <a:pt x="4142" y="22500"/>
                  </a:moveTo>
                  <a:cubicBezTo>
                    <a:pt x="0" y="15325"/>
                    <a:pt x="2458" y="6152"/>
                    <a:pt x="9633" y="2009"/>
                  </a:cubicBezTo>
                  <a:cubicBezTo>
                    <a:pt x="11913" y="693"/>
                    <a:pt x="14500" y="0"/>
                    <a:pt x="17133" y="0"/>
                  </a:cubicBezTo>
                  <a:lnTo>
                    <a:pt x="17133" y="15000"/>
                  </a:lnTo>
                  <a:lnTo>
                    <a:pt x="4142" y="22500"/>
                  </a:lnTo>
                  <a:close/>
                </a:path>
              </a:pathLst>
            </a:custGeom>
            <a:solidFill>
              <a:srgbClr val="99E3F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84" name="Google Shape;1484;p10"/>
          <p:cNvSpPr txBox="1"/>
          <p:nvPr/>
        </p:nvSpPr>
        <p:spPr>
          <a:xfrm>
            <a:off x="5765748" y="3578212"/>
            <a:ext cx="697346" cy="436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Business &amp; Data Under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standing</a:t>
            </a:r>
            <a:endParaRPr lang="en-US" sz="1000" b="0" i="0" u="none" strike="noStrike" cap="none" dirty="0">
              <a:solidFill>
                <a:schemeClr val="tx1">
                  <a:lumMod val="50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0"/>
          <p:cNvSpPr txBox="1"/>
          <p:nvPr/>
        </p:nvSpPr>
        <p:spPr>
          <a:xfrm>
            <a:off x="6482788" y="3578212"/>
            <a:ext cx="547404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None/>
            </a:pPr>
            <a:r>
              <a:rPr lang="en-US" sz="105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gile Metho</a:t>
            </a:r>
          </a:p>
          <a:p>
            <a:pPr marL="0" marR="0" lvl="1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None/>
            </a:pPr>
            <a:r>
              <a:rPr lang="en-US" sz="1050" b="1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ology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7" name="Google Shape;1487;p10"/>
          <p:cNvSpPr txBox="1"/>
          <p:nvPr/>
        </p:nvSpPr>
        <p:spPr>
          <a:xfrm>
            <a:off x="7407577" y="3604663"/>
            <a:ext cx="1796154" cy="299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28588" marR="0" lvl="1" indent="-12858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1" i="0" u="none" strike="noStrike" cap="none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Data Modeling</a:t>
            </a:r>
          </a:p>
          <a:p>
            <a:pPr marL="128588" marR="0" lvl="1" indent="-12858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ild algorithms to answer the business question (binary classification, segmentation, forecasting …)</a:t>
            </a: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valuation and validation of the algorithm</a:t>
            </a:r>
          </a:p>
          <a:p>
            <a:pPr marL="133350" lvl="2">
              <a:lnSpc>
                <a:spcPct val="90000"/>
              </a:lnSpc>
              <a:buClr>
                <a:schemeClr val="dk2"/>
              </a:buClr>
              <a:buSzPts val="1200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33350" lvl="2">
              <a:lnSpc>
                <a:spcPct val="90000"/>
              </a:lnSpc>
              <a:buClr>
                <a:schemeClr val="dk2"/>
              </a:buClr>
              <a:buSzPts val="1200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488" name="Google Shape;1488;p10"/>
          <p:cNvSpPr/>
          <p:nvPr/>
        </p:nvSpPr>
        <p:spPr>
          <a:xfrm rot="10800000" flipH="1">
            <a:off x="4140285" y="3087474"/>
            <a:ext cx="1303918" cy="185718"/>
          </a:xfrm>
          <a:custGeom>
            <a:avLst/>
            <a:gdLst/>
            <a:ahLst/>
            <a:cxnLst/>
            <a:rect l="l" t="t" r="r" b="b"/>
            <a:pathLst>
              <a:path w="10006" h="10000" extrusionOk="0">
                <a:moveTo>
                  <a:pt x="9992" y="10000"/>
                </a:moveTo>
                <a:cubicBezTo>
                  <a:pt x="10026" y="7376"/>
                  <a:pt x="9987" y="4129"/>
                  <a:pt x="9992" y="0"/>
                </a:cubicBezTo>
                <a:lnTo>
                  <a:pt x="0" y="0"/>
                </a:lnTo>
                <a:lnTo>
                  <a:pt x="0" y="10000"/>
                </a:lnTo>
                <a:lnTo>
                  <a:pt x="9992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89" name="Google Shape;1489;p1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68442" y="2937957"/>
            <a:ext cx="498358" cy="49835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90" name="Google Shape;1490;p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984850" y="2899591"/>
            <a:ext cx="548990" cy="54899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91" name="Google Shape;1491;p10"/>
          <p:cNvGrpSpPr/>
          <p:nvPr/>
        </p:nvGrpSpPr>
        <p:grpSpPr>
          <a:xfrm>
            <a:off x="2539766" y="3024931"/>
            <a:ext cx="898166" cy="308854"/>
            <a:chOff x="2539766" y="3024931"/>
            <a:chExt cx="898166" cy="308854"/>
          </a:xfrm>
        </p:grpSpPr>
        <p:sp>
          <p:nvSpPr>
            <p:cNvPr id="1492" name="Google Shape;1492;p10"/>
            <p:cNvSpPr/>
            <p:nvPr/>
          </p:nvSpPr>
          <p:spPr>
            <a:xfrm rot="10800000" flipH="1">
              <a:off x="2662867" y="3024931"/>
              <a:ext cx="775065" cy="308854"/>
            </a:xfrm>
            <a:custGeom>
              <a:avLst/>
              <a:gdLst/>
              <a:ahLst/>
              <a:cxnLst/>
              <a:rect l="l" t="t" r="r" b="b"/>
              <a:pathLst>
                <a:path w="793" h="316" extrusionOk="0">
                  <a:moveTo>
                    <a:pt x="717" y="62"/>
                  </a:moveTo>
                  <a:lnTo>
                    <a:pt x="668" y="0"/>
                  </a:lnTo>
                  <a:lnTo>
                    <a:pt x="668" y="62"/>
                  </a:lnTo>
                  <a:lnTo>
                    <a:pt x="0" y="62"/>
                  </a:lnTo>
                  <a:lnTo>
                    <a:pt x="76" y="157"/>
                  </a:lnTo>
                  <a:lnTo>
                    <a:pt x="0" y="252"/>
                  </a:lnTo>
                  <a:lnTo>
                    <a:pt x="668" y="252"/>
                  </a:lnTo>
                  <a:lnTo>
                    <a:pt x="668" y="316"/>
                  </a:lnTo>
                  <a:lnTo>
                    <a:pt x="717" y="252"/>
                  </a:lnTo>
                  <a:lnTo>
                    <a:pt x="793" y="157"/>
                  </a:lnTo>
                  <a:lnTo>
                    <a:pt x="717" y="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3" name="Google Shape;1493;p10"/>
            <p:cNvSpPr/>
            <p:nvPr/>
          </p:nvSpPr>
          <p:spPr>
            <a:xfrm rot="10800000" flipH="1">
              <a:off x="2539766" y="3087474"/>
              <a:ext cx="653839" cy="185718"/>
            </a:xfrm>
            <a:custGeom>
              <a:avLst/>
              <a:gdLst/>
              <a:ahLst/>
              <a:cxnLst/>
              <a:rect l="l" t="t" r="r" b="b"/>
              <a:pathLst>
                <a:path w="10006" h="10000" extrusionOk="0">
                  <a:moveTo>
                    <a:pt x="9992" y="10000"/>
                  </a:moveTo>
                  <a:cubicBezTo>
                    <a:pt x="10026" y="7376"/>
                    <a:pt x="9987" y="4129"/>
                    <a:pt x="9992" y="0"/>
                  </a:cubicBezTo>
                  <a:lnTo>
                    <a:pt x="0" y="0"/>
                  </a:lnTo>
                  <a:lnTo>
                    <a:pt x="0" y="10000"/>
                  </a:lnTo>
                  <a:lnTo>
                    <a:pt x="9992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94" name="Google Shape;1494;p10"/>
          <p:cNvSpPr/>
          <p:nvPr/>
        </p:nvSpPr>
        <p:spPr>
          <a:xfrm rot="5400000">
            <a:off x="1871534" y="1360607"/>
            <a:ext cx="261792" cy="2871004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5" name="Google Shape;1495;p10"/>
          <p:cNvSpPr/>
          <p:nvPr/>
        </p:nvSpPr>
        <p:spPr>
          <a:xfrm rot="5400000">
            <a:off x="6166459" y="33993"/>
            <a:ext cx="294131" cy="5537522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6" name="Google Shape;1496;p10"/>
          <p:cNvSpPr/>
          <p:nvPr/>
        </p:nvSpPr>
        <p:spPr>
          <a:xfrm rot="5400000">
            <a:off x="10331249" y="1623570"/>
            <a:ext cx="256479" cy="2339765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97" name="Google Shape;1497;p10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499584" y="2955603"/>
            <a:ext cx="518983" cy="5189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99" name="Google Shape;1499;p10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1019998" y="2970162"/>
            <a:ext cx="522548" cy="52254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485;p10">
            <a:extLst>
              <a:ext uri="{FF2B5EF4-FFF2-40B4-BE49-F238E27FC236}">
                <a16:creationId xmlns:a16="http://schemas.microsoft.com/office/drawing/2014/main" id="{9C25C3BD-A827-CEB0-A866-F5B9FF670735}"/>
              </a:ext>
            </a:extLst>
          </p:cNvPr>
          <p:cNvSpPr txBox="1"/>
          <p:nvPr/>
        </p:nvSpPr>
        <p:spPr>
          <a:xfrm>
            <a:off x="5946087" y="4269546"/>
            <a:ext cx="952556" cy="258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None/>
            </a:pPr>
            <a:r>
              <a:rPr lang="en-US" sz="105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elivery Management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6CE38A-E543-9603-3466-B02484C06325}"/>
              </a:ext>
            </a:extLst>
          </p:cNvPr>
          <p:cNvSpPr txBox="1"/>
          <p:nvPr/>
        </p:nvSpPr>
        <p:spPr>
          <a:xfrm>
            <a:off x="5559782" y="5072831"/>
            <a:ext cx="2274375" cy="1089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8588" marR="0" lvl="1" indent="-1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1" i="0" u="none" strike="noStrike" cap="none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Exploratory Analysis </a:t>
            </a:r>
            <a:endParaRPr lang="en-US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scriptive analysis 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visualization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PIs 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story telling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1400;p8">
            <a:extLst>
              <a:ext uri="{FF2B5EF4-FFF2-40B4-BE49-F238E27FC236}">
                <a16:creationId xmlns:a16="http://schemas.microsoft.com/office/drawing/2014/main" id="{FBF1FD8F-FF94-B39F-7C04-590AB4DD0B1B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 dirty="0">
                <a:solidFill>
                  <a:schemeClr val="bg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sz="14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9AFCC96-BE83-542B-9CCC-87080BB160F3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7" name="Google Shape;1401;p8">
              <a:extLst>
                <a:ext uri="{FF2B5EF4-FFF2-40B4-BE49-F238E27FC236}">
                  <a16:creationId xmlns:a16="http://schemas.microsoft.com/office/drawing/2014/main" id="{DBC55637-64F3-FE48-3197-779EE0DFB763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5781A32-B104-0582-4EE6-EBD87CB9F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1747BE8D-D81A-1367-4689-8CBF95E5F43C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/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10028" y="2961242"/>
            <a:ext cx="450886" cy="4508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9477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2C7537-78B0-DCDB-5DF2-253369649C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2C7537-78B0-DCDB-5DF2-253369649C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4" name="Google Shape;1514;p2"/>
          <p:cNvSpPr txBox="1">
            <a:spLocks noGrp="1"/>
          </p:cNvSpPr>
          <p:nvPr>
            <p:ph type="title"/>
          </p:nvPr>
        </p:nvSpPr>
        <p:spPr>
          <a:xfrm>
            <a:off x="53181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</a:pPr>
            <a:r>
              <a:rPr lang="en-US" dirty="0"/>
              <a:t>Technologies Infomineo can handle</a:t>
            </a:r>
            <a:endParaRPr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4EB98D7-F262-668C-0805-399D3EFE239C}"/>
              </a:ext>
            </a:extLst>
          </p:cNvPr>
          <p:cNvSpPr/>
          <p:nvPr/>
        </p:nvSpPr>
        <p:spPr>
          <a:xfrm>
            <a:off x="531813" y="1323975"/>
            <a:ext cx="1154112" cy="4431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pabilities we already hav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644558D-E8C7-9347-B9DD-8BF8C411E3BE}"/>
              </a:ext>
            </a:extLst>
          </p:cNvPr>
          <p:cNvSpPr/>
          <p:nvPr/>
        </p:nvSpPr>
        <p:spPr>
          <a:xfrm>
            <a:off x="527693" y="1919002"/>
            <a:ext cx="1154112" cy="4431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pabilities we are building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39BC620-67A2-BBDE-98C5-808BCE5D7855}"/>
              </a:ext>
            </a:extLst>
          </p:cNvPr>
          <p:cNvGrpSpPr/>
          <p:nvPr/>
        </p:nvGrpSpPr>
        <p:grpSpPr>
          <a:xfrm>
            <a:off x="1853049" y="1262430"/>
            <a:ext cx="8683331" cy="5373371"/>
            <a:chOff x="1853049" y="1262430"/>
            <a:chExt cx="8683331" cy="5373371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E674D1C-448F-3CD4-536D-44E2DCBAC8C7}"/>
                </a:ext>
              </a:extLst>
            </p:cNvPr>
            <p:cNvGrpSpPr/>
            <p:nvPr/>
          </p:nvGrpSpPr>
          <p:grpSpPr>
            <a:xfrm>
              <a:off x="1853049" y="1369305"/>
              <a:ext cx="8683331" cy="5266496"/>
              <a:chOff x="1845346" y="1803048"/>
              <a:chExt cx="8283097" cy="4832753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3E5A7595-43C4-35C9-69ED-351F9F7C481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t="13041"/>
              <a:stretch/>
            </p:blipFill>
            <p:spPr>
              <a:xfrm>
                <a:off x="1921546" y="1803048"/>
                <a:ext cx="7971276" cy="4775604"/>
              </a:xfrm>
              <a:prstGeom prst="rect">
                <a:avLst/>
              </a:prstGeom>
            </p:spPr>
          </p:pic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23EADA40-A2A3-D316-0121-8A451EF3A456}"/>
                  </a:ext>
                </a:extLst>
              </p:cNvPr>
              <p:cNvSpPr/>
              <p:nvPr/>
            </p:nvSpPr>
            <p:spPr>
              <a:xfrm>
                <a:off x="1845346" y="5404873"/>
                <a:ext cx="1911157" cy="117377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13352478-4542-3724-C0B1-FA14F7BD98EB}"/>
                  </a:ext>
                </a:extLst>
              </p:cNvPr>
              <p:cNvSpPr/>
              <p:nvPr/>
            </p:nvSpPr>
            <p:spPr>
              <a:xfrm>
                <a:off x="8217286" y="5462023"/>
                <a:ext cx="1911157" cy="117377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3E6ED2A-FA69-A044-211C-D32777EAE4F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762071" y="5559698"/>
              <a:ext cx="774309" cy="410668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1C9F787-E3CC-3C39-F2BC-95BA7EC5B550}"/>
                </a:ext>
              </a:extLst>
            </p:cNvPr>
            <p:cNvSpPr/>
            <p:nvPr/>
          </p:nvSpPr>
          <p:spPr>
            <a:xfrm>
              <a:off x="3113816" y="1675060"/>
              <a:ext cx="1258140" cy="37367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C3846DD-0724-BB19-C82B-78B59662A4EE}"/>
                </a:ext>
              </a:extLst>
            </p:cNvPr>
            <p:cNvSpPr/>
            <p:nvPr/>
          </p:nvSpPr>
          <p:spPr>
            <a:xfrm>
              <a:off x="1853049" y="2222291"/>
              <a:ext cx="1258140" cy="37367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A526364-7B53-4631-76D0-04CC4B70FA2C}"/>
                </a:ext>
              </a:extLst>
            </p:cNvPr>
            <p:cNvSpPr/>
            <p:nvPr/>
          </p:nvSpPr>
          <p:spPr>
            <a:xfrm>
              <a:off x="6309092" y="1262430"/>
              <a:ext cx="698967" cy="851150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19EFCE4-2534-2C1B-D59C-73A2C4C13EFF}"/>
                </a:ext>
              </a:extLst>
            </p:cNvPr>
            <p:cNvSpPr/>
            <p:nvPr/>
          </p:nvSpPr>
          <p:spPr>
            <a:xfrm>
              <a:off x="8174226" y="1567504"/>
              <a:ext cx="698967" cy="851150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634CCB5-2972-1D8E-68F0-4DBCC87B1143}"/>
                </a:ext>
              </a:extLst>
            </p:cNvPr>
            <p:cNvSpPr/>
            <p:nvPr/>
          </p:nvSpPr>
          <p:spPr>
            <a:xfrm>
              <a:off x="5129570" y="1624016"/>
              <a:ext cx="1096271" cy="37367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5BFB5D1-E5DE-8E55-B490-C5AB085B9757}"/>
                </a:ext>
              </a:extLst>
            </p:cNvPr>
            <p:cNvSpPr/>
            <p:nvPr/>
          </p:nvSpPr>
          <p:spPr>
            <a:xfrm>
              <a:off x="9080813" y="2451541"/>
              <a:ext cx="1067662" cy="373676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A955241-3056-FF47-CF99-5A1E16704FD3}"/>
                </a:ext>
              </a:extLst>
            </p:cNvPr>
            <p:cNvSpPr/>
            <p:nvPr/>
          </p:nvSpPr>
          <p:spPr>
            <a:xfrm>
              <a:off x="8873193" y="4526955"/>
              <a:ext cx="1275282" cy="37367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4B70298-9932-3F03-A092-ECAC93E0C8A7}"/>
                </a:ext>
              </a:extLst>
            </p:cNvPr>
            <p:cNvSpPr/>
            <p:nvPr/>
          </p:nvSpPr>
          <p:spPr>
            <a:xfrm>
              <a:off x="8992655" y="4991158"/>
              <a:ext cx="1155820" cy="373676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BB42FDE-0A65-32AD-1C80-63A36AF695A2}"/>
                </a:ext>
              </a:extLst>
            </p:cNvPr>
            <p:cNvSpPr/>
            <p:nvPr/>
          </p:nvSpPr>
          <p:spPr>
            <a:xfrm>
              <a:off x="7008059" y="1558317"/>
              <a:ext cx="1096271" cy="37367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EB06008-6C68-0FB1-215C-2F3730B97772}"/>
                </a:ext>
              </a:extLst>
            </p:cNvPr>
            <p:cNvSpPr/>
            <p:nvPr/>
          </p:nvSpPr>
          <p:spPr>
            <a:xfrm>
              <a:off x="9151195" y="2915744"/>
              <a:ext cx="997280" cy="93539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2619D49-866C-35C0-C6B3-5ADAE9E2DB9E}"/>
                </a:ext>
              </a:extLst>
            </p:cNvPr>
            <p:cNvSpPr/>
            <p:nvPr/>
          </p:nvSpPr>
          <p:spPr>
            <a:xfrm>
              <a:off x="1983479" y="3851139"/>
              <a:ext cx="997280" cy="499894"/>
            </a:xfrm>
            <a:prstGeom prst="rect">
              <a:avLst/>
            </a:prstGeom>
            <a:noFill/>
            <a:ln>
              <a:solidFill>
                <a:srgbClr val="0F47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7E73E4F-6DED-1081-EEE5-68B64381F786}"/>
                </a:ext>
              </a:extLst>
            </p:cNvPr>
            <p:cNvSpPr/>
            <p:nvPr/>
          </p:nvSpPr>
          <p:spPr>
            <a:xfrm>
              <a:off x="2356159" y="4413312"/>
              <a:ext cx="997280" cy="499894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408BF28-9487-4E7C-3783-3AE9ACA6877F}"/>
                </a:ext>
              </a:extLst>
            </p:cNvPr>
            <p:cNvSpPr/>
            <p:nvPr/>
          </p:nvSpPr>
          <p:spPr>
            <a:xfrm>
              <a:off x="4687324" y="5390837"/>
              <a:ext cx="997280" cy="499894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89DC4E3-957D-3B3F-E858-776248D74F87}"/>
                </a:ext>
              </a:extLst>
            </p:cNvPr>
            <p:cNvSpPr/>
            <p:nvPr/>
          </p:nvSpPr>
          <p:spPr>
            <a:xfrm>
              <a:off x="2225128" y="3141187"/>
              <a:ext cx="459321" cy="59743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4412FD9-3111-35B8-C92C-42BFB421A46D}"/>
                </a:ext>
              </a:extLst>
            </p:cNvPr>
            <p:cNvSpPr/>
            <p:nvPr/>
          </p:nvSpPr>
          <p:spPr>
            <a:xfrm>
              <a:off x="8033615" y="5423070"/>
              <a:ext cx="459321" cy="59743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EC728BD-6CA1-93C2-B60B-ABE482F568E7}"/>
                </a:ext>
              </a:extLst>
            </p:cNvPr>
            <p:cNvSpPr/>
            <p:nvPr/>
          </p:nvSpPr>
          <p:spPr>
            <a:xfrm>
              <a:off x="8992655" y="4064246"/>
              <a:ext cx="1155820" cy="373676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61845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6" name="Google Shape;1636;p75"/>
          <p:cNvSpPr txBox="1"/>
          <p:nvPr/>
        </p:nvSpPr>
        <p:spPr>
          <a:xfrm>
            <a:off x="142504" y="4011287"/>
            <a:ext cx="2732556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E8E8E"/>
              </a:buClr>
              <a:buSzPts val="1200"/>
              <a:buFont typeface="Arial"/>
              <a:buNone/>
            </a:pPr>
            <a:r>
              <a:rPr lang="en-US" sz="1200" b="0" i="1" u="none" strike="noStrike" cap="none" dirty="0">
                <a:solidFill>
                  <a:srgbClr val="8E8E8E"/>
                </a:solidFill>
                <a:latin typeface="Calibri"/>
                <a:ea typeface="Calibri"/>
                <a:cs typeface="Calibri"/>
                <a:sym typeface="Calibri"/>
              </a:rPr>
              <a:t>“I was really impressed by the responsiveness of the team : they came up with a first and quite impressive dashboard proposition within only a couple of days. I also really appreciated the quality of the work; it was really helpful for us to identify the data cleansing needed in our ERP</a:t>
            </a:r>
            <a:r>
              <a:rPr lang="en-US" sz="1200" b="0" i="0" u="none" strike="noStrike" cap="none" dirty="0">
                <a:solidFill>
                  <a:srgbClr val="8E8E8E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r>
              <a:rPr lang="en-US" sz="1200" b="0" i="1" u="none" strike="noStrike" cap="none" dirty="0">
                <a:solidFill>
                  <a:srgbClr val="8E8E8E"/>
                </a:solidFill>
                <a:latin typeface="Calibri"/>
                <a:ea typeface="Calibri"/>
                <a:cs typeface="Calibri"/>
                <a:sym typeface="Calibri"/>
              </a:rPr>
              <a:t>”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E8E8E"/>
              </a:buClr>
              <a:buSzPts val="12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E8E8E"/>
              </a:buClr>
              <a:buSzPts val="1200"/>
              <a:buFont typeface="Arial"/>
              <a:buNone/>
            </a:pPr>
            <a:r>
              <a:rPr lang="en-US" sz="1200" b="1" i="1" u="none" strike="noStrike" cap="none" dirty="0">
                <a:solidFill>
                  <a:srgbClr val="8E8E8E"/>
                </a:solidFill>
                <a:latin typeface="Calibri"/>
                <a:ea typeface="Calibri"/>
                <a:cs typeface="Calibri"/>
                <a:sym typeface="Calibri"/>
              </a:rPr>
              <a:t> ─ </a:t>
            </a:r>
            <a:r>
              <a:rPr lang="en-US" sz="1200" b="1" i="0" u="none" strike="noStrike" cap="none" dirty="0">
                <a:solidFill>
                  <a:srgbClr val="8E8E8E"/>
                </a:solidFill>
                <a:latin typeface="Calibri"/>
                <a:ea typeface="Calibri"/>
                <a:cs typeface="Calibri"/>
                <a:sym typeface="Calibri"/>
              </a:rPr>
              <a:t>Chief Human Capital Officer (Client)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38" name="Google Shape;1638;p75"/>
          <p:cNvSpPr/>
          <p:nvPr/>
        </p:nvSpPr>
        <p:spPr>
          <a:xfrm>
            <a:off x="6123425" y="547633"/>
            <a:ext cx="2596909" cy="576273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39" name="Google Shape;1639;p75"/>
          <p:cNvSpPr/>
          <p:nvPr/>
        </p:nvSpPr>
        <p:spPr>
          <a:xfrm>
            <a:off x="9046451" y="547633"/>
            <a:ext cx="2596909" cy="576273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0" name="Google Shape;1640;p75"/>
          <p:cNvSpPr/>
          <p:nvPr/>
        </p:nvSpPr>
        <p:spPr>
          <a:xfrm>
            <a:off x="3200400" y="547633"/>
            <a:ext cx="2596909" cy="576273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1" name="Google Shape;1641;p75"/>
          <p:cNvSpPr txBox="1"/>
          <p:nvPr/>
        </p:nvSpPr>
        <p:spPr>
          <a:xfrm>
            <a:off x="3403168" y="1527156"/>
            <a:ext cx="2191373" cy="24006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b="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e client wants to have an automatized Human Resource Dashboard to track, analyze and report on HR KPIs.</a:t>
            </a: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b="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e firm was looking for: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03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03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03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03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2" name="Google Shape;1642;p75"/>
          <p:cNvSpPr txBox="1"/>
          <p:nvPr/>
        </p:nvSpPr>
        <p:spPr>
          <a:xfrm>
            <a:off x="6326193" y="1527156"/>
            <a:ext cx="2191373" cy="600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b="0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The company decided to </a:t>
            </a:r>
            <a:r>
              <a:rPr lang="en-US" sz="1300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use</a:t>
            </a:r>
            <a:r>
              <a:rPr lang="en-US" sz="130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300" b="1" i="0" u="none" strike="noStrike" cap="none" dirty="0" err="1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Infomineo’s</a:t>
            </a:r>
            <a:r>
              <a:rPr lang="en-US" sz="130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300" b="1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Data Analytics</a:t>
            </a:r>
            <a:r>
              <a:rPr lang="en-US" sz="130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service as a solution </a:t>
            </a:r>
            <a:r>
              <a:rPr lang="en-US" sz="1300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to cover</a:t>
            </a:r>
            <a:r>
              <a:rPr lang="en-US" sz="130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  <a:endParaRPr sz="1400" b="0" i="0" u="none" strike="noStrike" cap="none" dirty="0">
              <a:solidFill>
                <a:schemeClr val="tx1">
                  <a:lumMod val="50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3" name="Google Shape;1643;p75"/>
          <p:cNvSpPr txBox="1"/>
          <p:nvPr/>
        </p:nvSpPr>
        <p:spPr>
          <a:xfrm>
            <a:off x="9171006" y="4019289"/>
            <a:ext cx="2456492" cy="2600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Estimated </a:t>
            </a:r>
            <a:r>
              <a:rPr lang="en-US" sz="1300" b="1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1 FTE </a:t>
            </a:r>
            <a:r>
              <a:rPr lang="en-US" sz="130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from the HR department could be </a:t>
            </a:r>
            <a:r>
              <a:rPr lang="en-US" sz="1300" b="1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reallocated to other task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Helped the company to start its </a:t>
            </a:r>
            <a:r>
              <a:rPr lang="en-US" sz="130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Data Transformation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lvl="1">
              <a:buClr>
                <a:srgbClr val="444444"/>
              </a:buClr>
              <a:buSzPts val="1300"/>
            </a:pPr>
            <a:r>
              <a:rPr lang="en-US" sz="130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Infomineo has been asked to work with client’s Finance Team to create another dashboard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b="1" dirty="0">
              <a:solidFill>
                <a:srgbClr val="444444"/>
              </a:solidFill>
              <a:highlight>
                <a:srgbClr val="FFFF00"/>
              </a:highlight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b="1" i="0" u="none" strike="noStrike" cap="none" dirty="0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rPr>
              <a:t> </a:t>
            </a:r>
            <a:endParaRPr sz="1400" b="0" i="0" u="none" strike="noStrike" cap="none" dirty="0">
              <a:solidFill>
                <a:srgbClr val="000000"/>
              </a:solidFill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4" name="Google Shape;1644;p75"/>
          <p:cNvSpPr/>
          <p:nvPr/>
        </p:nvSpPr>
        <p:spPr>
          <a:xfrm>
            <a:off x="3200400" y="547632"/>
            <a:ext cx="2596908" cy="693792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5" name="Google Shape;1645;p75"/>
          <p:cNvSpPr txBox="1"/>
          <p:nvPr/>
        </p:nvSpPr>
        <p:spPr>
          <a:xfrm>
            <a:off x="3403168" y="665402"/>
            <a:ext cx="1054714" cy="470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</a:t>
            </a:r>
            <a:b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halleng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6" name="Google Shape;1646;p75"/>
          <p:cNvSpPr/>
          <p:nvPr/>
        </p:nvSpPr>
        <p:spPr>
          <a:xfrm>
            <a:off x="4776348" y="446625"/>
            <a:ext cx="867026" cy="895806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7" name="Google Shape;1647;p75"/>
          <p:cNvSpPr/>
          <p:nvPr/>
        </p:nvSpPr>
        <p:spPr>
          <a:xfrm>
            <a:off x="6123425" y="547632"/>
            <a:ext cx="2596908" cy="693792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8" name="Google Shape;1648;p75"/>
          <p:cNvSpPr txBox="1"/>
          <p:nvPr/>
        </p:nvSpPr>
        <p:spPr>
          <a:xfrm>
            <a:off x="6326193" y="665402"/>
            <a:ext cx="867025" cy="470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r</a:t>
            </a:r>
            <a:b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olu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9" name="Google Shape;1649;p75"/>
          <p:cNvSpPr/>
          <p:nvPr/>
        </p:nvSpPr>
        <p:spPr>
          <a:xfrm>
            <a:off x="7676160" y="446625"/>
            <a:ext cx="867026" cy="895806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0" name="Google Shape;1650;p75"/>
          <p:cNvSpPr/>
          <p:nvPr/>
        </p:nvSpPr>
        <p:spPr>
          <a:xfrm>
            <a:off x="9046451" y="547632"/>
            <a:ext cx="2596908" cy="693792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1" name="Google Shape;1651;p75"/>
          <p:cNvSpPr txBox="1"/>
          <p:nvPr/>
        </p:nvSpPr>
        <p:spPr>
          <a:xfrm>
            <a:off x="9249219" y="783127"/>
            <a:ext cx="943429" cy="235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tcome</a:t>
            </a:r>
            <a:endParaRPr sz="1800" b="0" i="0" u="none" strike="noStrike" cap="none" dirty="0">
              <a:solidFill>
                <a:schemeClr val="lt1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sp>
        <p:nvSpPr>
          <p:cNvPr id="1652" name="Google Shape;1652;p75"/>
          <p:cNvSpPr/>
          <p:nvPr/>
        </p:nvSpPr>
        <p:spPr>
          <a:xfrm>
            <a:off x="10599185" y="446625"/>
            <a:ext cx="867026" cy="895806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53" name="Google Shape;1653;p75"/>
          <p:cNvGrpSpPr/>
          <p:nvPr/>
        </p:nvGrpSpPr>
        <p:grpSpPr>
          <a:xfrm>
            <a:off x="10755642" y="644211"/>
            <a:ext cx="492943" cy="457112"/>
            <a:chOff x="7154863" y="4446588"/>
            <a:chExt cx="527050" cy="506412"/>
          </a:xfrm>
        </p:grpSpPr>
        <p:sp>
          <p:nvSpPr>
            <p:cNvPr id="1654" name="Google Shape;1654;p75"/>
            <p:cNvSpPr/>
            <p:nvPr/>
          </p:nvSpPr>
          <p:spPr>
            <a:xfrm>
              <a:off x="7154863" y="4446588"/>
              <a:ext cx="527050" cy="506412"/>
            </a:xfrm>
            <a:custGeom>
              <a:avLst/>
              <a:gdLst/>
              <a:ahLst/>
              <a:cxnLst/>
              <a:rect l="l" t="t" r="r" b="b"/>
              <a:pathLst>
                <a:path w="840" h="806" extrusionOk="0">
                  <a:moveTo>
                    <a:pt x="831" y="80"/>
                  </a:moveTo>
                  <a:cubicBezTo>
                    <a:pt x="114" y="80"/>
                    <a:pt x="114" y="80"/>
                    <a:pt x="114" y="80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4" y="4"/>
                    <a:pt x="110" y="0"/>
                    <a:pt x="105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25" y="0"/>
                    <a:pt x="0" y="25"/>
                    <a:pt x="0" y="57"/>
                  </a:cubicBezTo>
                  <a:cubicBezTo>
                    <a:pt x="0" y="749"/>
                    <a:pt x="0" y="749"/>
                    <a:pt x="0" y="749"/>
                  </a:cubicBezTo>
                  <a:cubicBezTo>
                    <a:pt x="0" y="780"/>
                    <a:pt x="25" y="806"/>
                    <a:pt x="57" y="806"/>
                  </a:cubicBezTo>
                  <a:cubicBezTo>
                    <a:pt x="95" y="806"/>
                    <a:pt x="95" y="806"/>
                    <a:pt x="95" y="806"/>
                  </a:cubicBezTo>
                  <a:cubicBezTo>
                    <a:pt x="105" y="806"/>
                    <a:pt x="105" y="806"/>
                    <a:pt x="105" y="806"/>
                  </a:cubicBezTo>
                  <a:cubicBezTo>
                    <a:pt x="831" y="806"/>
                    <a:pt x="831" y="806"/>
                    <a:pt x="831" y="806"/>
                  </a:cubicBezTo>
                  <a:cubicBezTo>
                    <a:pt x="836" y="806"/>
                    <a:pt x="840" y="802"/>
                    <a:pt x="840" y="797"/>
                  </a:cubicBezTo>
                  <a:cubicBezTo>
                    <a:pt x="840" y="89"/>
                    <a:pt x="840" y="89"/>
                    <a:pt x="840" y="89"/>
                  </a:cubicBezTo>
                  <a:cubicBezTo>
                    <a:pt x="840" y="84"/>
                    <a:pt x="836" y="80"/>
                    <a:pt x="831" y="80"/>
                  </a:cubicBezTo>
                  <a:close/>
                  <a:moveTo>
                    <a:pt x="57" y="17"/>
                  </a:moveTo>
                  <a:cubicBezTo>
                    <a:pt x="97" y="17"/>
                    <a:pt x="97" y="17"/>
                    <a:pt x="97" y="17"/>
                  </a:cubicBezTo>
                  <a:cubicBezTo>
                    <a:pt x="97" y="692"/>
                    <a:pt x="97" y="692"/>
                    <a:pt x="97" y="692"/>
                  </a:cubicBezTo>
                  <a:cubicBezTo>
                    <a:pt x="57" y="692"/>
                    <a:pt x="57" y="692"/>
                    <a:pt x="57" y="692"/>
                  </a:cubicBezTo>
                  <a:cubicBezTo>
                    <a:pt x="41" y="692"/>
                    <a:pt x="27" y="698"/>
                    <a:pt x="17" y="70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35"/>
                    <a:pt x="35" y="17"/>
                    <a:pt x="57" y="17"/>
                  </a:cubicBezTo>
                  <a:close/>
                  <a:moveTo>
                    <a:pt x="823" y="788"/>
                  </a:moveTo>
                  <a:cubicBezTo>
                    <a:pt x="105" y="788"/>
                    <a:pt x="105" y="788"/>
                    <a:pt x="105" y="788"/>
                  </a:cubicBezTo>
                  <a:cubicBezTo>
                    <a:pt x="95" y="788"/>
                    <a:pt x="95" y="788"/>
                    <a:pt x="95" y="788"/>
                  </a:cubicBezTo>
                  <a:cubicBezTo>
                    <a:pt x="57" y="788"/>
                    <a:pt x="57" y="788"/>
                    <a:pt x="57" y="788"/>
                  </a:cubicBezTo>
                  <a:cubicBezTo>
                    <a:pt x="35" y="788"/>
                    <a:pt x="17" y="771"/>
                    <a:pt x="17" y="749"/>
                  </a:cubicBezTo>
                  <a:cubicBezTo>
                    <a:pt x="17" y="727"/>
                    <a:pt x="35" y="709"/>
                    <a:pt x="57" y="709"/>
                  </a:cubicBezTo>
                  <a:cubicBezTo>
                    <a:pt x="105" y="709"/>
                    <a:pt x="105" y="709"/>
                    <a:pt x="105" y="709"/>
                  </a:cubicBezTo>
                  <a:cubicBezTo>
                    <a:pt x="110" y="709"/>
                    <a:pt x="114" y="705"/>
                    <a:pt x="114" y="700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823" y="98"/>
                    <a:pt x="823" y="98"/>
                    <a:pt x="823" y="98"/>
                  </a:cubicBezTo>
                  <a:lnTo>
                    <a:pt x="823" y="788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5" name="Google Shape;1655;p75"/>
            <p:cNvSpPr/>
            <p:nvPr/>
          </p:nvSpPr>
          <p:spPr>
            <a:xfrm>
              <a:off x="7275513" y="4554538"/>
              <a:ext cx="344488" cy="336550"/>
            </a:xfrm>
            <a:custGeom>
              <a:avLst/>
              <a:gdLst/>
              <a:ahLst/>
              <a:cxnLst/>
              <a:rect l="l" t="t" r="r" b="b"/>
              <a:pathLst>
                <a:path w="549" h="537" extrusionOk="0">
                  <a:moveTo>
                    <a:pt x="4" y="226"/>
                  </a:moveTo>
                  <a:cubicBezTo>
                    <a:pt x="71" y="293"/>
                    <a:pt x="71" y="293"/>
                    <a:pt x="71" y="293"/>
                  </a:cubicBezTo>
                  <a:cubicBezTo>
                    <a:pt x="73" y="295"/>
                    <a:pt x="75" y="296"/>
                    <a:pt x="77" y="296"/>
                  </a:cubicBezTo>
                  <a:cubicBezTo>
                    <a:pt x="79" y="296"/>
                    <a:pt x="81" y="295"/>
                    <a:pt x="83" y="293"/>
                  </a:cubicBezTo>
                  <a:cubicBezTo>
                    <a:pt x="148" y="229"/>
                    <a:pt x="148" y="229"/>
                    <a:pt x="148" y="229"/>
                  </a:cubicBezTo>
                  <a:cubicBezTo>
                    <a:pt x="295" y="229"/>
                    <a:pt x="295" y="229"/>
                    <a:pt x="295" y="229"/>
                  </a:cubicBezTo>
                  <a:cubicBezTo>
                    <a:pt x="437" y="229"/>
                    <a:pt x="437" y="229"/>
                    <a:pt x="437" y="229"/>
                  </a:cubicBezTo>
                  <a:cubicBezTo>
                    <a:pt x="437" y="268"/>
                    <a:pt x="437" y="268"/>
                    <a:pt x="437" y="268"/>
                  </a:cubicBezTo>
                  <a:cubicBezTo>
                    <a:pt x="437" y="272"/>
                    <a:pt x="441" y="276"/>
                    <a:pt x="446" y="276"/>
                  </a:cubicBezTo>
                  <a:cubicBezTo>
                    <a:pt x="484" y="276"/>
                    <a:pt x="484" y="276"/>
                    <a:pt x="484" y="276"/>
                  </a:cubicBezTo>
                  <a:cubicBezTo>
                    <a:pt x="484" y="418"/>
                    <a:pt x="484" y="418"/>
                    <a:pt x="484" y="418"/>
                  </a:cubicBezTo>
                  <a:cubicBezTo>
                    <a:pt x="460" y="422"/>
                    <a:pt x="442" y="441"/>
                    <a:pt x="438" y="465"/>
                  </a:cubicBezTo>
                  <a:cubicBezTo>
                    <a:pt x="116" y="465"/>
                    <a:pt x="116" y="465"/>
                    <a:pt x="116" y="465"/>
                  </a:cubicBezTo>
                  <a:cubicBezTo>
                    <a:pt x="116" y="419"/>
                    <a:pt x="116" y="419"/>
                    <a:pt x="116" y="419"/>
                  </a:cubicBezTo>
                  <a:cubicBezTo>
                    <a:pt x="116" y="416"/>
                    <a:pt x="115" y="413"/>
                    <a:pt x="112" y="411"/>
                  </a:cubicBezTo>
                  <a:cubicBezTo>
                    <a:pt x="110" y="410"/>
                    <a:pt x="106" y="410"/>
                    <a:pt x="104" y="411"/>
                  </a:cubicBezTo>
                  <a:cubicBezTo>
                    <a:pt x="9" y="466"/>
                    <a:pt x="9" y="466"/>
                    <a:pt x="9" y="466"/>
                  </a:cubicBezTo>
                  <a:cubicBezTo>
                    <a:pt x="6" y="468"/>
                    <a:pt x="5" y="470"/>
                    <a:pt x="5" y="474"/>
                  </a:cubicBezTo>
                  <a:cubicBezTo>
                    <a:pt x="5" y="477"/>
                    <a:pt x="6" y="479"/>
                    <a:pt x="9" y="481"/>
                  </a:cubicBezTo>
                  <a:cubicBezTo>
                    <a:pt x="104" y="536"/>
                    <a:pt x="104" y="536"/>
                    <a:pt x="104" y="536"/>
                  </a:cubicBezTo>
                  <a:cubicBezTo>
                    <a:pt x="105" y="536"/>
                    <a:pt x="106" y="537"/>
                    <a:pt x="108" y="537"/>
                  </a:cubicBezTo>
                  <a:cubicBezTo>
                    <a:pt x="109" y="537"/>
                    <a:pt x="111" y="536"/>
                    <a:pt x="112" y="536"/>
                  </a:cubicBezTo>
                  <a:cubicBezTo>
                    <a:pt x="115" y="534"/>
                    <a:pt x="116" y="531"/>
                    <a:pt x="116" y="528"/>
                  </a:cubicBezTo>
                  <a:cubicBezTo>
                    <a:pt x="116" y="482"/>
                    <a:pt x="116" y="482"/>
                    <a:pt x="116" y="482"/>
                  </a:cubicBezTo>
                  <a:cubicBezTo>
                    <a:pt x="438" y="482"/>
                    <a:pt x="438" y="482"/>
                    <a:pt x="438" y="482"/>
                  </a:cubicBezTo>
                  <a:cubicBezTo>
                    <a:pt x="442" y="509"/>
                    <a:pt x="465" y="530"/>
                    <a:pt x="493" y="530"/>
                  </a:cubicBezTo>
                  <a:cubicBezTo>
                    <a:pt x="524" y="530"/>
                    <a:pt x="549" y="504"/>
                    <a:pt x="549" y="474"/>
                  </a:cubicBezTo>
                  <a:cubicBezTo>
                    <a:pt x="549" y="446"/>
                    <a:pt x="528" y="423"/>
                    <a:pt x="502" y="418"/>
                  </a:cubicBezTo>
                  <a:cubicBezTo>
                    <a:pt x="502" y="276"/>
                    <a:pt x="502" y="276"/>
                    <a:pt x="502" y="276"/>
                  </a:cubicBezTo>
                  <a:cubicBezTo>
                    <a:pt x="540" y="276"/>
                    <a:pt x="540" y="276"/>
                    <a:pt x="540" y="276"/>
                  </a:cubicBezTo>
                  <a:cubicBezTo>
                    <a:pt x="545" y="276"/>
                    <a:pt x="549" y="272"/>
                    <a:pt x="549" y="268"/>
                  </a:cubicBezTo>
                  <a:cubicBezTo>
                    <a:pt x="549" y="173"/>
                    <a:pt x="549" y="173"/>
                    <a:pt x="549" y="173"/>
                  </a:cubicBezTo>
                  <a:cubicBezTo>
                    <a:pt x="549" y="168"/>
                    <a:pt x="545" y="164"/>
                    <a:pt x="540" y="164"/>
                  </a:cubicBezTo>
                  <a:cubicBezTo>
                    <a:pt x="446" y="164"/>
                    <a:pt x="446" y="164"/>
                    <a:pt x="446" y="164"/>
                  </a:cubicBezTo>
                  <a:cubicBezTo>
                    <a:pt x="441" y="164"/>
                    <a:pt x="437" y="168"/>
                    <a:pt x="437" y="173"/>
                  </a:cubicBezTo>
                  <a:cubicBezTo>
                    <a:pt x="437" y="212"/>
                    <a:pt x="437" y="212"/>
                    <a:pt x="437" y="212"/>
                  </a:cubicBezTo>
                  <a:cubicBezTo>
                    <a:pt x="303" y="212"/>
                    <a:pt x="303" y="212"/>
                    <a:pt x="303" y="212"/>
                  </a:cubicBezTo>
                  <a:cubicBezTo>
                    <a:pt x="303" y="140"/>
                    <a:pt x="303" y="140"/>
                    <a:pt x="303" y="140"/>
                  </a:cubicBezTo>
                  <a:cubicBezTo>
                    <a:pt x="338" y="136"/>
                    <a:pt x="365" y="107"/>
                    <a:pt x="365" y="71"/>
                  </a:cubicBezTo>
                  <a:cubicBezTo>
                    <a:pt x="365" y="32"/>
                    <a:pt x="334" y="0"/>
                    <a:pt x="295" y="0"/>
                  </a:cubicBezTo>
                  <a:cubicBezTo>
                    <a:pt x="259" y="0"/>
                    <a:pt x="230" y="27"/>
                    <a:pt x="225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2" y="62"/>
                    <a:pt x="68" y="66"/>
                    <a:pt x="68" y="71"/>
                  </a:cubicBezTo>
                  <a:cubicBezTo>
                    <a:pt x="68" y="150"/>
                    <a:pt x="68" y="150"/>
                    <a:pt x="68" y="150"/>
                  </a:cubicBezTo>
                  <a:cubicBezTo>
                    <a:pt x="4" y="214"/>
                    <a:pt x="4" y="214"/>
                    <a:pt x="4" y="214"/>
                  </a:cubicBezTo>
                  <a:cubicBezTo>
                    <a:pt x="0" y="217"/>
                    <a:pt x="0" y="223"/>
                    <a:pt x="4" y="226"/>
                  </a:cubicBezTo>
                  <a:close/>
                  <a:moveTo>
                    <a:pt x="99" y="513"/>
                  </a:moveTo>
                  <a:cubicBezTo>
                    <a:pt x="30" y="474"/>
                    <a:pt x="30" y="474"/>
                    <a:pt x="30" y="474"/>
                  </a:cubicBezTo>
                  <a:cubicBezTo>
                    <a:pt x="99" y="434"/>
                    <a:pt x="99" y="434"/>
                    <a:pt x="99" y="434"/>
                  </a:cubicBezTo>
                  <a:lnTo>
                    <a:pt x="99" y="513"/>
                  </a:lnTo>
                  <a:close/>
                  <a:moveTo>
                    <a:pt x="532" y="474"/>
                  </a:moveTo>
                  <a:cubicBezTo>
                    <a:pt x="532" y="495"/>
                    <a:pt x="514" y="512"/>
                    <a:pt x="493" y="512"/>
                  </a:cubicBezTo>
                  <a:cubicBezTo>
                    <a:pt x="472" y="512"/>
                    <a:pt x="454" y="495"/>
                    <a:pt x="454" y="474"/>
                  </a:cubicBezTo>
                  <a:cubicBezTo>
                    <a:pt x="454" y="452"/>
                    <a:pt x="472" y="435"/>
                    <a:pt x="493" y="435"/>
                  </a:cubicBezTo>
                  <a:cubicBezTo>
                    <a:pt x="514" y="435"/>
                    <a:pt x="532" y="452"/>
                    <a:pt x="532" y="474"/>
                  </a:cubicBezTo>
                  <a:close/>
                  <a:moveTo>
                    <a:pt x="454" y="181"/>
                  </a:moveTo>
                  <a:cubicBezTo>
                    <a:pt x="532" y="181"/>
                    <a:pt x="532" y="181"/>
                    <a:pt x="532" y="181"/>
                  </a:cubicBezTo>
                  <a:cubicBezTo>
                    <a:pt x="532" y="259"/>
                    <a:pt x="532" y="259"/>
                    <a:pt x="532" y="259"/>
                  </a:cubicBezTo>
                  <a:cubicBezTo>
                    <a:pt x="454" y="259"/>
                    <a:pt x="454" y="259"/>
                    <a:pt x="454" y="259"/>
                  </a:cubicBezTo>
                  <a:lnTo>
                    <a:pt x="454" y="181"/>
                  </a:lnTo>
                  <a:close/>
                  <a:moveTo>
                    <a:pt x="295" y="17"/>
                  </a:moveTo>
                  <a:cubicBezTo>
                    <a:pt x="324" y="17"/>
                    <a:pt x="348" y="41"/>
                    <a:pt x="348" y="71"/>
                  </a:cubicBezTo>
                  <a:cubicBezTo>
                    <a:pt x="348" y="100"/>
                    <a:pt x="324" y="124"/>
                    <a:pt x="295" y="124"/>
                  </a:cubicBezTo>
                  <a:cubicBezTo>
                    <a:pt x="265" y="124"/>
                    <a:pt x="242" y="100"/>
                    <a:pt x="242" y="71"/>
                  </a:cubicBezTo>
                  <a:cubicBezTo>
                    <a:pt x="242" y="41"/>
                    <a:pt x="265" y="17"/>
                    <a:pt x="295" y="17"/>
                  </a:cubicBezTo>
                  <a:close/>
                  <a:moveTo>
                    <a:pt x="225" y="79"/>
                  </a:moveTo>
                  <a:cubicBezTo>
                    <a:pt x="229" y="111"/>
                    <a:pt x="254" y="136"/>
                    <a:pt x="286" y="14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86" y="150"/>
                    <a:pt x="86" y="150"/>
                    <a:pt x="86" y="150"/>
                  </a:cubicBezTo>
                  <a:cubicBezTo>
                    <a:pt x="86" y="79"/>
                    <a:pt x="86" y="79"/>
                    <a:pt x="86" y="79"/>
                  </a:cubicBezTo>
                  <a:lnTo>
                    <a:pt x="225" y="79"/>
                  </a:lnTo>
                  <a:close/>
                  <a:moveTo>
                    <a:pt x="77" y="165"/>
                  </a:moveTo>
                  <a:cubicBezTo>
                    <a:pt x="132" y="220"/>
                    <a:pt x="132" y="220"/>
                    <a:pt x="132" y="220"/>
                  </a:cubicBezTo>
                  <a:cubicBezTo>
                    <a:pt x="77" y="275"/>
                    <a:pt x="77" y="275"/>
                    <a:pt x="77" y="275"/>
                  </a:cubicBezTo>
                  <a:cubicBezTo>
                    <a:pt x="22" y="220"/>
                    <a:pt x="22" y="220"/>
                    <a:pt x="22" y="220"/>
                  </a:cubicBezTo>
                  <a:lnTo>
                    <a:pt x="77" y="16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56" name="Google Shape;1656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9400" y="560588"/>
            <a:ext cx="848783" cy="766477"/>
          </a:xfrm>
          <a:prstGeom prst="rect">
            <a:avLst/>
          </a:prstGeom>
          <a:noFill/>
          <a:ln>
            <a:noFill/>
          </a:ln>
        </p:spPr>
      </p:pic>
      <p:sp>
        <p:nvSpPr>
          <p:cNvPr id="1657" name="Google Shape;1657;p75"/>
          <p:cNvSpPr txBox="1"/>
          <p:nvPr/>
        </p:nvSpPr>
        <p:spPr>
          <a:xfrm>
            <a:off x="1534212" y="560588"/>
            <a:ext cx="1446457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r>
              <a:rPr lang="en-US" sz="3200" b="0" i="0" u="none" strike="noStrike" cap="none" dirty="0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lang="en-US" sz="3200" b="0" i="0" u="none" strike="noStrike" cap="none" dirty="0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3200" b="0" i="0" u="none" strike="noStrike" cap="none" dirty="0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58" name="Google Shape;1658;p75"/>
          <p:cNvCxnSpPr/>
          <p:nvPr/>
        </p:nvCxnSpPr>
        <p:spPr>
          <a:xfrm>
            <a:off x="539400" y="1479434"/>
            <a:ext cx="2314257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9" name="Google Shape;1659;p75"/>
          <p:cNvSpPr txBox="1"/>
          <p:nvPr/>
        </p:nvSpPr>
        <p:spPr>
          <a:xfrm>
            <a:off x="563344" y="1610994"/>
            <a:ext cx="233413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0" name="Google Shape;1660;p75"/>
          <p:cNvSpPr txBox="1"/>
          <p:nvPr/>
        </p:nvSpPr>
        <p:spPr>
          <a:xfrm>
            <a:off x="563344" y="1930557"/>
            <a:ext cx="2314257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-US" sz="1300" b="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A multinational firm</a:t>
            </a: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61" name="Google Shape;1661;p7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01470" y="595174"/>
            <a:ext cx="601166" cy="60116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2" name="Google Shape;1662;p7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914272" y="598939"/>
            <a:ext cx="591178" cy="59117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63" name="Google Shape;1663;p75"/>
          <p:cNvGrpSpPr/>
          <p:nvPr/>
        </p:nvGrpSpPr>
        <p:grpSpPr>
          <a:xfrm>
            <a:off x="3371589" y="3345510"/>
            <a:ext cx="457200" cy="457200"/>
            <a:chOff x="5019786" y="5350940"/>
            <a:chExt cx="457200" cy="457200"/>
          </a:xfrm>
        </p:grpSpPr>
        <p:sp>
          <p:nvSpPr>
            <p:cNvPr id="1664" name="Google Shape;1664;p75"/>
            <p:cNvSpPr/>
            <p:nvPr/>
          </p:nvSpPr>
          <p:spPr>
            <a:xfrm>
              <a:off x="5019786" y="5350940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65" name="Google Shape;1665;p75" descr="Gears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065506" y="5401573"/>
              <a:ext cx="365760" cy="36576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666" name="Google Shape;1666;p75"/>
          <p:cNvGrpSpPr/>
          <p:nvPr/>
        </p:nvGrpSpPr>
        <p:grpSpPr>
          <a:xfrm>
            <a:off x="3371589" y="4228244"/>
            <a:ext cx="457200" cy="457200"/>
            <a:chOff x="3378894" y="3514738"/>
            <a:chExt cx="457200" cy="457200"/>
          </a:xfrm>
        </p:grpSpPr>
        <p:pic>
          <p:nvPicPr>
            <p:cNvPr id="1667" name="Google Shape;1667;p75" descr="Arrow circle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3424614" y="3560458"/>
              <a:ext cx="365760" cy="36576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68" name="Google Shape;1668;p75"/>
            <p:cNvSpPr/>
            <p:nvPr/>
          </p:nvSpPr>
          <p:spPr>
            <a:xfrm>
              <a:off x="3378894" y="3514738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669" name="Google Shape;1669;p75"/>
          <p:cNvGrpSpPr/>
          <p:nvPr/>
        </p:nvGrpSpPr>
        <p:grpSpPr>
          <a:xfrm>
            <a:off x="3371589" y="5110978"/>
            <a:ext cx="457200" cy="457200"/>
            <a:chOff x="3396648" y="4559261"/>
            <a:chExt cx="457200" cy="457200"/>
          </a:xfrm>
        </p:grpSpPr>
        <p:sp>
          <p:nvSpPr>
            <p:cNvPr id="1670" name="Google Shape;1670;p75"/>
            <p:cNvSpPr/>
            <p:nvPr/>
          </p:nvSpPr>
          <p:spPr>
            <a:xfrm>
              <a:off x="3396648" y="4559261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71" name="Google Shape;1671;p75" descr="Dollar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3442368" y="4633632"/>
              <a:ext cx="365760" cy="30845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72" name="Google Shape;1672;p75"/>
          <p:cNvSpPr txBox="1"/>
          <p:nvPr/>
        </p:nvSpPr>
        <p:spPr>
          <a:xfrm>
            <a:off x="3942673" y="5015225"/>
            <a:ext cx="164592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Lower cost </a:t>
            </a:r>
            <a:r>
              <a:rPr lang="en-US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an</a:t>
            </a:r>
            <a:r>
              <a:rPr lang="en-US" sz="140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 buying from a specialized company an HR Dashboard too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3" name="Google Shape;1673;p75"/>
          <p:cNvSpPr txBox="1"/>
          <p:nvPr/>
        </p:nvSpPr>
        <p:spPr>
          <a:xfrm>
            <a:off x="5174046" y="6945699"/>
            <a:ext cx="65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4" name="Google Shape;1674;p75"/>
          <p:cNvSpPr txBox="1"/>
          <p:nvPr/>
        </p:nvSpPr>
        <p:spPr>
          <a:xfrm>
            <a:off x="3911159" y="3358667"/>
            <a:ext cx="164592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Effective and quick </a:t>
            </a: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solu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5" name="Google Shape;1675;p75"/>
          <p:cNvSpPr txBox="1"/>
          <p:nvPr/>
        </p:nvSpPr>
        <p:spPr>
          <a:xfrm>
            <a:off x="3953388" y="4232199"/>
            <a:ext cx="164592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Smooth integration </a:t>
            </a:r>
            <a:r>
              <a:rPr lang="en-US" sz="1400" b="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with its existing ERP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6" name="Google Shape;1676;p75"/>
          <p:cNvSpPr txBox="1"/>
          <p:nvPr/>
        </p:nvSpPr>
        <p:spPr>
          <a:xfrm>
            <a:off x="7095831" y="5002699"/>
            <a:ext cx="160601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d-hoc deliverables :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dirty="0">
                <a:latin typeface="Calibri"/>
                <a:ea typeface="Calibri"/>
                <a:cs typeface="Calibri"/>
                <a:sym typeface="Calibri"/>
              </a:rPr>
              <a:t>Dictionaries, Creation of Metadata, Data Quality On boarding</a:t>
            </a:r>
            <a:endParaRPr sz="14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60" name="Google Shape;1760;p75"/>
          <p:cNvSpPr txBox="1"/>
          <p:nvPr/>
        </p:nvSpPr>
        <p:spPr>
          <a:xfrm>
            <a:off x="7068738" y="2355848"/>
            <a:ext cx="1597572" cy="2369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Data Quality &amp; Consistency problems </a:t>
            </a:r>
            <a:r>
              <a:rPr lang="en-US" dirty="0">
                <a:latin typeface="Calibri"/>
                <a:ea typeface="Calibri"/>
                <a:cs typeface="Calibri"/>
                <a:sym typeface="Calibri"/>
              </a:rPr>
              <a:t>between the various Data sources </a:t>
            </a:r>
            <a:endParaRPr dirty="0">
              <a:latin typeface="Calibri"/>
              <a:ea typeface="Calibri"/>
              <a:cs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SzPts val="14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Dashboard creation </a:t>
            </a:r>
            <a:r>
              <a:rPr lang="en-US" dirty="0">
                <a:latin typeface="Calibri"/>
                <a:ea typeface="Calibri"/>
                <a:cs typeface="Calibri"/>
                <a:sym typeface="Calibri"/>
              </a:rPr>
              <a:t>that reflects HR Team needs</a:t>
            </a:r>
            <a:endParaRPr dirty="0">
              <a:latin typeface="Calibri"/>
              <a:ea typeface="Calibri"/>
              <a:cs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61" name="Google Shape;1761;p75"/>
          <p:cNvSpPr txBox="1"/>
          <p:nvPr/>
        </p:nvSpPr>
        <p:spPr>
          <a:xfrm>
            <a:off x="9174577" y="1527156"/>
            <a:ext cx="2188748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300" b="0" i="0" u="none" strike="noStrike" cap="none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firm recognized </a:t>
            </a:r>
            <a:r>
              <a:rPr lang="en-US" sz="1300" b="1" i="0" u="none" strike="noStrike" cap="none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at the quality of the Data Analytics service provided a </a:t>
            </a:r>
            <a:r>
              <a:rPr lang="en-US" sz="1300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useful reporting tool </a:t>
            </a:r>
            <a:r>
              <a:rPr lang="en-US" sz="1300" b="0" i="0" u="none" strike="noStrike" cap="none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resulting in:</a:t>
            </a:r>
            <a:endParaRPr sz="1300" b="0" i="0" u="none" strike="noStrike" cap="none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66" name="Google Shape;1766;p75"/>
          <p:cNvGrpSpPr/>
          <p:nvPr/>
        </p:nvGrpSpPr>
        <p:grpSpPr>
          <a:xfrm>
            <a:off x="6272659" y="5145991"/>
            <a:ext cx="590748" cy="569622"/>
            <a:chOff x="6427826" y="3563396"/>
            <a:chExt cx="457200" cy="457200"/>
          </a:xfrm>
        </p:grpSpPr>
        <p:pic>
          <p:nvPicPr>
            <p:cNvPr id="1767" name="Google Shape;1767;p75" descr="List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6473546" y="3601070"/>
              <a:ext cx="365760" cy="36576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68" name="Google Shape;1768;p75"/>
            <p:cNvSpPr/>
            <p:nvPr/>
          </p:nvSpPr>
          <p:spPr>
            <a:xfrm>
              <a:off x="6427826" y="3563396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769" name="Google Shape;1769;p75"/>
          <p:cNvGrpSpPr/>
          <p:nvPr/>
        </p:nvGrpSpPr>
        <p:grpSpPr>
          <a:xfrm>
            <a:off x="372862" y="3602729"/>
            <a:ext cx="2524618" cy="416560"/>
            <a:chOff x="550863" y="4854495"/>
            <a:chExt cx="3188017" cy="416560"/>
          </a:xfrm>
        </p:grpSpPr>
        <p:cxnSp>
          <p:nvCxnSpPr>
            <p:cNvPr id="1770" name="Google Shape;1770;p75"/>
            <p:cNvCxnSpPr/>
            <p:nvPr/>
          </p:nvCxnSpPr>
          <p:spPr>
            <a:xfrm>
              <a:off x="550863" y="5059680"/>
              <a:ext cx="3188017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71" name="Google Shape;1771;p75"/>
            <p:cNvSpPr/>
            <p:nvPr/>
          </p:nvSpPr>
          <p:spPr>
            <a:xfrm>
              <a:off x="1936591" y="4854495"/>
              <a:ext cx="416560" cy="41656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72" name="Google Shape;1772;p75"/>
            <p:cNvGrpSpPr/>
            <p:nvPr/>
          </p:nvGrpSpPr>
          <p:grpSpPr>
            <a:xfrm>
              <a:off x="1994217" y="4949317"/>
              <a:ext cx="301308" cy="220726"/>
              <a:chOff x="5754688" y="3178175"/>
              <a:chExt cx="682626" cy="500063"/>
            </a:xfrm>
          </p:grpSpPr>
          <p:sp>
            <p:nvSpPr>
              <p:cNvPr id="1773" name="Google Shape;1773;p75"/>
              <p:cNvSpPr/>
              <p:nvPr/>
            </p:nvSpPr>
            <p:spPr>
              <a:xfrm>
                <a:off x="5754688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6" y="126"/>
                      <a:pt x="16" y="130"/>
                      <a:pt x="10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5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4" name="Google Shape;1774;p75"/>
              <p:cNvSpPr/>
              <p:nvPr/>
            </p:nvSpPr>
            <p:spPr>
              <a:xfrm>
                <a:off x="6121401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5" y="126"/>
                      <a:pt x="16" y="130"/>
                      <a:pt x="9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4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1775" name="Google Shape;1775;p75"/>
          <p:cNvGrpSpPr/>
          <p:nvPr/>
        </p:nvGrpSpPr>
        <p:grpSpPr>
          <a:xfrm>
            <a:off x="374340" y="5701763"/>
            <a:ext cx="2524618" cy="416560"/>
            <a:chOff x="550863" y="4854495"/>
            <a:chExt cx="3188017" cy="416560"/>
          </a:xfrm>
        </p:grpSpPr>
        <p:cxnSp>
          <p:nvCxnSpPr>
            <p:cNvPr id="1776" name="Google Shape;1776;p75"/>
            <p:cNvCxnSpPr/>
            <p:nvPr/>
          </p:nvCxnSpPr>
          <p:spPr>
            <a:xfrm>
              <a:off x="550863" y="5059680"/>
              <a:ext cx="3188017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77" name="Google Shape;1777;p75"/>
            <p:cNvSpPr/>
            <p:nvPr/>
          </p:nvSpPr>
          <p:spPr>
            <a:xfrm>
              <a:off x="1936591" y="4854495"/>
              <a:ext cx="416560" cy="41656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78" name="Google Shape;1778;p75"/>
            <p:cNvGrpSpPr/>
            <p:nvPr/>
          </p:nvGrpSpPr>
          <p:grpSpPr>
            <a:xfrm>
              <a:off x="1994217" y="4949317"/>
              <a:ext cx="301308" cy="220726"/>
              <a:chOff x="5754688" y="3178175"/>
              <a:chExt cx="682626" cy="500063"/>
            </a:xfrm>
          </p:grpSpPr>
          <p:sp>
            <p:nvSpPr>
              <p:cNvPr id="1779" name="Google Shape;1779;p75"/>
              <p:cNvSpPr/>
              <p:nvPr/>
            </p:nvSpPr>
            <p:spPr>
              <a:xfrm>
                <a:off x="5754688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6" y="126"/>
                      <a:pt x="16" y="130"/>
                      <a:pt x="10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5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0" name="Google Shape;1780;p75"/>
              <p:cNvSpPr/>
              <p:nvPr/>
            </p:nvSpPr>
            <p:spPr>
              <a:xfrm>
                <a:off x="6121401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5" y="126"/>
                      <a:pt x="16" y="130"/>
                      <a:pt x="9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4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8" name="Picture 4" descr="The importance of the Data Quality - Captain Verify">
            <a:extLst>
              <a:ext uri="{FF2B5EF4-FFF2-40B4-BE49-F238E27FC236}">
                <a16:creationId xmlns:a16="http://schemas.microsoft.com/office/drawing/2014/main" id="{1F291728-E6CD-505F-29D2-32C25CE0BE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659" y="2461759"/>
            <a:ext cx="587845" cy="75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eport Icons Added to Dashboard Suggestions - 4me">
            <a:extLst>
              <a:ext uri="{FF2B5EF4-FFF2-40B4-BE49-F238E27FC236}">
                <a16:creationId xmlns:a16="http://schemas.microsoft.com/office/drawing/2014/main" id="{F2F727ED-925A-2624-351C-363EC41A1B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1888" y="3811009"/>
            <a:ext cx="693792" cy="693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Google Shape;1643;p75">
            <a:extLst>
              <a:ext uri="{FF2B5EF4-FFF2-40B4-BE49-F238E27FC236}">
                <a16:creationId xmlns:a16="http://schemas.microsoft.com/office/drawing/2014/main" id="{5505DB6E-4411-614A-C0C3-3FFB33DD3EA8}"/>
              </a:ext>
            </a:extLst>
          </p:cNvPr>
          <p:cNvSpPr txBox="1"/>
          <p:nvPr/>
        </p:nvSpPr>
        <p:spPr>
          <a:xfrm>
            <a:off x="9174577" y="2598378"/>
            <a:ext cx="2456492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During the project, Data were corrected in the ERPs :</a:t>
            </a: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Manual files </a:t>
            </a:r>
            <a:r>
              <a:rPr lang="en-US" sz="130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where</a:t>
            </a:r>
            <a:r>
              <a:rPr lang="en-US" sz="130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 not used anymore</a:t>
            </a: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Data Quality improved by 55% </a:t>
            </a:r>
            <a:r>
              <a:rPr lang="en-US" sz="1300" i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for critical data elements </a:t>
            </a:r>
          </a:p>
        </p:txBody>
      </p:sp>
    </p:spTree>
    <p:extLst>
      <p:ext uri="{BB962C8B-B14F-4D97-AF65-F5344CB8AC3E}">
        <p14:creationId xmlns:p14="http://schemas.microsoft.com/office/powerpoint/2010/main" val="21392018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9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7B9430-6BE6-40D0-BCAE-E807D35442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7B9430-6BE6-40D0-BCAE-E807D3544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6" name="Google Shape;486;p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/>
              <a:t>Infomineo provides global </a:t>
            </a:r>
            <a:r>
              <a:rPr lang="en-US"/>
              <a:t>research coverage</a:t>
            </a:r>
            <a:endParaRPr dirty="0"/>
          </a:p>
        </p:txBody>
      </p:sp>
      <p:sp>
        <p:nvSpPr>
          <p:cNvPr id="106" name="Google Shape;496;p5">
            <a:extLst>
              <a:ext uri="{FF2B5EF4-FFF2-40B4-BE49-F238E27FC236}">
                <a16:creationId xmlns:a16="http://schemas.microsoft.com/office/drawing/2014/main" id="{46C819E4-9B90-4E63-837B-9CA3AE11867D}"/>
              </a:ext>
            </a:extLst>
          </p:cNvPr>
          <p:cNvSpPr txBox="1"/>
          <p:nvPr/>
        </p:nvSpPr>
        <p:spPr>
          <a:xfrm>
            <a:off x="550862" y="5699327"/>
            <a:ext cx="11090275" cy="6093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2"/>
                </a:solidFill>
                <a:latin typeface="Calibri" panose="020F0502020204030204" pitchFamily="34" charset="0"/>
                <a:ea typeface="Franklin Gothic"/>
                <a:cs typeface="Calibri" panose="020F0502020204030204" pitchFamily="34" charset="0"/>
                <a:sym typeface="Franklin Gothic"/>
              </a:rPr>
              <a:t>Geographic distribution</a:t>
            </a:r>
            <a:br>
              <a:rPr lang="en-US" sz="1400" dirty="0">
                <a:solidFill>
                  <a:schemeClr val="dk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</a:br>
            <a:r>
              <a:rPr lang="en-US" sz="1400" dirty="0">
                <a:solidFill>
                  <a:schemeClr val="dk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of our work:</a:t>
            </a:r>
            <a:br>
              <a:rPr lang="en-US" sz="1400" dirty="0">
                <a:solidFill>
                  <a:schemeClr val="dk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</a:br>
            <a:r>
              <a:rPr lang="en-US" sz="1400" dirty="0">
                <a:solidFill>
                  <a:schemeClr val="dk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40% Europe, 40% Middle East and Africa, 20% ROW</a:t>
            </a:r>
            <a:endParaRPr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7" name="Google Shape;496;p5">
            <a:extLst>
              <a:ext uri="{FF2B5EF4-FFF2-40B4-BE49-F238E27FC236}">
                <a16:creationId xmlns:a16="http://schemas.microsoft.com/office/drawing/2014/main" id="{17DBB386-3077-4F95-96A2-A31967E78C55}"/>
              </a:ext>
            </a:extLst>
          </p:cNvPr>
          <p:cNvSpPr txBox="1"/>
          <p:nvPr/>
        </p:nvSpPr>
        <p:spPr>
          <a:xfrm>
            <a:off x="550862" y="1744831"/>
            <a:ext cx="11090275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2"/>
                </a:solidFill>
                <a:latin typeface="Calibri" panose="020F0502020204030204" pitchFamily="34" charset="0"/>
                <a:ea typeface="Franklin Gothic"/>
                <a:cs typeface="Calibri" panose="020F0502020204030204" pitchFamily="34" charset="0"/>
                <a:sym typeface="Franklin Gothic"/>
              </a:rPr>
              <a:t>Geographic presence</a:t>
            </a:r>
            <a:endParaRPr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2FA559-3608-4E3C-83F5-F44F6C690983}"/>
              </a:ext>
            </a:extLst>
          </p:cNvPr>
          <p:cNvGrpSpPr/>
          <p:nvPr/>
        </p:nvGrpSpPr>
        <p:grpSpPr>
          <a:xfrm>
            <a:off x="649006" y="2169440"/>
            <a:ext cx="5048409" cy="2510049"/>
            <a:chOff x="649006" y="2014692"/>
            <a:chExt cx="7718247" cy="3470317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CC59DBA2-30BC-4801-B98D-FCBE93B0B54C}"/>
                </a:ext>
              </a:extLst>
            </p:cNvPr>
            <p:cNvGrpSpPr/>
            <p:nvPr/>
          </p:nvGrpSpPr>
          <p:grpSpPr>
            <a:xfrm>
              <a:off x="649006" y="2014692"/>
              <a:ext cx="7718247" cy="3470317"/>
              <a:chOff x="1922251" y="1859791"/>
              <a:chExt cx="8334982" cy="4066349"/>
            </a:xfrm>
            <a:solidFill>
              <a:schemeClr val="tx2">
                <a:lumMod val="90000"/>
              </a:schemeClr>
            </a:solidFill>
          </p:grpSpPr>
          <p:sp>
            <p:nvSpPr>
              <p:cNvPr id="85" name="Freeform 403">
                <a:extLst>
                  <a:ext uri="{FF2B5EF4-FFF2-40B4-BE49-F238E27FC236}">
                    <a16:creationId xmlns:a16="http://schemas.microsoft.com/office/drawing/2014/main" id="{72D4DA57-B18D-4468-BE39-9BBC43CA24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31915" y="4779342"/>
                <a:ext cx="952478" cy="711969"/>
              </a:xfrm>
              <a:custGeom>
                <a:avLst/>
                <a:gdLst>
                  <a:gd name="T0" fmla="*/ 96 w 204"/>
                  <a:gd name="T1" fmla="*/ 3 h 152"/>
                  <a:gd name="T2" fmla="*/ 97 w 204"/>
                  <a:gd name="T3" fmla="*/ 7 h 152"/>
                  <a:gd name="T4" fmla="*/ 86 w 204"/>
                  <a:gd name="T5" fmla="*/ 13 h 152"/>
                  <a:gd name="T6" fmla="*/ 76 w 204"/>
                  <a:gd name="T7" fmla="*/ 24 h 152"/>
                  <a:gd name="T8" fmla="*/ 71 w 204"/>
                  <a:gd name="T9" fmla="*/ 15 h 152"/>
                  <a:gd name="T10" fmla="*/ 65 w 204"/>
                  <a:gd name="T11" fmla="*/ 19 h 152"/>
                  <a:gd name="T12" fmla="*/ 62 w 204"/>
                  <a:gd name="T13" fmla="*/ 22 h 152"/>
                  <a:gd name="T14" fmla="*/ 59 w 204"/>
                  <a:gd name="T15" fmla="*/ 26 h 152"/>
                  <a:gd name="T16" fmla="*/ 55 w 204"/>
                  <a:gd name="T17" fmla="*/ 33 h 152"/>
                  <a:gd name="T18" fmla="*/ 51 w 204"/>
                  <a:gd name="T19" fmla="*/ 30 h 152"/>
                  <a:gd name="T20" fmla="*/ 47 w 204"/>
                  <a:gd name="T21" fmla="*/ 38 h 152"/>
                  <a:gd name="T22" fmla="*/ 24 w 204"/>
                  <a:gd name="T23" fmla="*/ 50 h 152"/>
                  <a:gd name="T24" fmla="*/ 7 w 204"/>
                  <a:gd name="T25" fmla="*/ 60 h 152"/>
                  <a:gd name="T26" fmla="*/ 3 w 204"/>
                  <a:gd name="T27" fmla="*/ 68 h 152"/>
                  <a:gd name="T28" fmla="*/ 4 w 204"/>
                  <a:gd name="T29" fmla="*/ 82 h 152"/>
                  <a:gd name="T30" fmla="*/ 7 w 204"/>
                  <a:gd name="T31" fmla="*/ 91 h 152"/>
                  <a:gd name="T32" fmla="*/ 13 w 204"/>
                  <a:gd name="T33" fmla="*/ 106 h 152"/>
                  <a:gd name="T34" fmla="*/ 11 w 204"/>
                  <a:gd name="T35" fmla="*/ 121 h 152"/>
                  <a:gd name="T36" fmla="*/ 30 w 204"/>
                  <a:gd name="T37" fmla="*/ 125 h 152"/>
                  <a:gd name="T38" fmla="*/ 54 w 204"/>
                  <a:gd name="T39" fmla="*/ 121 h 152"/>
                  <a:gd name="T40" fmla="*/ 73 w 204"/>
                  <a:gd name="T41" fmla="*/ 112 h 152"/>
                  <a:gd name="T42" fmla="*/ 96 w 204"/>
                  <a:gd name="T43" fmla="*/ 111 h 152"/>
                  <a:gd name="T44" fmla="*/ 111 w 204"/>
                  <a:gd name="T45" fmla="*/ 121 h 152"/>
                  <a:gd name="T46" fmla="*/ 116 w 204"/>
                  <a:gd name="T47" fmla="*/ 125 h 152"/>
                  <a:gd name="T48" fmla="*/ 125 w 204"/>
                  <a:gd name="T49" fmla="*/ 120 h 152"/>
                  <a:gd name="T50" fmla="*/ 122 w 204"/>
                  <a:gd name="T51" fmla="*/ 129 h 152"/>
                  <a:gd name="T52" fmla="*/ 131 w 204"/>
                  <a:gd name="T53" fmla="*/ 132 h 152"/>
                  <a:gd name="T54" fmla="*/ 145 w 204"/>
                  <a:gd name="T55" fmla="*/ 147 h 152"/>
                  <a:gd name="T56" fmla="*/ 161 w 204"/>
                  <a:gd name="T57" fmla="*/ 145 h 152"/>
                  <a:gd name="T58" fmla="*/ 165 w 204"/>
                  <a:gd name="T59" fmla="*/ 149 h 152"/>
                  <a:gd name="T60" fmla="*/ 174 w 204"/>
                  <a:gd name="T61" fmla="*/ 145 h 152"/>
                  <a:gd name="T62" fmla="*/ 194 w 204"/>
                  <a:gd name="T63" fmla="*/ 118 h 152"/>
                  <a:gd name="T64" fmla="*/ 200 w 204"/>
                  <a:gd name="T65" fmla="*/ 108 h 152"/>
                  <a:gd name="T66" fmla="*/ 202 w 204"/>
                  <a:gd name="T67" fmla="*/ 96 h 152"/>
                  <a:gd name="T68" fmla="*/ 201 w 204"/>
                  <a:gd name="T69" fmla="*/ 83 h 152"/>
                  <a:gd name="T70" fmla="*/ 196 w 204"/>
                  <a:gd name="T71" fmla="*/ 70 h 152"/>
                  <a:gd name="T72" fmla="*/ 184 w 204"/>
                  <a:gd name="T73" fmla="*/ 59 h 152"/>
                  <a:gd name="T74" fmla="*/ 180 w 204"/>
                  <a:gd name="T75" fmla="*/ 50 h 152"/>
                  <a:gd name="T76" fmla="*/ 166 w 204"/>
                  <a:gd name="T77" fmla="*/ 36 h 152"/>
                  <a:gd name="T78" fmla="*/ 161 w 204"/>
                  <a:gd name="T79" fmla="*/ 20 h 152"/>
                  <a:gd name="T80" fmla="*/ 152 w 204"/>
                  <a:gd name="T81" fmla="*/ 8 h 152"/>
                  <a:gd name="T82" fmla="*/ 145 w 204"/>
                  <a:gd name="T83" fmla="*/ 6 h 152"/>
                  <a:gd name="T84" fmla="*/ 143 w 204"/>
                  <a:gd name="T85" fmla="*/ 16 h 152"/>
                  <a:gd name="T86" fmla="*/ 130 w 204"/>
                  <a:gd name="T87" fmla="*/ 31 h 152"/>
                  <a:gd name="T88" fmla="*/ 115 w 204"/>
                  <a:gd name="T89" fmla="*/ 17 h 152"/>
                  <a:gd name="T90" fmla="*/ 118 w 204"/>
                  <a:gd name="T91" fmla="*/ 11 h 152"/>
                  <a:gd name="T92" fmla="*/ 117 w 204"/>
                  <a:gd name="T93" fmla="*/ 8 h 152"/>
                  <a:gd name="T94" fmla="*/ 109 w 204"/>
                  <a:gd name="T95" fmla="*/ 7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4" h="152">
                    <a:moveTo>
                      <a:pt x="101" y="4"/>
                    </a:moveTo>
                    <a:cubicBezTo>
                      <a:pt x="99" y="4"/>
                      <a:pt x="98" y="2"/>
                      <a:pt x="96" y="2"/>
                    </a:cubicBezTo>
                    <a:cubicBezTo>
                      <a:pt x="95" y="1"/>
                      <a:pt x="95" y="2"/>
                      <a:pt x="96" y="3"/>
                    </a:cubicBezTo>
                    <a:cubicBezTo>
                      <a:pt x="96" y="4"/>
                      <a:pt x="98" y="3"/>
                      <a:pt x="98" y="3"/>
                    </a:cubicBezTo>
                    <a:cubicBezTo>
                      <a:pt x="99" y="4"/>
                      <a:pt x="98" y="6"/>
                      <a:pt x="99" y="6"/>
                    </a:cubicBezTo>
                    <a:cubicBezTo>
                      <a:pt x="99" y="7"/>
                      <a:pt x="98" y="7"/>
                      <a:pt x="97" y="7"/>
                    </a:cubicBezTo>
                    <a:cubicBezTo>
                      <a:pt x="96" y="8"/>
                      <a:pt x="95" y="8"/>
                      <a:pt x="94" y="8"/>
                    </a:cubicBezTo>
                    <a:cubicBezTo>
                      <a:pt x="92" y="7"/>
                      <a:pt x="92" y="8"/>
                      <a:pt x="90" y="8"/>
                    </a:cubicBezTo>
                    <a:cubicBezTo>
                      <a:pt x="87" y="9"/>
                      <a:pt x="88" y="12"/>
                      <a:pt x="86" y="13"/>
                    </a:cubicBezTo>
                    <a:cubicBezTo>
                      <a:pt x="84" y="15"/>
                      <a:pt x="83" y="18"/>
                      <a:pt x="84" y="20"/>
                    </a:cubicBezTo>
                    <a:cubicBezTo>
                      <a:pt x="86" y="23"/>
                      <a:pt x="81" y="21"/>
                      <a:pt x="80" y="21"/>
                    </a:cubicBezTo>
                    <a:cubicBezTo>
                      <a:pt x="79" y="21"/>
                      <a:pt x="76" y="24"/>
                      <a:pt x="76" y="24"/>
                    </a:cubicBezTo>
                    <a:cubicBezTo>
                      <a:pt x="76" y="24"/>
                      <a:pt x="75" y="19"/>
                      <a:pt x="74" y="18"/>
                    </a:cubicBezTo>
                    <a:cubicBezTo>
                      <a:pt x="74" y="17"/>
                      <a:pt x="73" y="17"/>
                      <a:pt x="72" y="17"/>
                    </a:cubicBezTo>
                    <a:cubicBezTo>
                      <a:pt x="71" y="16"/>
                      <a:pt x="71" y="16"/>
                      <a:pt x="71" y="15"/>
                    </a:cubicBezTo>
                    <a:cubicBezTo>
                      <a:pt x="70" y="14"/>
                      <a:pt x="70" y="16"/>
                      <a:pt x="70" y="17"/>
                    </a:cubicBezTo>
                    <a:cubicBezTo>
                      <a:pt x="69" y="17"/>
                      <a:pt x="68" y="17"/>
                      <a:pt x="68" y="16"/>
                    </a:cubicBezTo>
                    <a:cubicBezTo>
                      <a:pt x="66" y="16"/>
                      <a:pt x="67" y="20"/>
                      <a:pt x="65" y="19"/>
                    </a:cubicBezTo>
                    <a:cubicBezTo>
                      <a:pt x="65" y="19"/>
                      <a:pt x="64" y="18"/>
                      <a:pt x="64" y="18"/>
                    </a:cubicBezTo>
                    <a:cubicBezTo>
                      <a:pt x="63" y="19"/>
                      <a:pt x="63" y="19"/>
                      <a:pt x="63" y="19"/>
                    </a:cubicBezTo>
                    <a:cubicBezTo>
                      <a:pt x="60" y="18"/>
                      <a:pt x="62" y="22"/>
                      <a:pt x="62" y="22"/>
                    </a:cubicBezTo>
                    <a:cubicBezTo>
                      <a:pt x="62" y="22"/>
                      <a:pt x="60" y="22"/>
                      <a:pt x="60" y="22"/>
                    </a:cubicBezTo>
                    <a:cubicBezTo>
                      <a:pt x="60" y="23"/>
                      <a:pt x="61" y="23"/>
                      <a:pt x="61" y="23"/>
                    </a:cubicBezTo>
                    <a:cubicBezTo>
                      <a:pt x="60" y="25"/>
                      <a:pt x="59" y="23"/>
                      <a:pt x="59" y="26"/>
                    </a:cubicBezTo>
                    <a:cubicBezTo>
                      <a:pt x="59" y="27"/>
                      <a:pt x="60" y="27"/>
                      <a:pt x="60" y="28"/>
                    </a:cubicBezTo>
                    <a:cubicBezTo>
                      <a:pt x="60" y="30"/>
                      <a:pt x="53" y="26"/>
                      <a:pt x="53" y="29"/>
                    </a:cubicBezTo>
                    <a:cubicBezTo>
                      <a:pt x="53" y="30"/>
                      <a:pt x="57" y="32"/>
                      <a:pt x="55" y="33"/>
                    </a:cubicBezTo>
                    <a:cubicBezTo>
                      <a:pt x="54" y="33"/>
                      <a:pt x="54" y="32"/>
                      <a:pt x="54" y="33"/>
                    </a:cubicBezTo>
                    <a:cubicBezTo>
                      <a:pt x="53" y="34"/>
                      <a:pt x="53" y="34"/>
                      <a:pt x="52" y="33"/>
                    </a:cubicBezTo>
                    <a:cubicBezTo>
                      <a:pt x="51" y="33"/>
                      <a:pt x="52" y="31"/>
                      <a:pt x="51" y="30"/>
                    </a:cubicBezTo>
                    <a:cubicBezTo>
                      <a:pt x="50" y="28"/>
                      <a:pt x="48" y="32"/>
                      <a:pt x="47" y="33"/>
                    </a:cubicBezTo>
                    <a:cubicBezTo>
                      <a:pt x="47" y="34"/>
                      <a:pt x="46" y="35"/>
                      <a:pt x="46" y="36"/>
                    </a:cubicBezTo>
                    <a:cubicBezTo>
                      <a:pt x="46" y="36"/>
                      <a:pt x="47" y="37"/>
                      <a:pt x="47" y="38"/>
                    </a:cubicBezTo>
                    <a:cubicBezTo>
                      <a:pt x="47" y="38"/>
                      <a:pt x="45" y="40"/>
                      <a:pt x="44" y="41"/>
                    </a:cubicBezTo>
                    <a:cubicBezTo>
                      <a:pt x="41" y="44"/>
                      <a:pt x="38" y="46"/>
                      <a:pt x="34" y="47"/>
                    </a:cubicBezTo>
                    <a:cubicBezTo>
                      <a:pt x="31" y="47"/>
                      <a:pt x="28" y="49"/>
                      <a:pt x="24" y="50"/>
                    </a:cubicBezTo>
                    <a:cubicBezTo>
                      <a:pt x="21" y="51"/>
                      <a:pt x="18" y="51"/>
                      <a:pt x="15" y="53"/>
                    </a:cubicBezTo>
                    <a:cubicBezTo>
                      <a:pt x="13" y="55"/>
                      <a:pt x="12" y="55"/>
                      <a:pt x="10" y="56"/>
                    </a:cubicBezTo>
                    <a:cubicBezTo>
                      <a:pt x="9" y="57"/>
                      <a:pt x="7" y="60"/>
                      <a:pt x="7" y="60"/>
                    </a:cubicBezTo>
                    <a:cubicBezTo>
                      <a:pt x="6" y="60"/>
                      <a:pt x="7" y="57"/>
                      <a:pt x="7" y="56"/>
                    </a:cubicBezTo>
                    <a:cubicBezTo>
                      <a:pt x="5" y="56"/>
                      <a:pt x="4" y="61"/>
                      <a:pt x="4" y="61"/>
                    </a:cubicBezTo>
                    <a:cubicBezTo>
                      <a:pt x="5" y="64"/>
                      <a:pt x="3" y="65"/>
                      <a:pt x="3" y="68"/>
                    </a:cubicBezTo>
                    <a:cubicBezTo>
                      <a:pt x="3" y="69"/>
                      <a:pt x="8" y="80"/>
                      <a:pt x="6" y="81"/>
                    </a:cubicBezTo>
                    <a:cubicBezTo>
                      <a:pt x="6" y="81"/>
                      <a:pt x="3" y="77"/>
                      <a:pt x="3" y="77"/>
                    </a:cubicBezTo>
                    <a:cubicBezTo>
                      <a:pt x="3" y="78"/>
                      <a:pt x="6" y="81"/>
                      <a:pt x="4" y="82"/>
                    </a:cubicBezTo>
                    <a:cubicBezTo>
                      <a:pt x="2" y="82"/>
                      <a:pt x="2" y="77"/>
                      <a:pt x="0" y="77"/>
                    </a:cubicBezTo>
                    <a:cubicBezTo>
                      <a:pt x="0" y="77"/>
                      <a:pt x="6" y="85"/>
                      <a:pt x="6" y="86"/>
                    </a:cubicBezTo>
                    <a:cubicBezTo>
                      <a:pt x="7" y="87"/>
                      <a:pt x="6" y="89"/>
                      <a:pt x="7" y="91"/>
                    </a:cubicBezTo>
                    <a:cubicBezTo>
                      <a:pt x="8" y="93"/>
                      <a:pt x="9" y="94"/>
                      <a:pt x="10" y="96"/>
                    </a:cubicBezTo>
                    <a:cubicBezTo>
                      <a:pt x="11" y="97"/>
                      <a:pt x="11" y="100"/>
                      <a:pt x="11" y="101"/>
                    </a:cubicBezTo>
                    <a:cubicBezTo>
                      <a:pt x="11" y="103"/>
                      <a:pt x="12" y="105"/>
                      <a:pt x="13" y="106"/>
                    </a:cubicBezTo>
                    <a:cubicBezTo>
                      <a:pt x="14" y="109"/>
                      <a:pt x="14" y="110"/>
                      <a:pt x="14" y="113"/>
                    </a:cubicBezTo>
                    <a:cubicBezTo>
                      <a:pt x="14" y="114"/>
                      <a:pt x="14" y="119"/>
                      <a:pt x="14" y="119"/>
                    </a:cubicBezTo>
                    <a:cubicBezTo>
                      <a:pt x="13" y="120"/>
                      <a:pt x="12" y="120"/>
                      <a:pt x="11" y="121"/>
                    </a:cubicBezTo>
                    <a:cubicBezTo>
                      <a:pt x="10" y="124"/>
                      <a:pt x="12" y="124"/>
                      <a:pt x="13" y="125"/>
                    </a:cubicBezTo>
                    <a:cubicBezTo>
                      <a:pt x="17" y="127"/>
                      <a:pt x="20" y="129"/>
                      <a:pt x="25" y="128"/>
                    </a:cubicBezTo>
                    <a:cubicBezTo>
                      <a:pt x="27" y="127"/>
                      <a:pt x="29" y="126"/>
                      <a:pt x="30" y="125"/>
                    </a:cubicBezTo>
                    <a:cubicBezTo>
                      <a:pt x="33" y="124"/>
                      <a:pt x="32" y="125"/>
                      <a:pt x="33" y="123"/>
                    </a:cubicBezTo>
                    <a:cubicBezTo>
                      <a:pt x="35" y="121"/>
                      <a:pt x="42" y="121"/>
                      <a:pt x="44" y="122"/>
                    </a:cubicBezTo>
                    <a:cubicBezTo>
                      <a:pt x="47" y="122"/>
                      <a:pt x="52" y="124"/>
                      <a:pt x="54" y="121"/>
                    </a:cubicBezTo>
                    <a:cubicBezTo>
                      <a:pt x="55" y="120"/>
                      <a:pt x="55" y="118"/>
                      <a:pt x="57" y="117"/>
                    </a:cubicBezTo>
                    <a:cubicBezTo>
                      <a:pt x="59" y="116"/>
                      <a:pt x="61" y="115"/>
                      <a:pt x="63" y="114"/>
                    </a:cubicBezTo>
                    <a:cubicBezTo>
                      <a:pt x="66" y="112"/>
                      <a:pt x="70" y="114"/>
                      <a:pt x="73" y="112"/>
                    </a:cubicBezTo>
                    <a:cubicBezTo>
                      <a:pt x="78" y="110"/>
                      <a:pt x="82" y="110"/>
                      <a:pt x="88" y="109"/>
                    </a:cubicBezTo>
                    <a:cubicBezTo>
                      <a:pt x="89" y="109"/>
                      <a:pt x="90" y="108"/>
                      <a:pt x="92" y="108"/>
                    </a:cubicBezTo>
                    <a:cubicBezTo>
                      <a:pt x="93" y="109"/>
                      <a:pt x="95" y="110"/>
                      <a:pt x="96" y="111"/>
                    </a:cubicBezTo>
                    <a:cubicBezTo>
                      <a:pt x="97" y="111"/>
                      <a:pt x="107" y="113"/>
                      <a:pt x="107" y="114"/>
                    </a:cubicBezTo>
                    <a:cubicBezTo>
                      <a:pt x="106" y="115"/>
                      <a:pt x="105" y="118"/>
                      <a:pt x="107" y="117"/>
                    </a:cubicBezTo>
                    <a:cubicBezTo>
                      <a:pt x="108" y="117"/>
                      <a:pt x="110" y="120"/>
                      <a:pt x="111" y="121"/>
                    </a:cubicBezTo>
                    <a:cubicBezTo>
                      <a:pt x="112" y="122"/>
                      <a:pt x="112" y="123"/>
                      <a:pt x="112" y="125"/>
                    </a:cubicBezTo>
                    <a:cubicBezTo>
                      <a:pt x="113" y="126"/>
                      <a:pt x="115" y="128"/>
                      <a:pt x="115" y="128"/>
                    </a:cubicBezTo>
                    <a:cubicBezTo>
                      <a:pt x="115" y="127"/>
                      <a:pt x="114" y="126"/>
                      <a:pt x="116" y="125"/>
                    </a:cubicBezTo>
                    <a:cubicBezTo>
                      <a:pt x="117" y="124"/>
                      <a:pt x="118" y="123"/>
                      <a:pt x="120" y="122"/>
                    </a:cubicBezTo>
                    <a:cubicBezTo>
                      <a:pt x="121" y="121"/>
                      <a:pt x="126" y="116"/>
                      <a:pt x="125" y="115"/>
                    </a:cubicBezTo>
                    <a:cubicBezTo>
                      <a:pt x="126" y="117"/>
                      <a:pt x="125" y="118"/>
                      <a:pt x="125" y="120"/>
                    </a:cubicBezTo>
                    <a:cubicBezTo>
                      <a:pt x="126" y="121"/>
                      <a:pt x="124" y="122"/>
                      <a:pt x="124" y="122"/>
                    </a:cubicBezTo>
                    <a:cubicBezTo>
                      <a:pt x="123" y="124"/>
                      <a:pt x="123" y="125"/>
                      <a:pt x="123" y="126"/>
                    </a:cubicBezTo>
                    <a:cubicBezTo>
                      <a:pt x="123" y="128"/>
                      <a:pt x="119" y="129"/>
                      <a:pt x="122" y="129"/>
                    </a:cubicBezTo>
                    <a:cubicBezTo>
                      <a:pt x="126" y="129"/>
                      <a:pt x="124" y="125"/>
                      <a:pt x="125" y="123"/>
                    </a:cubicBezTo>
                    <a:cubicBezTo>
                      <a:pt x="125" y="123"/>
                      <a:pt x="129" y="127"/>
                      <a:pt x="128" y="129"/>
                    </a:cubicBezTo>
                    <a:cubicBezTo>
                      <a:pt x="125" y="133"/>
                      <a:pt x="129" y="130"/>
                      <a:pt x="131" y="132"/>
                    </a:cubicBezTo>
                    <a:cubicBezTo>
                      <a:pt x="134" y="135"/>
                      <a:pt x="134" y="136"/>
                      <a:pt x="134" y="139"/>
                    </a:cubicBezTo>
                    <a:cubicBezTo>
                      <a:pt x="133" y="142"/>
                      <a:pt x="137" y="145"/>
                      <a:pt x="139" y="145"/>
                    </a:cubicBezTo>
                    <a:cubicBezTo>
                      <a:pt x="141" y="146"/>
                      <a:pt x="143" y="147"/>
                      <a:pt x="145" y="147"/>
                    </a:cubicBezTo>
                    <a:cubicBezTo>
                      <a:pt x="147" y="147"/>
                      <a:pt x="151" y="152"/>
                      <a:pt x="153" y="151"/>
                    </a:cubicBezTo>
                    <a:cubicBezTo>
                      <a:pt x="155" y="150"/>
                      <a:pt x="157" y="149"/>
                      <a:pt x="158" y="147"/>
                    </a:cubicBezTo>
                    <a:cubicBezTo>
                      <a:pt x="158" y="147"/>
                      <a:pt x="160" y="144"/>
                      <a:pt x="161" y="145"/>
                    </a:cubicBezTo>
                    <a:cubicBezTo>
                      <a:pt x="161" y="146"/>
                      <a:pt x="159" y="147"/>
                      <a:pt x="160" y="148"/>
                    </a:cubicBezTo>
                    <a:cubicBezTo>
                      <a:pt x="161" y="149"/>
                      <a:pt x="161" y="146"/>
                      <a:pt x="162" y="146"/>
                    </a:cubicBezTo>
                    <a:cubicBezTo>
                      <a:pt x="162" y="146"/>
                      <a:pt x="164" y="149"/>
                      <a:pt x="165" y="149"/>
                    </a:cubicBezTo>
                    <a:cubicBezTo>
                      <a:pt x="165" y="150"/>
                      <a:pt x="167" y="152"/>
                      <a:pt x="168" y="152"/>
                    </a:cubicBezTo>
                    <a:cubicBezTo>
                      <a:pt x="167" y="152"/>
                      <a:pt x="170" y="149"/>
                      <a:pt x="170" y="149"/>
                    </a:cubicBezTo>
                    <a:cubicBezTo>
                      <a:pt x="172" y="148"/>
                      <a:pt x="173" y="146"/>
                      <a:pt x="174" y="145"/>
                    </a:cubicBezTo>
                    <a:cubicBezTo>
                      <a:pt x="177" y="144"/>
                      <a:pt x="185" y="146"/>
                      <a:pt x="185" y="142"/>
                    </a:cubicBezTo>
                    <a:cubicBezTo>
                      <a:pt x="186" y="137"/>
                      <a:pt x="187" y="134"/>
                      <a:pt x="188" y="130"/>
                    </a:cubicBezTo>
                    <a:cubicBezTo>
                      <a:pt x="190" y="126"/>
                      <a:pt x="191" y="122"/>
                      <a:pt x="194" y="118"/>
                    </a:cubicBezTo>
                    <a:cubicBezTo>
                      <a:pt x="195" y="117"/>
                      <a:pt x="197" y="116"/>
                      <a:pt x="198" y="114"/>
                    </a:cubicBezTo>
                    <a:cubicBezTo>
                      <a:pt x="198" y="113"/>
                      <a:pt x="198" y="113"/>
                      <a:pt x="198" y="112"/>
                    </a:cubicBezTo>
                    <a:cubicBezTo>
                      <a:pt x="199" y="111"/>
                      <a:pt x="200" y="110"/>
                      <a:pt x="200" y="108"/>
                    </a:cubicBezTo>
                    <a:cubicBezTo>
                      <a:pt x="201" y="106"/>
                      <a:pt x="200" y="104"/>
                      <a:pt x="201" y="102"/>
                    </a:cubicBezTo>
                    <a:cubicBezTo>
                      <a:pt x="201" y="101"/>
                      <a:pt x="202" y="100"/>
                      <a:pt x="202" y="99"/>
                    </a:cubicBezTo>
                    <a:cubicBezTo>
                      <a:pt x="203" y="98"/>
                      <a:pt x="201" y="97"/>
                      <a:pt x="202" y="96"/>
                    </a:cubicBezTo>
                    <a:cubicBezTo>
                      <a:pt x="203" y="95"/>
                      <a:pt x="204" y="92"/>
                      <a:pt x="203" y="91"/>
                    </a:cubicBezTo>
                    <a:cubicBezTo>
                      <a:pt x="203" y="89"/>
                      <a:pt x="202" y="88"/>
                      <a:pt x="202" y="87"/>
                    </a:cubicBezTo>
                    <a:cubicBezTo>
                      <a:pt x="201" y="86"/>
                      <a:pt x="201" y="84"/>
                      <a:pt x="201" y="83"/>
                    </a:cubicBezTo>
                    <a:cubicBezTo>
                      <a:pt x="200" y="79"/>
                      <a:pt x="203" y="77"/>
                      <a:pt x="202" y="73"/>
                    </a:cubicBezTo>
                    <a:cubicBezTo>
                      <a:pt x="202" y="74"/>
                      <a:pt x="201" y="76"/>
                      <a:pt x="200" y="76"/>
                    </a:cubicBezTo>
                    <a:cubicBezTo>
                      <a:pt x="198" y="76"/>
                      <a:pt x="197" y="72"/>
                      <a:pt x="196" y="70"/>
                    </a:cubicBezTo>
                    <a:cubicBezTo>
                      <a:pt x="194" y="67"/>
                      <a:pt x="190" y="67"/>
                      <a:pt x="190" y="62"/>
                    </a:cubicBezTo>
                    <a:cubicBezTo>
                      <a:pt x="189" y="60"/>
                      <a:pt x="188" y="60"/>
                      <a:pt x="187" y="59"/>
                    </a:cubicBezTo>
                    <a:cubicBezTo>
                      <a:pt x="185" y="58"/>
                      <a:pt x="185" y="61"/>
                      <a:pt x="184" y="59"/>
                    </a:cubicBezTo>
                    <a:cubicBezTo>
                      <a:pt x="184" y="56"/>
                      <a:pt x="183" y="55"/>
                      <a:pt x="181" y="53"/>
                    </a:cubicBezTo>
                    <a:cubicBezTo>
                      <a:pt x="181" y="53"/>
                      <a:pt x="180" y="52"/>
                      <a:pt x="180" y="51"/>
                    </a:cubicBezTo>
                    <a:cubicBezTo>
                      <a:pt x="179" y="51"/>
                      <a:pt x="180" y="49"/>
                      <a:pt x="180" y="50"/>
                    </a:cubicBezTo>
                    <a:cubicBezTo>
                      <a:pt x="178" y="48"/>
                      <a:pt x="176" y="47"/>
                      <a:pt x="174" y="46"/>
                    </a:cubicBezTo>
                    <a:cubicBezTo>
                      <a:pt x="172" y="44"/>
                      <a:pt x="169" y="45"/>
                      <a:pt x="168" y="43"/>
                    </a:cubicBezTo>
                    <a:cubicBezTo>
                      <a:pt x="166" y="41"/>
                      <a:pt x="167" y="37"/>
                      <a:pt x="166" y="36"/>
                    </a:cubicBezTo>
                    <a:cubicBezTo>
                      <a:pt x="166" y="34"/>
                      <a:pt x="166" y="32"/>
                      <a:pt x="165" y="31"/>
                    </a:cubicBezTo>
                    <a:cubicBezTo>
                      <a:pt x="164" y="30"/>
                      <a:pt x="163" y="30"/>
                      <a:pt x="163" y="28"/>
                    </a:cubicBezTo>
                    <a:cubicBezTo>
                      <a:pt x="163" y="26"/>
                      <a:pt x="163" y="23"/>
                      <a:pt x="161" y="20"/>
                    </a:cubicBezTo>
                    <a:cubicBezTo>
                      <a:pt x="160" y="20"/>
                      <a:pt x="158" y="17"/>
                      <a:pt x="158" y="18"/>
                    </a:cubicBezTo>
                    <a:cubicBezTo>
                      <a:pt x="156" y="18"/>
                      <a:pt x="156" y="19"/>
                      <a:pt x="155" y="17"/>
                    </a:cubicBezTo>
                    <a:cubicBezTo>
                      <a:pt x="153" y="15"/>
                      <a:pt x="154" y="11"/>
                      <a:pt x="152" y="8"/>
                    </a:cubicBezTo>
                    <a:cubicBezTo>
                      <a:pt x="152" y="7"/>
                      <a:pt x="148" y="0"/>
                      <a:pt x="148" y="0"/>
                    </a:cubicBezTo>
                    <a:cubicBezTo>
                      <a:pt x="147" y="0"/>
                      <a:pt x="147" y="2"/>
                      <a:pt x="147" y="3"/>
                    </a:cubicBezTo>
                    <a:cubicBezTo>
                      <a:pt x="147" y="4"/>
                      <a:pt x="146" y="5"/>
                      <a:pt x="145" y="6"/>
                    </a:cubicBezTo>
                    <a:cubicBezTo>
                      <a:pt x="145" y="6"/>
                      <a:pt x="143" y="8"/>
                      <a:pt x="144" y="9"/>
                    </a:cubicBezTo>
                    <a:cubicBezTo>
                      <a:pt x="144" y="9"/>
                      <a:pt x="146" y="9"/>
                      <a:pt x="145" y="10"/>
                    </a:cubicBezTo>
                    <a:cubicBezTo>
                      <a:pt x="144" y="10"/>
                      <a:pt x="143" y="15"/>
                      <a:pt x="143" y="16"/>
                    </a:cubicBezTo>
                    <a:cubicBezTo>
                      <a:pt x="144" y="18"/>
                      <a:pt x="144" y="20"/>
                      <a:pt x="144" y="22"/>
                    </a:cubicBezTo>
                    <a:cubicBezTo>
                      <a:pt x="143" y="26"/>
                      <a:pt x="143" y="36"/>
                      <a:pt x="137" y="36"/>
                    </a:cubicBezTo>
                    <a:cubicBezTo>
                      <a:pt x="133" y="36"/>
                      <a:pt x="133" y="32"/>
                      <a:pt x="130" y="31"/>
                    </a:cubicBezTo>
                    <a:cubicBezTo>
                      <a:pt x="128" y="30"/>
                      <a:pt x="126" y="30"/>
                      <a:pt x="124" y="28"/>
                    </a:cubicBezTo>
                    <a:cubicBezTo>
                      <a:pt x="123" y="27"/>
                      <a:pt x="112" y="21"/>
                      <a:pt x="113" y="20"/>
                    </a:cubicBezTo>
                    <a:cubicBezTo>
                      <a:pt x="113" y="19"/>
                      <a:pt x="114" y="18"/>
                      <a:pt x="115" y="17"/>
                    </a:cubicBezTo>
                    <a:cubicBezTo>
                      <a:pt x="115" y="16"/>
                      <a:pt x="117" y="16"/>
                      <a:pt x="117" y="15"/>
                    </a:cubicBezTo>
                    <a:cubicBezTo>
                      <a:pt x="117" y="15"/>
                      <a:pt x="116" y="14"/>
                      <a:pt x="116" y="13"/>
                    </a:cubicBezTo>
                    <a:cubicBezTo>
                      <a:pt x="117" y="12"/>
                      <a:pt x="117" y="12"/>
                      <a:pt x="118" y="11"/>
                    </a:cubicBezTo>
                    <a:cubicBezTo>
                      <a:pt x="118" y="10"/>
                      <a:pt x="120" y="9"/>
                      <a:pt x="121" y="8"/>
                    </a:cubicBezTo>
                    <a:cubicBezTo>
                      <a:pt x="121" y="7"/>
                      <a:pt x="119" y="5"/>
                      <a:pt x="118" y="6"/>
                    </a:cubicBezTo>
                    <a:cubicBezTo>
                      <a:pt x="118" y="6"/>
                      <a:pt x="117" y="8"/>
                      <a:pt x="117" y="8"/>
                    </a:cubicBezTo>
                    <a:cubicBezTo>
                      <a:pt x="116" y="7"/>
                      <a:pt x="116" y="7"/>
                      <a:pt x="115" y="6"/>
                    </a:cubicBezTo>
                    <a:cubicBezTo>
                      <a:pt x="115" y="5"/>
                      <a:pt x="113" y="7"/>
                      <a:pt x="112" y="7"/>
                    </a:cubicBezTo>
                    <a:cubicBezTo>
                      <a:pt x="111" y="8"/>
                      <a:pt x="110" y="7"/>
                      <a:pt x="109" y="7"/>
                    </a:cubicBezTo>
                    <a:cubicBezTo>
                      <a:pt x="107" y="6"/>
                      <a:pt x="104" y="5"/>
                      <a:pt x="101" y="4"/>
                    </a:cubicBezTo>
                    <a:cubicBezTo>
                      <a:pt x="99" y="4"/>
                      <a:pt x="103" y="5"/>
                      <a:pt x="101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0" name="Freeform 404">
                <a:extLst>
                  <a:ext uri="{FF2B5EF4-FFF2-40B4-BE49-F238E27FC236}">
                    <a16:creationId xmlns:a16="http://schemas.microsoft.com/office/drawing/2014/main" id="{E29F31A9-E243-4AB4-B1BF-F57DE882F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9865" y="2963581"/>
                <a:ext cx="186353" cy="281920"/>
              </a:xfrm>
              <a:custGeom>
                <a:avLst/>
                <a:gdLst>
                  <a:gd name="T0" fmla="*/ 7 w 40"/>
                  <a:gd name="T1" fmla="*/ 0 h 60"/>
                  <a:gd name="T2" fmla="*/ 4 w 40"/>
                  <a:gd name="T3" fmla="*/ 3 h 60"/>
                  <a:gd name="T4" fmla="*/ 2 w 40"/>
                  <a:gd name="T5" fmla="*/ 8 h 60"/>
                  <a:gd name="T6" fmla="*/ 5 w 40"/>
                  <a:gd name="T7" fmla="*/ 14 h 60"/>
                  <a:gd name="T8" fmla="*/ 3 w 40"/>
                  <a:gd name="T9" fmla="*/ 18 h 60"/>
                  <a:gd name="T10" fmla="*/ 3 w 40"/>
                  <a:gd name="T11" fmla="*/ 19 h 60"/>
                  <a:gd name="T12" fmla="*/ 2 w 40"/>
                  <a:gd name="T13" fmla="*/ 23 h 60"/>
                  <a:gd name="T14" fmla="*/ 5 w 40"/>
                  <a:gd name="T15" fmla="*/ 23 h 60"/>
                  <a:gd name="T16" fmla="*/ 7 w 40"/>
                  <a:gd name="T17" fmla="*/ 19 h 60"/>
                  <a:gd name="T18" fmla="*/ 7 w 40"/>
                  <a:gd name="T19" fmla="*/ 23 h 60"/>
                  <a:gd name="T20" fmla="*/ 11 w 40"/>
                  <a:gd name="T21" fmla="*/ 27 h 60"/>
                  <a:gd name="T22" fmla="*/ 14 w 40"/>
                  <a:gd name="T23" fmla="*/ 30 h 60"/>
                  <a:gd name="T24" fmla="*/ 16 w 40"/>
                  <a:gd name="T25" fmla="*/ 36 h 60"/>
                  <a:gd name="T26" fmla="*/ 8 w 40"/>
                  <a:gd name="T27" fmla="*/ 39 h 60"/>
                  <a:gd name="T28" fmla="*/ 9 w 40"/>
                  <a:gd name="T29" fmla="*/ 42 h 60"/>
                  <a:gd name="T30" fmla="*/ 5 w 40"/>
                  <a:gd name="T31" fmla="*/ 47 h 60"/>
                  <a:gd name="T32" fmla="*/ 9 w 40"/>
                  <a:gd name="T33" fmla="*/ 48 h 60"/>
                  <a:gd name="T34" fmla="*/ 18 w 40"/>
                  <a:gd name="T35" fmla="*/ 48 h 60"/>
                  <a:gd name="T36" fmla="*/ 10 w 40"/>
                  <a:gd name="T37" fmla="*/ 52 h 60"/>
                  <a:gd name="T38" fmla="*/ 7 w 40"/>
                  <a:gd name="T39" fmla="*/ 55 h 60"/>
                  <a:gd name="T40" fmla="*/ 3 w 40"/>
                  <a:gd name="T41" fmla="*/ 59 h 60"/>
                  <a:gd name="T42" fmla="*/ 5 w 40"/>
                  <a:gd name="T43" fmla="*/ 60 h 60"/>
                  <a:gd name="T44" fmla="*/ 12 w 40"/>
                  <a:gd name="T45" fmla="*/ 57 h 60"/>
                  <a:gd name="T46" fmla="*/ 19 w 40"/>
                  <a:gd name="T47" fmla="*/ 55 h 60"/>
                  <a:gd name="T48" fmla="*/ 27 w 40"/>
                  <a:gd name="T49" fmla="*/ 54 h 60"/>
                  <a:gd name="T50" fmla="*/ 38 w 40"/>
                  <a:gd name="T51" fmla="*/ 51 h 60"/>
                  <a:gd name="T52" fmla="*/ 38 w 40"/>
                  <a:gd name="T53" fmla="*/ 46 h 60"/>
                  <a:gd name="T54" fmla="*/ 32 w 40"/>
                  <a:gd name="T55" fmla="*/ 41 h 60"/>
                  <a:gd name="T56" fmla="*/ 31 w 40"/>
                  <a:gd name="T57" fmla="*/ 36 h 60"/>
                  <a:gd name="T58" fmla="*/ 30 w 40"/>
                  <a:gd name="T59" fmla="*/ 34 h 60"/>
                  <a:gd name="T60" fmla="*/ 23 w 40"/>
                  <a:gd name="T61" fmla="*/ 25 h 60"/>
                  <a:gd name="T62" fmla="*/ 12 w 40"/>
                  <a:gd name="T63" fmla="*/ 18 h 60"/>
                  <a:gd name="T64" fmla="*/ 14 w 40"/>
                  <a:gd name="T65" fmla="*/ 16 h 60"/>
                  <a:gd name="T66" fmla="*/ 21 w 40"/>
                  <a:gd name="T67" fmla="*/ 8 h 60"/>
                  <a:gd name="T68" fmla="*/ 9 w 40"/>
                  <a:gd name="T69" fmla="*/ 7 h 60"/>
                  <a:gd name="T70" fmla="*/ 9 w 40"/>
                  <a:gd name="T71" fmla="*/ 6 h 60"/>
                  <a:gd name="T72" fmla="*/ 15 w 40"/>
                  <a:gd name="T73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0" h="60">
                    <a:moveTo>
                      <a:pt x="15" y="0"/>
                    </a:moveTo>
                    <a:cubicBezTo>
                      <a:pt x="12" y="0"/>
                      <a:pt x="10" y="1"/>
                      <a:pt x="7" y="0"/>
                    </a:cubicBezTo>
                    <a:cubicBezTo>
                      <a:pt x="6" y="0"/>
                      <a:pt x="5" y="0"/>
                      <a:pt x="5" y="1"/>
                    </a:cubicBezTo>
                    <a:cubicBezTo>
                      <a:pt x="6" y="3"/>
                      <a:pt x="5" y="2"/>
                      <a:pt x="4" y="3"/>
                    </a:cubicBezTo>
                    <a:cubicBezTo>
                      <a:pt x="5" y="2"/>
                      <a:pt x="5" y="4"/>
                      <a:pt x="5" y="4"/>
                    </a:cubicBezTo>
                    <a:cubicBezTo>
                      <a:pt x="4" y="6"/>
                      <a:pt x="1" y="5"/>
                      <a:pt x="2" y="8"/>
                    </a:cubicBezTo>
                    <a:cubicBezTo>
                      <a:pt x="4" y="10"/>
                      <a:pt x="3" y="11"/>
                      <a:pt x="2" y="13"/>
                    </a:cubicBezTo>
                    <a:cubicBezTo>
                      <a:pt x="2" y="15"/>
                      <a:pt x="4" y="15"/>
                      <a:pt x="5" y="14"/>
                    </a:cubicBezTo>
                    <a:cubicBezTo>
                      <a:pt x="4" y="15"/>
                      <a:pt x="5" y="15"/>
                      <a:pt x="5" y="16"/>
                    </a:cubicBezTo>
                    <a:cubicBezTo>
                      <a:pt x="5" y="15"/>
                      <a:pt x="3" y="18"/>
                      <a:pt x="3" y="18"/>
                    </a:cubicBezTo>
                    <a:cubicBezTo>
                      <a:pt x="2" y="18"/>
                      <a:pt x="0" y="18"/>
                      <a:pt x="0" y="20"/>
                    </a:cubicBezTo>
                    <a:cubicBezTo>
                      <a:pt x="1" y="20"/>
                      <a:pt x="2" y="18"/>
                      <a:pt x="3" y="19"/>
                    </a:cubicBezTo>
                    <a:cubicBezTo>
                      <a:pt x="3" y="20"/>
                      <a:pt x="3" y="21"/>
                      <a:pt x="3" y="21"/>
                    </a:cubicBezTo>
                    <a:cubicBezTo>
                      <a:pt x="2" y="22"/>
                      <a:pt x="2" y="23"/>
                      <a:pt x="2" y="23"/>
                    </a:cubicBezTo>
                    <a:cubicBezTo>
                      <a:pt x="2" y="24"/>
                      <a:pt x="3" y="22"/>
                      <a:pt x="4" y="22"/>
                    </a:cubicBezTo>
                    <a:cubicBezTo>
                      <a:pt x="4" y="21"/>
                      <a:pt x="5" y="23"/>
                      <a:pt x="5" y="23"/>
                    </a:cubicBezTo>
                    <a:cubicBezTo>
                      <a:pt x="6" y="23"/>
                      <a:pt x="5" y="19"/>
                      <a:pt x="4" y="19"/>
                    </a:cubicBezTo>
                    <a:cubicBezTo>
                      <a:pt x="5" y="19"/>
                      <a:pt x="7" y="20"/>
                      <a:pt x="7" y="19"/>
                    </a:cubicBezTo>
                    <a:cubicBezTo>
                      <a:pt x="7" y="19"/>
                      <a:pt x="6" y="20"/>
                      <a:pt x="6" y="20"/>
                    </a:cubicBezTo>
                    <a:cubicBezTo>
                      <a:pt x="6" y="21"/>
                      <a:pt x="7" y="22"/>
                      <a:pt x="7" y="23"/>
                    </a:cubicBezTo>
                    <a:cubicBezTo>
                      <a:pt x="7" y="24"/>
                      <a:pt x="4" y="27"/>
                      <a:pt x="7" y="27"/>
                    </a:cubicBezTo>
                    <a:cubicBezTo>
                      <a:pt x="7" y="27"/>
                      <a:pt x="10" y="27"/>
                      <a:pt x="11" y="27"/>
                    </a:cubicBezTo>
                    <a:cubicBezTo>
                      <a:pt x="12" y="26"/>
                      <a:pt x="15" y="26"/>
                      <a:pt x="15" y="26"/>
                    </a:cubicBezTo>
                    <a:cubicBezTo>
                      <a:pt x="14" y="28"/>
                      <a:pt x="13" y="28"/>
                      <a:pt x="14" y="30"/>
                    </a:cubicBezTo>
                    <a:cubicBezTo>
                      <a:pt x="15" y="33"/>
                      <a:pt x="15" y="31"/>
                      <a:pt x="16" y="32"/>
                    </a:cubicBezTo>
                    <a:cubicBezTo>
                      <a:pt x="16" y="33"/>
                      <a:pt x="15" y="35"/>
                      <a:pt x="16" y="36"/>
                    </a:cubicBezTo>
                    <a:cubicBezTo>
                      <a:pt x="17" y="38"/>
                      <a:pt x="14" y="38"/>
                      <a:pt x="13" y="38"/>
                    </a:cubicBezTo>
                    <a:cubicBezTo>
                      <a:pt x="11" y="39"/>
                      <a:pt x="10" y="37"/>
                      <a:pt x="8" y="39"/>
                    </a:cubicBezTo>
                    <a:cubicBezTo>
                      <a:pt x="7" y="41"/>
                      <a:pt x="12" y="40"/>
                      <a:pt x="11" y="41"/>
                    </a:cubicBezTo>
                    <a:cubicBezTo>
                      <a:pt x="11" y="41"/>
                      <a:pt x="9" y="42"/>
                      <a:pt x="9" y="42"/>
                    </a:cubicBezTo>
                    <a:cubicBezTo>
                      <a:pt x="9" y="43"/>
                      <a:pt x="10" y="43"/>
                      <a:pt x="9" y="44"/>
                    </a:cubicBezTo>
                    <a:cubicBezTo>
                      <a:pt x="8" y="45"/>
                      <a:pt x="7" y="46"/>
                      <a:pt x="5" y="47"/>
                    </a:cubicBezTo>
                    <a:cubicBezTo>
                      <a:pt x="4" y="48"/>
                      <a:pt x="6" y="49"/>
                      <a:pt x="6" y="49"/>
                    </a:cubicBezTo>
                    <a:cubicBezTo>
                      <a:pt x="7" y="49"/>
                      <a:pt x="9" y="48"/>
                      <a:pt x="9" y="48"/>
                    </a:cubicBezTo>
                    <a:cubicBezTo>
                      <a:pt x="9" y="49"/>
                      <a:pt x="12" y="49"/>
                      <a:pt x="13" y="50"/>
                    </a:cubicBezTo>
                    <a:cubicBezTo>
                      <a:pt x="15" y="50"/>
                      <a:pt x="17" y="48"/>
                      <a:pt x="18" y="48"/>
                    </a:cubicBezTo>
                    <a:cubicBezTo>
                      <a:pt x="18" y="48"/>
                      <a:pt x="16" y="53"/>
                      <a:pt x="13" y="52"/>
                    </a:cubicBezTo>
                    <a:cubicBezTo>
                      <a:pt x="12" y="51"/>
                      <a:pt x="11" y="52"/>
                      <a:pt x="10" y="52"/>
                    </a:cubicBezTo>
                    <a:cubicBezTo>
                      <a:pt x="8" y="52"/>
                      <a:pt x="9" y="51"/>
                      <a:pt x="8" y="51"/>
                    </a:cubicBezTo>
                    <a:cubicBezTo>
                      <a:pt x="8" y="51"/>
                      <a:pt x="8" y="54"/>
                      <a:pt x="7" y="55"/>
                    </a:cubicBezTo>
                    <a:cubicBezTo>
                      <a:pt x="7" y="55"/>
                      <a:pt x="6" y="56"/>
                      <a:pt x="5" y="57"/>
                    </a:cubicBezTo>
                    <a:cubicBezTo>
                      <a:pt x="5" y="57"/>
                      <a:pt x="3" y="58"/>
                      <a:pt x="3" y="59"/>
                    </a:cubicBezTo>
                    <a:cubicBezTo>
                      <a:pt x="3" y="59"/>
                      <a:pt x="5" y="59"/>
                      <a:pt x="5" y="59"/>
                    </a:cubicBezTo>
                    <a:cubicBezTo>
                      <a:pt x="5" y="59"/>
                      <a:pt x="4" y="59"/>
                      <a:pt x="5" y="60"/>
                    </a:cubicBezTo>
                    <a:cubicBezTo>
                      <a:pt x="5" y="60"/>
                      <a:pt x="7" y="57"/>
                      <a:pt x="8" y="57"/>
                    </a:cubicBezTo>
                    <a:cubicBezTo>
                      <a:pt x="9" y="57"/>
                      <a:pt x="11" y="58"/>
                      <a:pt x="12" y="57"/>
                    </a:cubicBezTo>
                    <a:cubicBezTo>
                      <a:pt x="14" y="57"/>
                      <a:pt x="13" y="55"/>
                      <a:pt x="15" y="55"/>
                    </a:cubicBezTo>
                    <a:cubicBezTo>
                      <a:pt x="16" y="54"/>
                      <a:pt x="17" y="55"/>
                      <a:pt x="19" y="55"/>
                    </a:cubicBezTo>
                    <a:cubicBezTo>
                      <a:pt x="20" y="56"/>
                      <a:pt x="21" y="54"/>
                      <a:pt x="23" y="55"/>
                    </a:cubicBezTo>
                    <a:cubicBezTo>
                      <a:pt x="24" y="56"/>
                      <a:pt x="26" y="55"/>
                      <a:pt x="27" y="54"/>
                    </a:cubicBezTo>
                    <a:cubicBezTo>
                      <a:pt x="29" y="54"/>
                      <a:pt x="32" y="54"/>
                      <a:pt x="34" y="54"/>
                    </a:cubicBezTo>
                    <a:cubicBezTo>
                      <a:pt x="34" y="54"/>
                      <a:pt x="38" y="51"/>
                      <a:pt x="38" y="51"/>
                    </a:cubicBezTo>
                    <a:cubicBezTo>
                      <a:pt x="37" y="50"/>
                      <a:pt x="33" y="51"/>
                      <a:pt x="33" y="50"/>
                    </a:cubicBezTo>
                    <a:cubicBezTo>
                      <a:pt x="33" y="49"/>
                      <a:pt x="37" y="46"/>
                      <a:pt x="38" y="46"/>
                    </a:cubicBezTo>
                    <a:cubicBezTo>
                      <a:pt x="39" y="44"/>
                      <a:pt x="40" y="40"/>
                      <a:pt x="36" y="40"/>
                    </a:cubicBezTo>
                    <a:cubicBezTo>
                      <a:pt x="35" y="40"/>
                      <a:pt x="33" y="41"/>
                      <a:pt x="32" y="41"/>
                    </a:cubicBezTo>
                    <a:cubicBezTo>
                      <a:pt x="30" y="40"/>
                      <a:pt x="32" y="40"/>
                      <a:pt x="32" y="39"/>
                    </a:cubicBezTo>
                    <a:cubicBezTo>
                      <a:pt x="32" y="38"/>
                      <a:pt x="32" y="37"/>
                      <a:pt x="31" y="36"/>
                    </a:cubicBezTo>
                    <a:cubicBezTo>
                      <a:pt x="31" y="36"/>
                      <a:pt x="27" y="35"/>
                      <a:pt x="28" y="34"/>
                    </a:cubicBezTo>
                    <a:cubicBezTo>
                      <a:pt x="28" y="34"/>
                      <a:pt x="30" y="35"/>
                      <a:pt x="30" y="34"/>
                    </a:cubicBezTo>
                    <a:cubicBezTo>
                      <a:pt x="31" y="33"/>
                      <a:pt x="30" y="32"/>
                      <a:pt x="29" y="31"/>
                    </a:cubicBezTo>
                    <a:cubicBezTo>
                      <a:pt x="26" y="29"/>
                      <a:pt x="25" y="29"/>
                      <a:pt x="23" y="25"/>
                    </a:cubicBezTo>
                    <a:cubicBezTo>
                      <a:pt x="22" y="23"/>
                      <a:pt x="21" y="21"/>
                      <a:pt x="18" y="19"/>
                    </a:cubicBezTo>
                    <a:cubicBezTo>
                      <a:pt x="17" y="18"/>
                      <a:pt x="13" y="20"/>
                      <a:pt x="12" y="18"/>
                    </a:cubicBezTo>
                    <a:cubicBezTo>
                      <a:pt x="12" y="18"/>
                      <a:pt x="18" y="17"/>
                      <a:pt x="17" y="16"/>
                    </a:cubicBezTo>
                    <a:cubicBezTo>
                      <a:pt x="17" y="16"/>
                      <a:pt x="15" y="17"/>
                      <a:pt x="14" y="16"/>
                    </a:cubicBezTo>
                    <a:cubicBezTo>
                      <a:pt x="14" y="16"/>
                      <a:pt x="18" y="15"/>
                      <a:pt x="18" y="15"/>
                    </a:cubicBezTo>
                    <a:cubicBezTo>
                      <a:pt x="19" y="14"/>
                      <a:pt x="22" y="9"/>
                      <a:pt x="21" y="8"/>
                    </a:cubicBezTo>
                    <a:cubicBezTo>
                      <a:pt x="20" y="6"/>
                      <a:pt x="17" y="6"/>
                      <a:pt x="15" y="6"/>
                    </a:cubicBezTo>
                    <a:cubicBezTo>
                      <a:pt x="14" y="7"/>
                      <a:pt x="9" y="7"/>
                      <a:pt x="9" y="7"/>
                    </a:cubicBezTo>
                    <a:cubicBezTo>
                      <a:pt x="9" y="7"/>
                      <a:pt x="11" y="6"/>
                      <a:pt x="11" y="6"/>
                    </a:cubicBezTo>
                    <a:cubicBezTo>
                      <a:pt x="11" y="6"/>
                      <a:pt x="9" y="5"/>
                      <a:pt x="9" y="6"/>
                    </a:cubicBezTo>
                    <a:cubicBezTo>
                      <a:pt x="9" y="5"/>
                      <a:pt x="18" y="1"/>
                      <a:pt x="15" y="0"/>
                    </a:cubicBezTo>
                    <a:cubicBezTo>
                      <a:pt x="14" y="0"/>
                      <a:pt x="17" y="1"/>
                      <a:pt x="15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1" name="Freeform 405">
                <a:extLst>
                  <a:ext uri="{FF2B5EF4-FFF2-40B4-BE49-F238E27FC236}">
                    <a16:creationId xmlns:a16="http://schemas.microsoft.com/office/drawing/2014/main" id="{DC842AED-C371-427C-BD2A-E8B885251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4595" y="2668918"/>
                <a:ext cx="251658" cy="122645"/>
              </a:xfrm>
              <a:custGeom>
                <a:avLst/>
                <a:gdLst>
                  <a:gd name="T0" fmla="*/ 53 w 54"/>
                  <a:gd name="T1" fmla="*/ 10 h 26"/>
                  <a:gd name="T2" fmla="*/ 49 w 54"/>
                  <a:gd name="T3" fmla="*/ 9 h 26"/>
                  <a:gd name="T4" fmla="*/ 50 w 54"/>
                  <a:gd name="T5" fmla="*/ 8 h 26"/>
                  <a:gd name="T6" fmla="*/ 48 w 54"/>
                  <a:gd name="T7" fmla="*/ 7 h 26"/>
                  <a:gd name="T8" fmla="*/ 49 w 54"/>
                  <a:gd name="T9" fmla="*/ 6 h 26"/>
                  <a:gd name="T10" fmla="*/ 46 w 54"/>
                  <a:gd name="T11" fmla="*/ 5 h 26"/>
                  <a:gd name="T12" fmla="*/ 48 w 54"/>
                  <a:gd name="T13" fmla="*/ 3 h 26"/>
                  <a:gd name="T14" fmla="*/ 43 w 54"/>
                  <a:gd name="T15" fmla="*/ 3 h 26"/>
                  <a:gd name="T16" fmla="*/ 39 w 54"/>
                  <a:gd name="T17" fmla="*/ 1 h 26"/>
                  <a:gd name="T18" fmla="*/ 39 w 54"/>
                  <a:gd name="T19" fmla="*/ 4 h 26"/>
                  <a:gd name="T20" fmla="*/ 36 w 54"/>
                  <a:gd name="T21" fmla="*/ 5 h 26"/>
                  <a:gd name="T22" fmla="*/ 32 w 54"/>
                  <a:gd name="T23" fmla="*/ 5 h 26"/>
                  <a:gd name="T24" fmla="*/ 32 w 54"/>
                  <a:gd name="T25" fmla="*/ 9 h 26"/>
                  <a:gd name="T26" fmla="*/ 26 w 54"/>
                  <a:gd name="T27" fmla="*/ 5 h 26"/>
                  <a:gd name="T28" fmla="*/ 25 w 54"/>
                  <a:gd name="T29" fmla="*/ 8 h 26"/>
                  <a:gd name="T30" fmla="*/ 21 w 54"/>
                  <a:gd name="T31" fmla="*/ 5 h 26"/>
                  <a:gd name="T32" fmla="*/ 21 w 54"/>
                  <a:gd name="T33" fmla="*/ 9 h 26"/>
                  <a:gd name="T34" fmla="*/ 19 w 54"/>
                  <a:gd name="T35" fmla="*/ 9 h 26"/>
                  <a:gd name="T36" fmla="*/ 17 w 54"/>
                  <a:gd name="T37" fmla="*/ 12 h 26"/>
                  <a:gd name="T38" fmla="*/ 14 w 54"/>
                  <a:gd name="T39" fmla="*/ 8 h 26"/>
                  <a:gd name="T40" fmla="*/ 16 w 54"/>
                  <a:gd name="T41" fmla="*/ 8 h 26"/>
                  <a:gd name="T42" fmla="*/ 14 w 54"/>
                  <a:gd name="T43" fmla="*/ 5 h 26"/>
                  <a:gd name="T44" fmla="*/ 7 w 54"/>
                  <a:gd name="T45" fmla="*/ 2 h 26"/>
                  <a:gd name="T46" fmla="*/ 9 w 54"/>
                  <a:gd name="T47" fmla="*/ 4 h 26"/>
                  <a:gd name="T48" fmla="*/ 8 w 54"/>
                  <a:gd name="T49" fmla="*/ 4 h 26"/>
                  <a:gd name="T50" fmla="*/ 10 w 54"/>
                  <a:gd name="T51" fmla="*/ 8 h 26"/>
                  <a:gd name="T52" fmla="*/ 5 w 54"/>
                  <a:gd name="T53" fmla="*/ 6 h 26"/>
                  <a:gd name="T54" fmla="*/ 3 w 54"/>
                  <a:gd name="T55" fmla="*/ 6 h 26"/>
                  <a:gd name="T56" fmla="*/ 5 w 54"/>
                  <a:gd name="T57" fmla="*/ 7 h 26"/>
                  <a:gd name="T58" fmla="*/ 5 w 54"/>
                  <a:gd name="T59" fmla="*/ 8 h 26"/>
                  <a:gd name="T60" fmla="*/ 2 w 54"/>
                  <a:gd name="T61" fmla="*/ 7 h 26"/>
                  <a:gd name="T62" fmla="*/ 1 w 54"/>
                  <a:gd name="T63" fmla="*/ 9 h 26"/>
                  <a:gd name="T64" fmla="*/ 8 w 54"/>
                  <a:gd name="T65" fmla="*/ 10 h 26"/>
                  <a:gd name="T66" fmla="*/ 13 w 54"/>
                  <a:gd name="T67" fmla="*/ 11 h 26"/>
                  <a:gd name="T68" fmla="*/ 11 w 54"/>
                  <a:gd name="T69" fmla="*/ 12 h 26"/>
                  <a:gd name="T70" fmla="*/ 12 w 54"/>
                  <a:gd name="T71" fmla="*/ 13 h 26"/>
                  <a:gd name="T72" fmla="*/ 8 w 54"/>
                  <a:gd name="T73" fmla="*/ 14 h 26"/>
                  <a:gd name="T74" fmla="*/ 3 w 54"/>
                  <a:gd name="T75" fmla="*/ 15 h 26"/>
                  <a:gd name="T76" fmla="*/ 10 w 54"/>
                  <a:gd name="T77" fmla="*/ 16 h 26"/>
                  <a:gd name="T78" fmla="*/ 12 w 54"/>
                  <a:gd name="T79" fmla="*/ 18 h 26"/>
                  <a:gd name="T80" fmla="*/ 15 w 54"/>
                  <a:gd name="T81" fmla="*/ 17 h 26"/>
                  <a:gd name="T82" fmla="*/ 13 w 54"/>
                  <a:gd name="T83" fmla="*/ 18 h 26"/>
                  <a:gd name="T84" fmla="*/ 15 w 54"/>
                  <a:gd name="T85" fmla="*/ 18 h 26"/>
                  <a:gd name="T86" fmla="*/ 10 w 54"/>
                  <a:gd name="T87" fmla="*/ 23 h 26"/>
                  <a:gd name="T88" fmla="*/ 15 w 54"/>
                  <a:gd name="T89" fmla="*/ 23 h 26"/>
                  <a:gd name="T90" fmla="*/ 21 w 54"/>
                  <a:gd name="T91" fmla="*/ 24 h 26"/>
                  <a:gd name="T92" fmla="*/ 20 w 54"/>
                  <a:gd name="T93" fmla="*/ 24 h 26"/>
                  <a:gd name="T94" fmla="*/ 22 w 54"/>
                  <a:gd name="T95" fmla="*/ 25 h 26"/>
                  <a:gd name="T96" fmla="*/ 29 w 54"/>
                  <a:gd name="T97" fmla="*/ 26 h 26"/>
                  <a:gd name="T98" fmla="*/ 33 w 54"/>
                  <a:gd name="T99" fmla="*/ 25 h 26"/>
                  <a:gd name="T100" fmla="*/ 39 w 54"/>
                  <a:gd name="T101" fmla="*/ 23 h 26"/>
                  <a:gd name="T102" fmla="*/ 46 w 54"/>
                  <a:gd name="T103" fmla="*/ 19 h 26"/>
                  <a:gd name="T104" fmla="*/ 52 w 54"/>
                  <a:gd name="T105" fmla="*/ 16 h 26"/>
                  <a:gd name="T106" fmla="*/ 52 w 54"/>
                  <a:gd name="T107" fmla="*/ 14 h 26"/>
                  <a:gd name="T108" fmla="*/ 54 w 54"/>
                  <a:gd name="T109" fmla="*/ 13 h 26"/>
                  <a:gd name="T110" fmla="*/ 52 w 54"/>
                  <a:gd name="T111" fmla="*/ 12 h 26"/>
                  <a:gd name="T112" fmla="*/ 53 w 54"/>
                  <a:gd name="T113" fmla="*/ 10 h 26"/>
                  <a:gd name="T114" fmla="*/ 53 w 54"/>
                  <a:gd name="T115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" h="26">
                    <a:moveTo>
                      <a:pt x="53" y="10"/>
                    </a:moveTo>
                    <a:cubicBezTo>
                      <a:pt x="53" y="10"/>
                      <a:pt x="49" y="9"/>
                      <a:pt x="49" y="9"/>
                    </a:cubicBezTo>
                    <a:cubicBezTo>
                      <a:pt x="49" y="9"/>
                      <a:pt x="50" y="8"/>
                      <a:pt x="50" y="8"/>
                    </a:cubicBezTo>
                    <a:cubicBezTo>
                      <a:pt x="49" y="8"/>
                      <a:pt x="47" y="8"/>
                      <a:pt x="48" y="7"/>
                    </a:cubicBezTo>
                    <a:cubicBezTo>
                      <a:pt x="48" y="7"/>
                      <a:pt x="49" y="6"/>
                      <a:pt x="49" y="6"/>
                    </a:cubicBezTo>
                    <a:cubicBezTo>
                      <a:pt x="48" y="5"/>
                      <a:pt x="46" y="5"/>
                      <a:pt x="46" y="5"/>
                    </a:cubicBezTo>
                    <a:cubicBezTo>
                      <a:pt x="46" y="4"/>
                      <a:pt x="48" y="3"/>
                      <a:pt x="48" y="3"/>
                    </a:cubicBezTo>
                    <a:cubicBezTo>
                      <a:pt x="48" y="3"/>
                      <a:pt x="44" y="4"/>
                      <a:pt x="43" y="3"/>
                    </a:cubicBezTo>
                    <a:cubicBezTo>
                      <a:pt x="42" y="2"/>
                      <a:pt x="41" y="1"/>
                      <a:pt x="39" y="1"/>
                    </a:cubicBezTo>
                    <a:cubicBezTo>
                      <a:pt x="38" y="1"/>
                      <a:pt x="40" y="3"/>
                      <a:pt x="39" y="4"/>
                    </a:cubicBezTo>
                    <a:cubicBezTo>
                      <a:pt x="38" y="5"/>
                      <a:pt x="37" y="4"/>
                      <a:pt x="36" y="5"/>
                    </a:cubicBezTo>
                    <a:cubicBezTo>
                      <a:pt x="35" y="6"/>
                      <a:pt x="34" y="5"/>
                      <a:pt x="32" y="5"/>
                    </a:cubicBezTo>
                    <a:cubicBezTo>
                      <a:pt x="30" y="4"/>
                      <a:pt x="33" y="8"/>
                      <a:pt x="32" y="9"/>
                    </a:cubicBezTo>
                    <a:cubicBezTo>
                      <a:pt x="32" y="9"/>
                      <a:pt x="28" y="2"/>
                      <a:pt x="26" y="5"/>
                    </a:cubicBezTo>
                    <a:cubicBezTo>
                      <a:pt x="25" y="5"/>
                      <a:pt x="26" y="7"/>
                      <a:pt x="25" y="8"/>
                    </a:cubicBezTo>
                    <a:cubicBezTo>
                      <a:pt x="25" y="9"/>
                      <a:pt x="22" y="5"/>
                      <a:pt x="21" y="5"/>
                    </a:cubicBezTo>
                    <a:cubicBezTo>
                      <a:pt x="20" y="5"/>
                      <a:pt x="23" y="9"/>
                      <a:pt x="21" y="9"/>
                    </a:cubicBezTo>
                    <a:cubicBezTo>
                      <a:pt x="20" y="9"/>
                      <a:pt x="20" y="9"/>
                      <a:pt x="19" y="9"/>
                    </a:cubicBezTo>
                    <a:cubicBezTo>
                      <a:pt x="18" y="9"/>
                      <a:pt x="17" y="11"/>
                      <a:pt x="17" y="12"/>
                    </a:cubicBezTo>
                    <a:cubicBezTo>
                      <a:pt x="17" y="11"/>
                      <a:pt x="14" y="9"/>
                      <a:pt x="14" y="8"/>
                    </a:cubicBezTo>
                    <a:cubicBezTo>
                      <a:pt x="14" y="8"/>
                      <a:pt x="16" y="8"/>
                      <a:pt x="16" y="8"/>
                    </a:cubicBezTo>
                    <a:cubicBezTo>
                      <a:pt x="16" y="7"/>
                      <a:pt x="14" y="5"/>
                      <a:pt x="14" y="5"/>
                    </a:cubicBezTo>
                    <a:cubicBezTo>
                      <a:pt x="13" y="5"/>
                      <a:pt x="8" y="0"/>
                      <a:pt x="7" y="2"/>
                    </a:cubicBezTo>
                    <a:cubicBezTo>
                      <a:pt x="7" y="3"/>
                      <a:pt x="10" y="3"/>
                      <a:pt x="9" y="4"/>
                    </a:cubicBezTo>
                    <a:cubicBezTo>
                      <a:pt x="9" y="4"/>
                      <a:pt x="9" y="4"/>
                      <a:pt x="8" y="4"/>
                    </a:cubicBezTo>
                    <a:cubicBezTo>
                      <a:pt x="10" y="3"/>
                      <a:pt x="11" y="7"/>
                      <a:pt x="10" y="8"/>
                    </a:cubicBezTo>
                    <a:cubicBezTo>
                      <a:pt x="10" y="8"/>
                      <a:pt x="2" y="1"/>
                      <a:pt x="5" y="6"/>
                    </a:cubicBezTo>
                    <a:cubicBezTo>
                      <a:pt x="5" y="6"/>
                      <a:pt x="3" y="6"/>
                      <a:pt x="3" y="6"/>
                    </a:cubicBezTo>
                    <a:cubicBezTo>
                      <a:pt x="3" y="7"/>
                      <a:pt x="5" y="7"/>
                      <a:pt x="5" y="7"/>
                    </a:cubicBezTo>
                    <a:cubicBezTo>
                      <a:pt x="5" y="6"/>
                      <a:pt x="5" y="8"/>
                      <a:pt x="5" y="8"/>
                    </a:cubicBezTo>
                    <a:cubicBezTo>
                      <a:pt x="5" y="8"/>
                      <a:pt x="3" y="7"/>
                      <a:pt x="2" y="7"/>
                    </a:cubicBezTo>
                    <a:cubicBezTo>
                      <a:pt x="3" y="7"/>
                      <a:pt x="0" y="10"/>
                      <a:pt x="1" y="9"/>
                    </a:cubicBezTo>
                    <a:cubicBezTo>
                      <a:pt x="0" y="11"/>
                      <a:pt x="8" y="10"/>
                      <a:pt x="8" y="10"/>
                    </a:cubicBezTo>
                    <a:cubicBezTo>
                      <a:pt x="9" y="10"/>
                      <a:pt x="13" y="11"/>
                      <a:pt x="13" y="11"/>
                    </a:cubicBezTo>
                    <a:cubicBezTo>
                      <a:pt x="12" y="11"/>
                      <a:pt x="11" y="11"/>
                      <a:pt x="11" y="12"/>
                    </a:cubicBezTo>
                    <a:cubicBezTo>
                      <a:pt x="11" y="12"/>
                      <a:pt x="12" y="13"/>
                      <a:pt x="12" y="13"/>
                    </a:cubicBezTo>
                    <a:cubicBezTo>
                      <a:pt x="11" y="14"/>
                      <a:pt x="9" y="14"/>
                      <a:pt x="8" y="14"/>
                    </a:cubicBezTo>
                    <a:cubicBezTo>
                      <a:pt x="8" y="14"/>
                      <a:pt x="2" y="15"/>
                      <a:pt x="3" y="15"/>
                    </a:cubicBezTo>
                    <a:cubicBezTo>
                      <a:pt x="5" y="16"/>
                      <a:pt x="8" y="15"/>
                      <a:pt x="10" y="16"/>
                    </a:cubicBezTo>
                    <a:cubicBezTo>
                      <a:pt x="11" y="17"/>
                      <a:pt x="11" y="18"/>
                      <a:pt x="12" y="18"/>
                    </a:cubicBezTo>
                    <a:cubicBezTo>
                      <a:pt x="12" y="18"/>
                      <a:pt x="14" y="17"/>
                      <a:pt x="15" y="17"/>
                    </a:cubicBezTo>
                    <a:cubicBezTo>
                      <a:pt x="14" y="17"/>
                      <a:pt x="13" y="18"/>
                      <a:pt x="13" y="18"/>
                    </a:cubicBezTo>
                    <a:cubicBezTo>
                      <a:pt x="13" y="19"/>
                      <a:pt x="15" y="18"/>
                      <a:pt x="15" y="18"/>
                    </a:cubicBezTo>
                    <a:cubicBezTo>
                      <a:pt x="16" y="19"/>
                      <a:pt x="8" y="23"/>
                      <a:pt x="10" y="23"/>
                    </a:cubicBezTo>
                    <a:cubicBezTo>
                      <a:pt x="12" y="24"/>
                      <a:pt x="14" y="23"/>
                      <a:pt x="15" y="23"/>
                    </a:cubicBezTo>
                    <a:cubicBezTo>
                      <a:pt x="17" y="23"/>
                      <a:pt x="19" y="23"/>
                      <a:pt x="21" y="24"/>
                    </a:cubicBezTo>
                    <a:cubicBezTo>
                      <a:pt x="20" y="23"/>
                      <a:pt x="20" y="24"/>
                      <a:pt x="20" y="24"/>
                    </a:cubicBezTo>
                    <a:cubicBezTo>
                      <a:pt x="21" y="25"/>
                      <a:pt x="22" y="25"/>
                      <a:pt x="22" y="25"/>
                    </a:cubicBezTo>
                    <a:cubicBezTo>
                      <a:pt x="24" y="26"/>
                      <a:pt x="27" y="26"/>
                      <a:pt x="29" y="26"/>
                    </a:cubicBezTo>
                    <a:cubicBezTo>
                      <a:pt x="31" y="26"/>
                      <a:pt x="31" y="25"/>
                      <a:pt x="33" y="25"/>
                    </a:cubicBezTo>
                    <a:cubicBezTo>
                      <a:pt x="35" y="24"/>
                      <a:pt x="37" y="24"/>
                      <a:pt x="39" y="23"/>
                    </a:cubicBezTo>
                    <a:cubicBezTo>
                      <a:pt x="42" y="21"/>
                      <a:pt x="43" y="20"/>
                      <a:pt x="46" y="19"/>
                    </a:cubicBezTo>
                    <a:cubicBezTo>
                      <a:pt x="48" y="19"/>
                      <a:pt x="49" y="16"/>
                      <a:pt x="52" y="16"/>
                    </a:cubicBezTo>
                    <a:cubicBezTo>
                      <a:pt x="52" y="15"/>
                      <a:pt x="53" y="15"/>
                      <a:pt x="52" y="14"/>
                    </a:cubicBezTo>
                    <a:cubicBezTo>
                      <a:pt x="51" y="13"/>
                      <a:pt x="53" y="13"/>
                      <a:pt x="54" y="13"/>
                    </a:cubicBezTo>
                    <a:cubicBezTo>
                      <a:pt x="54" y="13"/>
                      <a:pt x="52" y="12"/>
                      <a:pt x="52" y="12"/>
                    </a:cubicBezTo>
                    <a:cubicBezTo>
                      <a:pt x="52" y="11"/>
                      <a:pt x="54" y="10"/>
                      <a:pt x="53" y="10"/>
                    </a:cubicBezTo>
                    <a:cubicBezTo>
                      <a:pt x="51" y="9"/>
                      <a:pt x="54" y="10"/>
                      <a:pt x="53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2" name="Freeform 418">
                <a:extLst>
                  <a:ext uri="{FF2B5EF4-FFF2-40B4-BE49-F238E27FC236}">
                    <a16:creationId xmlns:a16="http://schemas.microsoft.com/office/drawing/2014/main" id="{FD77BD3D-D8EA-4CFE-AF4B-70879C2852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25246" y="2538311"/>
                <a:ext cx="50968" cy="28669"/>
              </a:xfrm>
              <a:custGeom>
                <a:avLst/>
                <a:gdLst>
                  <a:gd name="T0" fmla="*/ 3 w 11"/>
                  <a:gd name="T1" fmla="*/ 4 h 6"/>
                  <a:gd name="T2" fmla="*/ 1 w 11"/>
                  <a:gd name="T3" fmla="*/ 1 h 6"/>
                  <a:gd name="T4" fmla="*/ 6 w 11"/>
                  <a:gd name="T5" fmla="*/ 1 h 6"/>
                  <a:gd name="T6" fmla="*/ 3 w 11"/>
                  <a:gd name="T7" fmla="*/ 4 h 6"/>
                  <a:gd name="T8" fmla="*/ 3 w 11"/>
                  <a:gd name="T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6">
                    <a:moveTo>
                      <a:pt x="3" y="4"/>
                    </a:moveTo>
                    <a:cubicBezTo>
                      <a:pt x="1" y="3"/>
                      <a:pt x="0" y="3"/>
                      <a:pt x="1" y="1"/>
                    </a:cubicBezTo>
                    <a:cubicBezTo>
                      <a:pt x="2" y="0"/>
                      <a:pt x="4" y="1"/>
                      <a:pt x="6" y="1"/>
                    </a:cubicBezTo>
                    <a:cubicBezTo>
                      <a:pt x="11" y="2"/>
                      <a:pt x="6" y="6"/>
                      <a:pt x="3" y="4"/>
                    </a:cubicBezTo>
                    <a:cubicBezTo>
                      <a:pt x="2" y="3"/>
                      <a:pt x="4" y="5"/>
                      <a:pt x="3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3" name="Freeform 419">
                <a:extLst>
                  <a:ext uri="{FF2B5EF4-FFF2-40B4-BE49-F238E27FC236}">
                    <a16:creationId xmlns:a16="http://schemas.microsoft.com/office/drawing/2014/main" id="{062788F8-BDC5-496C-96E6-4DC1054EE4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6493" y="2949247"/>
                <a:ext cx="28669" cy="23893"/>
              </a:xfrm>
              <a:custGeom>
                <a:avLst/>
                <a:gdLst>
                  <a:gd name="T0" fmla="*/ 5 w 6"/>
                  <a:gd name="T1" fmla="*/ 2 h 5"/>
                  <a:gd name="T2" fmla="*/ 5 w 6"/>
                  <a:gd name="T3" fmla="*/ 1 h 5"/>
                  <a:gd name="T4" fmla="*/ 2 w 6"/>
                  <a:gd name="T5" fmla="*/ 1 h 5"/>
                  <a:gd name="T6" fmla="*/ 1 w 6"/>
                  <a:gd name="T7" fmla="*/ 3 h 5"/>
                  <a:gd name="T8" fmla="*/ 0 w 6"/>
                  <a:gd name="T9" fmla="*/ 4 h 5"/>
                  <a:gd name="T10" fmla="*/ 5 w 6"/>
                  <a:gd name="T11" fmla="*/ 2 h 5"/>
                  <a:gd name="T12" fmla="*/ 5 w 6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5">
                    <a:moveTo>
                      <a:pt x="5" y="2"/>
                    </a:moveTo>
                    <a:cubicBezTo>
                      <a:pt x="6" y="2"/>
                      <a:pt x="5" y="1"/>
                      <a:pt x="5" y="1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1" y="1"/>
                      <a:pt x="0" y="2"/>
                      <a:pt x="1" y="3"/>
                    </a:cubicBezTo>
                    <a:cubicBezTo>
                      <a:pt x="1" y="3"/>
                      <a:pt x="0" y="5"/>
                      <a:pt x="0" y="4"/>
                    </a:cubicBezTo>
                    <a:cubicBezTo>
                      <a:pt x="0" y="4"/>
                      <a:pt x="5" y="2"/>
                      <a:pt x="5" y="2"/>
                    </a:cubicBezTo>
                    <a:cubicBezTo>
                      <a:pt x="6" y="2"/>
                      <a:pt x="3" y="3"/>
                      <a:pt x="5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4" name="Freeform 420">
                <a:extLst>
                  <a:ext uri="{FF2B5EF4-FFF2-40B4-BE49-F238E27FC236}">
                    <a16:creationId xmlns:a16="http://schemas.microsoft.com/office/drawing/2014/main" id="{C04AA509-65DB-4E69-A0EA-FFD50E769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05313" y="3086226"/>
                <a:ext cx="23891" cy="12742"/>
              </a:xfrm>
              <a:custGeom>
                <a:avLst/>
                <a:gdLst>
                  <a:gd name="T0" fmla="*/ 3 w 5"/>
                  <a:gd name="T1" fmla="*/ 3 h 3"/>
                  <a:gd name="T2" fmla="*/ 3 w 5"/>
                  <a:gd name="T3" fmla="*/ 0 h 3"/>
                  <a:gd name="T4" fmla="*/ 3 w 5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3">
                    <a:moveTo>
                      <a:pt x="3" y="3"/>
                    </a:moveTo>
                    <a:cubicBezTo>
                      <a:pt x="1" y="3"/>
                      <a:pt x="0" y="1"/>
                      <a:pt x="3" y="0"/>
                    </a:cubicBezTo>
                    <a:cubicBezTo>
                      <a:pt x="5" y="0"/>
                      <a:pt x="4" y="3"/>
                      <a:pt x="3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1" name="Freeform 421">
                <a:extLst>
                  <a:ext uri="{FF2B5EF4-FFF2-40B4-BE49-F238E27FC236}">
                    <a16:creationId xmlns:a16="http://schemas.microsoft.com/office/drawing/2014/main" id="{7EAC022D-582B-4FB9-8EBA-336906FA55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25805" y="3226388"/>
                <a:ext cx="23891" cy="22298"/>
              </a:xfrm>
              <a:custGeom>
                <a:avLst/>
                <a:gdLst>
                  <a:gd name="T0" fmla="*/ 5 w 5"/>
                  <a:gd name="T1" fmla="*/ 1 h 5"/>
                  <a:gd name="T2" fmla="*/ 1 w 5"/>
                  <a:gd name="T3" fmla="*/ 5 h 5"/>
                  <a:gd name="T4" fmla="*/ 4 w 5"/>
                  <a:gd name="T5" fmla="*/ 3 h 5"/>
                  <a:gd name="T6" fmla="*/ 5 w 5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5" y="1"/>
                    </a:moveTo>
                    <a:cubicBezTo>
                      <a:pt x="5" y="1"/>
                      <a:pt x="0" y="5"/>
                      <a:pt x="1" y="5"/>
                    </a:cubicBezTo>
                    <a:cubicBezTo>
                      <a:pt x="2" y="5"/>
                      <a:pt x="4" y="3"/>
                      <a:pt x="4" y="3"/>
                    </a:cubicBezTo>
                    <a:cubicBezTo>
                      <a:pt x="5" y="2"/>
                      <a:pt x="5" y="0"/>
                      <a:pt x="5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2" name="Freeform 422">
                <a:extLst>
                  <a:ext uri="{FF2B5EF4-FFF2-40B4-BE49-F238E27FC236}">
                    <a16:creationId xmlns:a16="http://schemas.microsoft.com/office/drawing/2014/main" id="{9149CF8C-1282-4EE9-B020-27EE64089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1470" y="3263022"/>
                <a:ext cx="9557" cy="4778"/>
              </a:xfrm>
              <a:custGeom>
                <a:avLst/>
                <a:gdLst>
                  <a:gd name="T0" fmla="*/ 1 w 2"/>
                  <a:gd name="T1" fmla="*/ 0 h 1"/>
                  <a:gd name="T2" fmla="*/ 1 w 2"/>
                  <a:gd name="T3" fmla="*/ 1 h 1"/>
                  <a:gd name="T4" fmla="*/ 1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1" y="0"/>
                      <a:pt x="0" y="1"/>
                      <a:pt x="1" y="1"/>
                    </a:cubicBezTo>
                    <a:cubicBezTo>
                      <a:pt x="1" y="1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3" name="Freeform 423">
                <a:extLst>
                  <a:ext uri="{FF2B5EF4-FFF2-40B4-BE49-F238E27FC236}">
                    <a16:creationId xmlns:a16="http://schemas.microsoft.com/office/drawing/2014/main" id="{33778E0D-A008-4C2B-AE23-1F8F5070A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46167" y="3337883"/>
                <a:ext cx="14335" cy="4778"/>
              </a:xfrm>
              <a:custGeom>
                <a:avLst/>
                <a:gdLst>
                  <a:gd name="T0" fmla="*/ 2 w 3"/>
                  <a:gd name="T1" fmla="*/ 0 h 1"/>
                  <a:gd name="T2" fmla="*/ 1 w 3"/>
                  <a:gd name="T3" fmla="*/ 1 h 1"/>
                  <a:gd name="T4" fmla="*/ 2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2" y="0"/>
                      <a:pt x="0" y="1"/>
                      <a:pt x="1" y="1"/>
                    </a:cubicBezTo>
                    <a:cubicBezTo>
                      <a:pt x="1" y="1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7" name="Freeform 424">
                <a:extLst>
                  <a:ext uri="{FF2B5EF4-FFF2-40B4-BE49-F238E27FC236}">
                    <a16:creationId xmlns:a16="http://schemas.microsoft.com/office/drawing/2014/main" id="{4CE652DE-BEAC-4FDF-A938-C00200420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0419" y="3361774"/>
                <a:ext cx="33448" cy="19114"/>
              </a:xfrm>
              <a:custGeom>
                <a:avLst/>
                <a:gdLst>
                  <a:gd name="T0" fmla="*/ 6 w 7"/>
                  <a:gd name="T1" fmla="*/ 0 h 4"/>
                  <a:gd name="T2" fmla="*/ 1 w 7"/>
                  <a:gd name="T3" fmla="*/ 3 h 4"/>
                  <a:gd name="T4" fmla="*/ 6 w 7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5" y="0"/>
                      <a:pt x="0" y="2"/>
                      <a:pt x="1" y="3"/>
                    </a:cubicBezTo>
                    <a:cubicBezTo>
                      <a:pt x="2" y="4"/>
                      <a:pt x="7" y="0"/>
                      <a:pt x="6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8" name="Freeform 425">
                <a:extLst>
                  <a:ext uri="{FF2B5EF4-FFF2-40B4-BE49-F238E27FC236}">
                    <a16:creationId xmlns:a16="http://schemas.microsoft.com/office/drawing/2014/main" id="{692A10C8-64D1-455A-AD8E-E999B02A0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3785" y="3380887"/>
                <a:ext cx="27076" cy="17521"/>
              </a:xfrm>
              <a:custGeom>
                <a:avLst/>
                <a:gdLst>
                  <a:gd name="T0" fmla="*/ 5 w 6"/>
                  <a:gd name="T1" fmla="*/ 0 h 4"/>
                  <a:gd name="T2" fmla="*/ 1 w 6"/>
                  <a:gd name="T3" fmla="*/ 3 h 4"/>
                  <a:gd name="T4" fmla="*/ 5 w 6"/>
                  <a:gd name="T5" fmla="*/ 0 h 4"/>
                  <a:gd name="T6" fmla="*/ 5 w 6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4">
                    <a:moveTo>
                      <a:pt x="5" y="0"/>
                    </a:moveTo>
                    <a:cubicBezTo>
                      <a:pt x="5" y="0"/>
                      <a:pt x="0" y="2"/>
                      <a:pt x="1" y="3"/>
                    </a:cubicBezTo>
                    <a:cubicBezTo>
                      <a:pt x="2" y="4"/>
                      <a:pt x="5" y="0"/>
                      <a:pt x="5" y="0"/>
                    </a:cubicBezTo>
                    <a:cubicBezTo>
                      <a:pt x="5" y="0"/>
                      <a:pt x="6" y="0"/>
                      <a:pt x="5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9" name="Freeform 426">
                <a:extLst>
                  <a:ext uri="{FF2B5EF4-FFF2-40B4-BE49-F238E27FC236}">
                    <a16:creationId xmlns:a16="http://schemas.microsoft.com/office/drawing/2014/main" id="{737EA3D3-E818-4E05-8A42-EF293B7E3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29893" y="3395222"/>
                <a:ext cx="23891" cy="22298"/>
              </a:xfrm>
              <a:custGeom>
                <a:avLst/>
                <a:gdLst>
                  <a:gd name="T0" fmla="*/ 4 w 5"/>
                  <a:gd name="T1" fmla="*/ 0 h 5"/>
                  <a:gd name="T2" fmla="*/ 0 w 5"/>
                  <a:gd name="T3" fmla="*/ 4 h 5"/>
                  <a:gd name="T4" fmla="*/ 4 w 5"/>
                  <a:gd name="T5" fmla="*/ 0 h 5"/>
                  <a:gd name="T6" fmla="*/ 4 w 5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4" y="0"/>
                    </a:moveTo>
                    <a:cubicBezTo>
                      <a:pt x="4" y="0"/>
                      <a:pt x="0" y="4"/>
                      <a:pt x="0" y="4"/>
                    </a:cubicBezTo>
                    <a:cubicBezTo>
                      <a:pt x="2" y="5"/>
                      <a:pt x="4" y="0"/>
                      <a:pt x="4" y="0"/>
                    </a:cubicBezTo>
                    <a:cubicBezTo>
                      <a:pt x="4" y="0"/>
                      <a:pt x="5" y="0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0" name="Freeform 427">
                <a:extLst>
                  <a:ext uri="{FF2B5EF4-FFF2-40B4-BE49-F238E27FC236}">
                    <a16:creationId xmlns:a16="http://schemas.microsoft.com/office/drawing/2014/main" id="{7886137F-B932-4F39-86C0-2D45317D6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25115" y="3427078"/>
                <a:ext cx="4778" cy="4778"/>
              </a:xfrm>
              <a:custGeom>
                <a:avLst/>
                <a:gdLst>
                  <a:gd name="T0" fmla="*/ 1 w 1"/>
                  <a:gd name="T1" fmla="*/ 0 h 1"/>
                  <a:gd name="T2" fmla="*/ 1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1" name="Freeform 428">
                <a:extLst>
                  <a:ext uri="{FF2B5EF4-FFF2-40B4-BE49-F238E27FC236}">
                    <a16:creationId xmlns:a16="http://schemas.microsoft.com/office/drawing/2014/main" id="{2B4652BA-9261-49BA-BABE-11EDD3F30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01224" y="3407964"/>
                <a:ext cx="23891" cy="19114"/>
              </a:xfrm>
              <a:custGeom>
                <a:avLst/>
                <a:gdLst>
                  <a:gd name="T0" fmla="*/ 4 w 5"/>
                  <a:gd name="T1" fmla="*/ 1 h 4"/>
                  <a:gd name="T2" fmla="*/ 0 w 5"/>
                  <a:gd name="T3" fmla="*/ 4 h 4"/>
                  <a:gd name="T4" fmla="*/ 4 w 5"/>
                  <a:gd name="T5" fmla="*/ 1 h 4"/>
                  <a:gd name="T6" fmla="*/ 4 w 5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4" y="1"/>
                    </a:moveTo>
                    <a:cubicBezTo>
                      <a:pt x="2" y="2"/>
                      <a:pt x="0" y="3"/>
                      <a:pt x="0" y="4"/>
                    </a:cubicBezTo>
                    <a:cubicBezTo>
                      <a:pt x="0" y="4"/>
                      <a:pt x="4" y="1"/>
                      <a:pt x="4" y="1"/>
                    </a:cubicBezTo>
                    <a:cubicBezTo>
                      <a:pt x="3" y="1"/>
                      <a:pt x="5" y="0"/>
                      <a:pt x="4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2" name="Freeform 429">
                <a:extLst>
                  <a:ext uri="{FF2B5EF4-FFF2-40B4-BE49-F238E27FC236}">
                    <a16:creationId xmlns:a16="http://schemas.microsoft.com/office/drawing/2014/main" id="{38E3E927-BDA4-4795-A3C2-D85A9BE41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29204" y="3581577"/>
                <a:ext cx="9557" cy="14335"/>
              </a:xfrm>
              <a:custGeom>
                <a:avLst/>
                <a:gdLst>
                  <a:gd name="T0" fmla="*/ 1 w 2"/>
                  <a:gd name="T1" fmla="*/ 0 h 3"/>
                  <a:gd name="T2" fmla="*/ 1 w 2"/>
                  <a:gd name="T3" fmla="*/ 3 h 3"/>
                  <a:gd name="T4" fmla="*/ 1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1" y="0"/>
                    </a:moveTo>
                    <a:cubicBezTo>
                      <a:pt x="1" y="0"/>
                      <a:pt x="0" y="3"/>
                      <a:pt x="1" y="3"/>
                    </a:cubicBezTo>
                    <a:cubicBezTo>
                      <a:pt x="2" y="3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1F9BF747-D638-42EC-BF03-0CBD7AFC7F9D}"/>
                  </a:ext>
                </a:extLst>
              </p:cNvPr>
              <p:cNvGrpSpPr/>
              <p:nvPr/>
            </p:nvGrpSpPr>
            <p:grpSpPr>
              <a:xfrm>
                <a:off x="8857185" y="3380887"/>
                <a:ext cx="348815" cy="331297"/>
                <a:chOff x="5961121" y="2686387"/>
                <a:chExt cx="288233" cy="273757"/>
              </a:xfrm>
              <a:grpFill/>
            </p:grpSpPr>
            <p:sp>
              <p:nvSpPr>
                <p:cNvPr id="375" name="Freeform 430">
                  <a:extLst>
                    <a:ext uri="{FF2B5EF4-FFF2-40B4-BE49-F238E27FC236}">
                      <a16:creationId xmlns:a16="http://schemas.microsoft.com/office/drawing/2014/main" id="{D1705BD1-BAE3-408D-822D-3619F8B041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30902" y="2686387"/>
                  <a:ext cx="118452" cy="100026"/>
                </a:xfrm>
                <a:custGeom>
                  <a:avLst/>
                  <a:gdLst>
                    <a:gd name="T0" fmla="*/ 28 w 31"/>
                    <a:gd name="T1" fmla="*/ 10 h 26"/>
                    <a:gd name="T2" fmla="*/ 29 w 31"/>
                    <a:gd name="T3" fmla="*/ 7 h 26"/>
                    <a:gd name="T4" fmla="*/ 27 w 31"/>
                    <a:gd name="T5" fmla="*/ 10 h 26"/>
                    <a:gd name="T6" fmla="*/ 20 w 31"/>
                    <a:gd name="T7" fmla="*/ 8 h 26"/>
                    <a:gd name="T8" fmla="*/ 11 w 31"/>
                    <a:gd name="T9" fmla="*/ 1 h 26"/>
                    <a:gd name="T10" fmla="*/ 11 w 31"/>
                    <a:gd name="T11" fmla="*/ 5 h 26"/>
                    <a:gd name="T12" fmla="*/ 9 w 31"/>
                    <a:gd name="T13" fmla="*/ 11 h 26"/>
                    <a:gd name="T14" fmla="*/ 7 w 31"/>
                    <a:gd name="T15" fmla="*/ 14 h 26"/>
                    <a:gd name="T16" fmla="*/ 4 w 31"/>
                    <a:gd name="T17" fmla="*/ 14 h 26"/>
                    <a:gd name="T18" fmla="*/ 5 w 31"/>
                    <a:gd name="T19" fmla="*/ 16 h 26"/>
                    <a:gd name="T20" fmla="*/ 1 w 31"/>
                    <a:gd name="T21" fmla="*/ 18 h 26"/>
                    <a:gd name="T22" fmla="*/ 2 w 31"/>
                    <a:gd name="T23" fmla="*/ 23 h 26"/>
                    <a:gd name="T24" fmla="*/ 4 w 31"/>
                    <a:gd name="T25" fmla="*/ 25 h 26"/>
                    <a:gd name="T26" fmla="*/ 6 w 31"/>
                    <a:gd name="T27" fmla="*/ 23 h 26"/>
                    <a:gd name="T28" fmla="*/ 7 w 31"/>
                    <a:gd name="T29" fmla="*/ 23 h 26"/>
                    <a:gd name="T30" fmla="*/ 4 w 31"/>
                    <a:gd name="T31" fmla="*/ 20 h 26"/>
                    <a:gd name="T32" fmla="*/ 7 w 31"/>
                    <a:gd name="T33" fmla="*/ 19 h 26"/>
                    <a:gd name="T34" fmla="*/ 12 w 31"/>
                    <a:gd name="T35" fmla="*/ 18 h 26"/>
                    <a:gd name="T36" fmla="*/ 17 w 31"/>
                    <a:gd name="T37" fmla="*/ 21 h 26"/>
                    <a:gd name="T38" fmla="*/ 21 w 31"/>
                    <a:gd name="T39" fmla="*/ 16 h 26"/>
                    <a:gd name="T40" fmla="*/ 31 w 31"/>
                    <a:gd name="T41" fmla="*/ 14 h 26"/>
                    <a:gd name="T42" fmla="*/ 29 w 31"/>
                    <a:gd name="T43" fmla="*/ 12 h 26"/>
                    <a:gd name="T44" fmla="*/ 28 w 31"/>
                    <a:gd name="T45" fmla="*/ 10 h 26"/>
                    <a:gd name="T46" fmla="*/ 28 w 31"/>
                    <a:gd name="T47" fmla="*/ 1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1" h="26">
                      <a:moveTo>
                        <a:pt x="28" y="10"/>
                      </a:moveTo>
                      <a:cubicBezTo>
                        <a:pt x="28" y="10"/>
                        <a:pt x="29" y="8"/>
                        <a:pt x="29" y="7"/>
                      </a:cubicBezTo>
                      <a:cubicBezTo>
                        <a:pt x="29" y="8"/>
                        <a:pt x="27" y="10"/>
                        <a:pt x="27" y="10"/>
                      </a:cubicBezTo>
                      <a:cubicBezTo>
                        <a:pt x="25" y="10"/>
                        <a:pt x="21" y="9"/>
                        <a:pt x="20" y="8"/>
                      </a:cubicBezTo>
                      <a:cubicBezTo>
                        <a:pt x="17" y="7"/>
                        <a:pt x="15" y="2"/>
                        <a:pt x="11" y="1"/>
                      </a:cubicBezTo>
                      <a:cubicBezTo>
                        <a:pt x="9" y="0"/>
                        <a:pt x="10" y="4"/>
                        <a:pt x="11" y="5"/>
                      </a:cubicBezTo>
                      <a:cubicBezTo>
                        <a:pt x="11" y="7"/>
                        <a:pt x="10" y="9"/>
                        <a:pt x="9" y="11"/>
                      </a:cubicBezTo>
                      <a:cubicBezTo>
                        <a:pt x="8" y="12"/>
                        <a:pt x="10" y="15"/>
                        <a:pt x="7" y="14"/>
                      </a:cubicBezTo>
                      <a:cubicBezTo>
                        <a:pt x="7" y="14"/>
                        <a:pt x="5" y="13"/>
                        <a:pt x="4" y="14"/>
                      </a:cubicBezTo>
                      <a:cubicBezTo>
                        <a:pt x="4" y="15"/>
                        <a:pt x="5" y="16"/>
                        <a:pt x="5" y="16"/>
                      </a:cubicBezTo>
                      <a:cubicBezTo>
                        <a:pt x="5" y="16"/>
                        <a:pt x="2" y="18"/>
                        <a:pt x="1" y="18"/>
                      </a:cubicBezTo>
                      <a:cubicBezTo>
                        <a:pt x="0" y="20"/>
                        <a:pt x="3" y="21"/>
                        <a:pt x="2" y="23"/>
                      </a:cubicBezTo>
                      <a:cubicBezTo>
                        <a:pt x="1" y="24"/>
                        <a:pt x="3" y="26"/>
                        <a:pt x="4" y="25"/>
                      </a:cubicBezTo>
                      <a:cubicBezTo>
                        <a:pt x="5" y="24"/>
                        <a:pt x="5" y="23"/>
                        <a:pt x="6" y="23"/>
                      </a:cubicBezTo>
                      <a:cubicBezTo>
                        <a:pt x="6" y="23"/>
                        <a:pt x="7" y="24"/>
                        <a:pt x="7" y="23"/>
                      </a:cubicBezTo>
                      <a:cubicBezTo>
                        <a:pt x="7" y="22"/>
                        <a:pt x="5" y="21"/>
                        <a:pt x="4" y="20"/>
                      </a:cubicBezTo>
                      <a:cubicBezTo>
                        <a:pt x="3" y="18"/>
                        <a:pt x="7" y="19"/>
                        <a:pt x="7" y="19"/>
                      </a:cubicBezTo>
                      <a:cubicBezTo>
                        <a:pt x="9" y="19"/>
                        <a:pt x="10" y="17"/>
                        <a:pt x="12" y="18"/>
                      </a:cubicBezTo>
                      <a:cubicBezTo>
                        <a:pt x="14" y="19"/>
                        <a:pt x="15" y="20"/>
                        <a:pt x="17" y="21"/>
                      </a:cubicBezTo>
                      <a:cubicBezTo>
                        <a:pt x="20" y="23"/>
                        <a:pt x="19" y="17"/>
                        <a:pt x="21" y="16"/>
                      </a:cubicBezTo>
                      <a:cubicBezTo>
                        <a:pt x="21" y="16"/>
                        <a:pt x="31" y="16"/>
                        <a:pt x="31" y="14"/>
                      </a:cubicBezTo>
                      <a:cubicBezTo>
                        <a:pt x="30" y="13"/>
                        <a:pt x="27" y="15"/>
                        <a:pt x="29" y="12"/>
                      </a:cubicBezTo>
                      <a:cubicBezTo>
                        <a:pt x="30" y="11"/>
                        <a:pt x="27" y="12"/>
                        <a:pt x="28" y="10"/>
                      </a:cubicBezTo>
                      <a:cubicBezTo>
                        <a:pt x="29" y="7"/>
                        <a:pt x="28" y="11"/>
                        <a:pt x="28" y="1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376" name="Freeform 431">
                  <a:extLst>
                    <a:ext uri="{FF2B5EF4-FFF2-40B4-BE49-F238E27FC236}">
                      <a16:creationId xmlns:a16="http://schemas.microsoft.com/office/drawing/2014/main" id="{795276E8-4312-4094-B6E5-EF82194031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1121" y="2778517"/>
                  <a:ext cx="215847" cy="181627"/>
                </a:xfrm>
                <a:custGeom>
                  <a:avLst/>
                  <a:gdLst>
                    <a:gd name="T0" fmla="*/ 52 w 56"/>
                    <a:gd name="T1" fmla="*/ 1 h 47"/>
                    <a:gd name="T2" fmla="*/ 51 w 56"/>
                    <a:gd name="T3" fmla="*/ 1 h 47"/>
                    <a:gd name="T4" fmla="*/ 52 w 56"/>
                    <a:gd name="T5" fmla="*/ 3 h 47"/>
                    <a:gd name="T6" fmla="*/ 49 w 56"/>
                    <a:gd name="T7" fmla="*/ 3 h 47"/>
                    <a:gd name="T8" fmla="*/ 47 w 56"/>
                    <a:gd name="T9" fmla="*/ 5 h 47"/>
                    <a:gd name="T10" fmla="*/ 45 w 56"/>
                    <a:gd name="T11" fmla="*/ 6 h 47"/>
                    <a:gd name="T12" fmla="*/ 46 w 56"/>
                    <a:gd name="T13" fmla="*/ 7 h 47"/>
                    <a:gd name="T14" fmla="*/ 46 w 56"/>
                    <a:gd name="T15" fmla="*/ 10 h 47"/>
                    <a:gd name="T16" fmla="*/ 46 w 56"/>
                    <a:gd name="T17" fmla="*/ 13 h 47"/>
                    <a:gd name="T18" fmla="*/ 41 w 56"/>
                    <a:gd name="T19" fmla="*/ 22 h 47"/>
                    <a:gd name="T20" fmla="*/ 36 w 56"/>
                    <a:gd name="T21" fmla="*/ 27 h 47"/>
                    <a:gd name="T22" fmla="*/ 31 w 56"/>
                    <a:gd name="T23" fmla="*/ 27 h 47"/>
                    <a:gd name="T24" fmla="*/ 32 w 56"/>
                    <a:gd name="T25" fmla="*/ 24 h 47"/>
                    <a:gd name="T26" fmla="*/ 30 w 56"/>
                    <a:gd name="T27" fmla="*/ 25 h 47"/>
                    <a:gd name="T28" fmla="*/ 29 w 56"/>
                    <a:gd name="T29" fmla="*/ 27 h 47"/>
                    <a:gd name="T30" fmla="*/ 25 w 56"/>
                    <a:gd name="T31" fmla="*/ 33 h 47"/>
                    <a:gd name="T32" fmla="*/ 25 w 56"/>
                    <a:gd name="T33" fmla="*/ 34 h 47"/>
                    <a:gd name="T34" fmla="*/ 23 w 56"/>
                    <a:gd name="T35" fmla="*/ 36 h 47"/>
                    <a:gd name="T36" fmla="*/ 21 w 56"/>
                    <a:gd name="T37" fmla="*/ 35 h 47"/>
                    <a:gd name="T38" fmla="*/ 17 w 56"/>
                    <a:gd name="T39" fmla="*/ 35 h 47"/>
                    <a:gd name="T40" fmla="*/ 9 w 56"/>
                    <a:gd name="T41" fmla="*/ 36 h 47"/>
                    <a:gd name="T42" fmla="*/ 2 w 56"/>
                    <a:gd name="T43" fmla="*/ 42 h 47"/>
                    <a:gd name="T44" fmla="*/ 1 w 56"/>
                    <a:gd name="T45" fmla="*/ 44 h 47"/>
                    <a:gd name="T46" fmla="*/ 3 w 56"/>
                    <a:gd name="T47" fmla="*/ 43 h 47"/>
                    <a:gd name="T48" fmla="*/ 5 w 56"/>
                    <a:gd name="T49" fmla="*/ 44 h 47"/>
                    <a:gd name="T50" fmla="*/ 22 w 56"/>
                    <a:gd name="T51" fmla="*/ 40 h 47"/>
                    <a:gd name="T52" fmla="*/ 21 w 56"/>
                    <a:gd name="T53" fmla="*/ 43 h 47"/>
                    <a:gd name="T54" fmla="*/ 24 w 56"/>
                    <a:gd name="T55" fmla="*/ 47 h 47"/>
                    <a:gd name="T56" fmla="*/ 27 w 56"/>
                    <a:gd name="T57" fmla="*/ 44 h 47"/>
                    <a:gd name="T58" fmla="*/ 30 w 56"/>
                    <a:gd name="T59" fmla="*/ 43 h 47"/>
                    <a:gd name="T60" fmla="*/ 31 w 56"/>
                    <a:gd name="T61" fmla="*/ 40 h 47"/>
                    <a:gd name="T62" fmla="*/ 38 w 56"/>
                    <a:gd name="T63" fmla="*/ 39 h 47"/>
                    <a:gd name="T64" fmla="*/ 41 w 56"/>
                    <a:gd name="T65" fmla="*/ 40 h 47"/>
                    <a:gd name="T66" fmla="*/ 43 w 56"/>
                    <a:gd name="T67" fmla="*/ 37 h 47"/>
                    <a:gd name="T68" fmla="*/ 45 w 56"/>
                    <a:gd name="T69" fmla="*/ 35 h 47"/>
                    <a:gd name="T70" fmla="*/ 46 w 56"/>
                    <a:gd name="T71" fmla="*/ 38 h 47"/>
                    <a:gd name="T72" fmla="*/ 48 w 56"/>
                    <a:gd name="T73" fmla="*/ 37 h 47"/>
                    <a:gd name="T74" fmla="*/ 49 w 56"/>
                    <a:gd name="T75" fmla="*/ 35 h 47"/>
                    <a:gd name="T76" fmla="*/ 49 w 56"/>
                    <a:gd name="T77" fmla="*/ 32 h 47"/>
                    <a:gd name="T78" fmla="*/ 51 w 56"/>
                    <a:gd name="T79" fmla="*/ 26 h 47"/>
                    <a:gd name="T80" fmla="*/ 51 w 56"/>
                    <a:gd name="T81" fmla="*/ 19 h 47"/>
                    <a:gd name="T82" fmla="*/ 53 w 56"/>
                    <a:gd name="T83" fmla="*/ 19 h 47"/>
                    <a:gd name="T84" fmla="*/ 55 w 56"/>
                    <a:gd name="T85" fmla="*/ 17 h 47"/>
                    <a:gd name="T86" fmla="*/ 55 w 56"/>
                    <a:gd name="T87" fmla="*/ 9 h 47"/>
                    <a:gd name="T88" fmla="*/ 52 w 56"/>
                    <a:gd name="T89" fmla="*/ 1 h 47"/>
                    <a:gd name="T90" fmla="*/ 52 w 56"/>
                    <a:gd name="T91" fmla="*/ 1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6" h="47">
                      <a:moveTo>
                        <a:pt x="52" y="1"/>
                      </a:moveTo>
                      <a:cubicBezTo>
                        <a:pt x="51" y="1"/>
                        <a:pt x="51" y="0"/>
                        <a:pt x="51" y="1"/>
                      </a:cubicBezTo>
                      <a:cubicBezTo>
                        <a:pt x="49" y="2"/>
                        <a:pt x="51" y="2"/>
                        <a:pt x="52" y="3"/>
                      </a:cubicBezTo>
                      <a:cubicBezTo>
                        <a:pt x="53" y="4"/>
                        <a:pt x="50" y="5"/>
                        <a:pt x="49" y="3"/>
                      </a:cubicBezTo>
                      <a:cubicBezTo>
                        <a:pt x="48" y="1"/>
                        <a:pt x="47" y="4"/>
                        <a:pt x="47" y="5"/>
                      </a:cubicBezTo>
                      <a:cubicBezTo>
                        <a:pt x="46" y="5"/>
                        <a:pt x="45" y="6"/>
                        <a:pt x="45" y="6"/>
                      </a:cubicBezTo>
                      <a:cubicBezTo>
                        <a:pt x="45" y="8"/>
                        <a:pt x="46" y="7"/>
                        <a:pt x="46" y="7"/>
                      </a:cubicBezTo>
                      <a:cubicBezTo>
                        <a:pt x="46" y="8"/>
                        <a:pt x="46" y="9"/>
                        <a:pt x="46" y="10"/>
                      </a:cubicBezTo>
                      <a:cubicBezTo>
                        <a:pt x="46" y="11"/>
                        <a:pt x="47" y="11"/>
                        <a:pt x="46" y="13"/>
                      </a:cubicBezTo>
                      <a:cubicBezTo>
                        <a:pt x="44" y="16"/>
                        <a:pt x="43" y="19"/>
                        <a:pt x="41" y="22"/>
                      </a:cubicBezTo>
                      <a:cubicBezTo>
                        <a:pt x="40" y="23"/>
                        <a:pt x="37" y="27"/>
                        <a:pt x="36" y="27"/>
                      </a:cubicBezTo>
                      <a:cubicBezTo>
                        <a:pt x="34" y="27"/>
                        <a:pt x="32" y="28"/>
                        <a:pt x="31" y="27"/>
                      </a:cubicBezTo>
                      <a:cubicBezTo>
                        <a:pt x="30" y="26"/>
                        <a:pt x="32" y="25"/>
                        <a:pt x="32" y="24"/>
                      </a:cubicBezTo>
                      <a:cubicBezTo>
                        <a:pt x="33" y="23"/>
                        <a:pt x="30" y="25"/>
                        <a:pt x="30" y="25"/>
                      </a:cubicBezTo>
                      <a:cubicBezTo>
                        <a:pt x="29" y="26"/>
                        <a:pt x="29" y="26"/>
                        <a:pt x="29" y="27"/>
                      </a:cubicBezTo>
                      <a:cubicBezTo>
                        <a:pt x="29" y="30"/>
                        <a:pt x="26" y="31"/>
                        <a:pt x="25" y="33"/>
                      </a:cubicBezTo>
                      <a:cubicBezTo>
                        <a:pt x="25" y="33"/>
                        <a:pt x="25" y="34"/>
                        <a:pt x="25" y="34"/>
                      </a:cubicBezTo>
                      <a:cubicBezTo>
                        <a:pt x="25" y="35"/>
                        <a:pt x="23" y="36"/>
                        <a:pt x="23" y="36"/>
                      </a:cubicBezTo>
                      <a:cubicBezTo>
                        <a:pt x="22" y="36"/>
                        <a:pt x="23" y="35"/>
                        <a:pt x="21" y="35"/>
                      </a:cubicBezTo>
                      <a:cubicBezTo>
                        <a:pt x="20" y="35"/>
                        <a:pt x="19" y="35"/>
                        <a:pt x="17" y="35"/>
                      </a:cubicBezTo>
                      <a:cubicBezTo>
                        <a:pt x="14" y="36"/>
                        <a:pt x="12" y="35"/>
                        <a:pt x="9" y="36"/>
                      </a:cubicBezTo>
                      <a:cubicBezTo>
                        <a:pt x="7" y="38"/>
                        <a:pt x="4" y="40"/>
                        <a:pt x="2" y="42"/>
                      </a:cubicBezTo>
                      <a:cubicBezTo>
                        <a:pt x="0" y="42"/>
                        <a:pt x="0" y="45"/>
                        <a:pt x="1" y="44"/>
                      </a:cubicBezTo>
                      <a:cubicBezTo>
                        <a:pt x="2" y="44"/>
                        <a:pt x="2" y="43"/>
                        <a:pt x="3" y="43"/>
                      </a:cubicBezTo>
                      <a:cubicBezTo>
                        <a:pt x="4" y="44"/>
                        <a:pt x="5" y="45"/>
                        <a:pt x="5" y="44"/>
                      </a:cubicBezTo>
                      <a:cubicBezTo>
                        <a:pt x="10" y="43"/>
                        <a:pt x="17" y="39"/>
                        <a:pt x="22" y="40"/>
                      </a:cubicBezTo>
                      <a:cubicBezTo>
                        <a:pt x="23" y="41"/>
                        <a:pt x="21" y="43"/>
                        <a:pt x="21" y="43"/>
                      </a:cubicBezTo>
                      <a:cubicBezTo>
                        <a:pt x="22" y="44"/>
                        <a:pt x="23" y="47"/>
                        <a:pt x="24" y="47"/>
                      </a:cubicBezTo>
                      <a:cubicBezTo>
                        <a:pt x="25" y="46"/>
                        <a:pt x="26" y="45"/>
                        <a:pt x="27" y="44"/>
                      </a:cubicBezTo>
                      <a:cubicBezTo>
                        <a:pt x="28" y="42"/>
                        <a:pt x="28" y="43"/>
                        <a:pt x="30" y="43"/>
                      </a:cubicBezTo>
                      <a:cubicBezTo>
                        <a:pt x="29" y="43"/>
                        <a:pt x="28" y="35"/>
                        <a:pt x="31" y="40"/>
                      </a:cubicBezTo>
                      <a:cubicBezTo>
                        <a:pt x="32" y="42"/>
                        <a:pt x="37" y="40"/>
                        <a:pt x="38" y="39"/>
                      </a:cubicBezTo>
                      <a:cubicBezTo>
                        <a:pt x="40" y="36"/>
                        <a:pt x="40" y="42"/>
                        <a:pt x="41" y="40"/>
                      </a:cubicBezTo>
                      <a:cubicBezTo>
                        <a:pt x="41" y="39"/>
                        <a:pt x="42" y="37"/>
                        <a:pt x="43" y="37"/>
                      </a:cubicBezTo>
                      <a:cubicBezTo>
                        <a:pt x="44" y="36"/>
                        <a:pt x="44" y="37"/>
                        <a:pt x="45" y="35"/>
                      </a:cubicBezTo>
                      <a:cubicBezTo>
                        <a:pt x="45" y="35"/>
                        <a:pt x="45" y="39"/>
                        <a:pt x="46" y="38"/>
                      </a:cubicBezTo>
                      <a:cubicBezTo>
                        <a:pt x="46" y="38"/>
                        <a:pt x="47" y="38"/>
                        <a:pt x="48" y="37"/>
                      </a:cubicBezTo>
                      <a:cubicBezTo>
                        <a:pt x="49" y="37"/>
                        <a:pt x="48" y="36"/>
                        <a:pt x="49" y="35"/>
                      </a:cubicBezTo>
                      <a:cubicBezTo>
                        <a:pt x="51" y="34"/>
                        <a:pt x="51" y="34"/>
                        <a:pt x="49" y="32"/>
                      </a:cubicBezTo>
                      <a:cubicBezTo>
                        <a:pt x="48" y="31"/>
                        <a:pt x="51" y="28"/>
                        <a:pt x="51" y="26"/>
                      </a:cubicBezTo>
                      <a:cubicBezTo>
                        <a:pt x="52" y="24"/>
                        <a:pt x="50" y="21"/>
                        <a:pt x="51" y="19"/>
                      </a:cubicBezTo>
                      <a:cubicBezTo>
                        <a:pt x="52" y="18"/>
                        <a:pt x="52" y="19"/>
                        <a:pt x="53" y="19"/>
                      </a:cubicBezTo>
                      <a:cubicBezTo>
                        <a:pt x="54" y="19"/>
                        <a:pt x="55" y="17"/>
                        <a:pt x="55" y="17"/>
                      </a:cubicBezTo>
                      <a:cubicBezTo>
                        <a:pt x="56" y="14"/>
                        <a:pt x="56" y="11"/>
                        <a:pt x="55" y="9"/>
                      </a:cubicBezTo>
                      <a:cubicBezTo>
                        <a:pt x="55" y="8"/>
                        <a:pt x="52" y="1"/>
                        <a:pt x="52" y="1"/>
                      </a:cubicBezTo>
                      <a:cubicBezTo>
                        <a:pt x="52" y="1"/>
                        <a:pt x="52" y="1"/>
                        <a:pt x="52" y="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114" name="Freeform 432">
                <a:extLst>
                  <a:ext uri="{FF2B5EF4-FFF2-40B4-BE49-F238E27FC236}">
                    <a16:creationId xmlns:a16="http://schemas.microsoft.com/office/drawing/2014/main" id="{E3C0BEAB-F0EE-480B-922F-39CD69778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4786" y="3685107"/>
                <a:ext cx="9557" cy="12742"/>
              </a:xfrm>
              <a:custGeom>
                <a:avLst/>
                <a:gdLst>
                  <a:gd name="T0" fmla="*/ 2 w 2"/>
                  <a:gd name="T1" fmla="*/ 0 h 3"/>
                  <a:gd name="T2" fmla="*/ 0 w 2"/>
                  <a:gd name="T3" fmla="*/ 1 h 3"/>
                  <a:gd name="T4" fmla="*/ 2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cubicBezTo>
                      <a:pt x="2" y="0"/>
                      <a:pt x="0" y="1"/>
                      <a:pt x="0" y="1"/>
                    </a:cubicBezTo>
                    <a:cubicBezTo>
                      <a:pt x="1" y="3"/>
                      <a:pt x="2" y="1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5" name="Freeform 433">
                <a:extLst>
                  <a:ext uri="{FF2B5EF4-FFF2-40B4-BE49-F238E27FC236}">
                    <a16:creationId xmlns:a16="http://schemas.microsoft.com/office/drawing/2014/main" id="{FD9EECAA-9145-4987-9F81-31523781B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9038" y="3685107"/>
                <a:ext cx="60525" cy="46190"/>
              </a:xfrm>
              <a:custGeom>
                <a:avLst/>
                <a:gdLst>
                  <a:gd name="T0" fmla="*/ 11 w 13"/>
                  <a:gd name="T1" fmla="*/ 2 h 10"/>
                  <a:gd name="T2" fmla="*/ 7 w 13"/>
                  <a:gd name="T3" fmla="*/ 2 h 10"/>
                  <a:gd name="T4" fmla="*/ 5 w 13"/>
                  <a:gd name="T5" fmla="*/ 3 h 10"/>
                  <a:gd name="T6" fmla="*/ 3 w 13"/>
                  <a:gd name="T7" fmla="*/ 4 h 10"/>
                  <a:gd name="T8" fmla="*/ 0 w 13"/>
                  <a:gd name="T9" fmla="*/ 6 h 10"/>
                  <a:gd name="T10" fmla="*/ 3 w 13"/>
                  <a:gd name="T11" fmla="*/ 9 h 10"/>
                  <a:gd name="T12" fmla="*/ 6 w 13"/>
                  <a:gd name="T13" fmla="*/ 6 h 10"/>
                  <a:gd name="T14" fmla="*/ 10 w 13"/>
                  <a:gd name="T15" fmla="*/ 6 h 10"/>
                  <a:gd name="T16" fmla="*/ 11 w 13"/>
                  <a:gd name="T17" fmla="*/ 2 h 10"/>
                  <a:gd name="T18" fmla="*/ 11 w 13"/>
                  <a:gd name="T1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0">
                    <a:moveTo>
                      <a:pt x="11" y="2"/>
                    </a:moveTo>
                    <a:cubicBezTo>
                      <a:pt x="9" y="2"/>
                      <a:pt x="9" y="0"/>
                      <a:pt x="7" y="2"/>
                    </a:cubicBezTo>
                    <a:cubicBezTo>
                      <a:pt x="6" y="2"/>
                      <a:pt x="5" y="4"/>
                      <a:pt x="5" y="3"/>
                    </a:cubicBezTo>
                    <a:cubicBezTo>
                      <a:pt x="4" y="2"/>
                      <a:pt x="3" y="4"/>
                      <a:pt x="3" y="4"/>
                    </a:cubicBezTo>
                    <a:cubicBezTo>
                      <a:pt x="2" y="6"/>
                      <a:pt x="1" y="5"/>
                      <a:pt x="0" y="6"/>
                    </a:cubicBezTo>
                    <a:cubicBezTo>
                      <a:pt x="0" y="5"/>
                      <a:pt x="2" y="9"/>
                      <a:pt x="3" y="9"/>
                    </a:cubicBezTo>
                    <a:cubicBezTo>
                      <a:pt x="3" y="10"/>
                      <a:pt x="5" y="6"/>
                      <a:pt x="6" y="6"/>
                    </a:cubicBezTo>
                    <a:cubicBezTo>
                      <a:pt x="7" y="6"/>
                      <a:pt x="9" y="7"/>
                      <a:pt x="10" y="6"/>
                    </a:cubicBezTo>
                    <a:cubicBezTo>
                      <a:pt x="11" y="6"/>
                      <a:pt x="13" y="3"/>
                      <a:pt x="11" y="2"/>
                    </a:cubicBezTo>
                    <a:cubicBezTo>
                      <a:pt x="10" y="2"/>
                      <a:pt x="11" y="2"/>
                      <a:pt x="11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6" name="Freeform 434">
                <a:extLst>
                  <a:ext uri="{FF2B5EF4-FFF2-40B4-BE49-F238E27FC236}">
                    <a16:creationId xmlns:a16="http://schemas.microsoft.com/office/drawing/2014/main" id="{6530BB45-844F-4631-9D7E-EAEC5FC426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28515" y="3702628"/>
                <a:ext cx="50968" cy="74861"/>
              </a:xfrm>
              <a:custGeom>
                <a:avLst/>
                <a:gdLst>
                  <a:gd name="T0" fmla="*/ 7 w 11"/>
                  <a:gd name="T1" fmla="*/ 0 h 16"/>
                  <a:gd name="T2" fmla="*/ 2 w 11"/>
                  <a:gd name="T3" fmla="*/ 2 h 16"/>
                  <a:gd name="T4" fmla="*/ 0 w 11"/>
                  <a:gd name="T5" fmla="*/ 6 h 16"/>
                  <a:gd name="T6" fmla="*/ 2 w 11"/>
                  <a:gd name="T7" fmla="*/ 6 h 16"/>
                  <a:gd name="T8" fmla="*/ 3 w 11"/>
                  <a:gd name="T9" fmla="*/ 4 h 16"/>
                  <a:gd name="T10" fmla="*/ 4 w 11"/>
                  <a:gd name="T11" fmla="*/ 5 h 16"/>
                  <a:gd name="T12" fmla="*/ 3 w 11"/>
                  <a:gd name="T13" fmla="*/ 10 h 16"/>
                  <a:gd name="T14" fmla="*/ 3 w 11"/>
                  <a:gd name="T15" fmla="*/ 11 h 16"/>
                  <a:gd name="T16" fmla="*/ 3 w 11"/>
                  <a:gd name="T17" fmla="*/ 13 h 16"/>
                  <a:gd name="T18" fmla="*/ 5 w 11"/>
                  <a:gd name="T19" fmla="*/ 12 h 16"/>
                  <a:gd name="T20" fmla="*/ 6 w 11"/>
                  <a:gd name="T21" fmla="*/ 15 h 16"/>
                  <a:gd name="T22" fmla="*/ 8 w 11"/>
                  <a:gd name="T23" fmla="*/ 12 h 16"/>
                  <a:gd name="T24" fmla="*/ 11 w 11"/>
                  <a:gd name="T25" fmla="*/ 7 h 16"/>
                  <a:gd name="T26" fmla="*/ 10 w 11"/>
                  <a:gd name="T27" fmla="*/ 2 h 16"/>
                  <a:gd name="T28" fmla="*/ 7 w 11"/>
                  <a:gd name="T2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6">
                    <a:moveTo>
                      <a:pt x="7" y="0"/>
                    </a:moveTo>
                    <a:cubicBezTo>
                      <a:pt x="5" y="0"/>
                      <a:pt x="3" y="1"/>
                      <a:pt x="2" y="2"/>
                    </a:cubicBezTo>
                    <a:cubicBezTo>
                      <a:pt x="0" y="3"/>
                      <a:pt x="0" y="4"/>
                      <a:pt x="0" y="6"/>
                    </a:cubicBezTo>
                    <a:cubicBezTo>
                      <a:pt x="0" y="5"/>
                      <a:pt x="3" y="5"/>
                      <a:pt x="2" y="6"/>
                    </a:cubicBezTo>
                    <a:cubicBezTo>
                      <a:pt x="3" y="5"/>
                      <a:pt x="2" y="4"/>
                      <a:pt x="3" y="4"/>
                    </a:cubicBezTo>
                    <a:cubicBezTo>
                      <a:pt x="3" y="4"/>
                      <a:pt x="4" y="4"/>
                      <a:pt x="4" y="5"/>
                    </a:cubicBezTo>
                    <a:cubicBezTo>
                      <a:pt x="4" y="7"/>
                      <a:pt x="4" y="8"/>
                      <a:pt x="3" y="10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3" y="12"/>
                      <a:pt x="3" y="13"/>
                      <a:pt x="3" y="13"/>
                    </a:cubicBezTo>
                    <a:cubicBezTo>
                      <a:pt x="3" y="16"/>
                      <a:pt x="5" y="12"/>
                      <a:pt x="5" y="12"/>
                    </a:cubicBezTo>
                    <a:cubicBezTo>
                      <a:pt x="5" y="12"/>
                      <a:pt x="5" y="15"/>
                      <a:pt x="6" y="15"/>
                    </a:cubicBezTo>
                    <a:cubicBezTo>
                      <a:pt x="6" y="16"/>
                      <a:pt x="8" y="13"/>
                      <a:pt x="8" y="12"/>
                    </a:cubicBezTo>
                    <a:cubicBezTo>
                      <a:pt x="10" y="10"/>
                      <a:pt x="10" y="8"/>
                      <a:pt x="11" y="7"/>
                    </a:cubicBezTo>
                    <a:cubicBezTo>
                      <a:pt x="11" y="5"/>
                      <a:pt x="10" y="4"/>
                      <a:pt x="10" y="2"/>
                    </a:cubicBezTo>
                    <a:cubicBezTo>
                      <a:pt x="10" y="0"/>
                      <a:pt x="7" y="2"/>
                      <a:pt x="7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7" name="Freeform 435">
                <a:extLst>
                  <a:ext uri="{FF2B5EF4-FFF2-40B4-BE49-F238E27FC236}">
                    <a16:creationId xmlns:a16="http://schemas.microsoft.com/office/drawing/2014/main" id="{472A9768-C4D0-4D90-8670-15C821A9D7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7547" y="3885797"/>
                <a:ext cx="17521" cy="14335"/>
              </a:xfrm>
              <a:custGeom>
                <a:avLst/>
                <a:gdLst>
                  <a:gd name="T0" fmla="*/ 4 w 4"/>
                  <a:gd name="T1" fmla="*/ 0 h 3"/>
                  <a:gd name="T2" fmla="*/ 1 w 4"/>
                  <a:gd name="T3" fmla="*/ 3 h 3"/>
                  <a:gd name="T4" fmla="*/ 4 w 4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cubicBezTo>
                      <a:pt x="3" y="0"/>
                      <a:pt x="0" y="1"/>
                      <a:pt x="1" y="3"/>
                    </a:cubicBezTo>
                    <a:cubicBezTo>
                      <a:pt x="1" y="3"/>
                      <a:pt x="4" y="0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8" name="Freeform 436">
                <a:extLst>
                  <a:ext uri="{FF2B5EF4-FFF2-40B4-BE49-F238E27FC236}">
                    <a16:creationId xmlns:a16="http://schemas.microsoft.com/office/drawing/2014/main" id="{02B6F346-246D-4A50-9445-EC7AAB296B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8958" y="3839607"/>
                <a:ext cx="9557" cy="7964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1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9" name="Freeform 437">
                <a:extLst>
                  <a:ext uri="{FF2B5EF4-FFF2-40B4-BE49-F238E27FC236}">
                    <a16:creationId xmlns:a16="http://schemas.microsoft.com/office/drawing/2014/main" id="{DB89A14E-20EC-4C4F-B781-0F3936E6A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3128" y="3936765"/>
                <a:ext cx="9557" cy="4778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1" y="0"/>
                      <a:pt x="0" y="1"/>
                      <a:pt x="1" y="1"/>
                    </a:cubicBezTo>
                    <a:cubicBezTo>
                      <a:pt x="2" y="1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0" name="Freeform 438">
                <a:extLst>
                  <a:ext uri="{FF2B5EF4-FFF2-40B4-BE49-F238E27FC236}">
                    <a16:creationId xmlns:a16="http://schemas.microsoft.com/office/drawing/2014/main" id="{8439A4D2-B45E-4662-A066-2147D6F2A4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3935" y="3919245"/>
                <a:ext cx="55747" cy="78046"/>
              </a:xfrm>
              <a:custGeom>
                <a:avLst/>
                <a:gdLst>
                  <a:gd name="T0" fmla="*/ 8 w 12"/>
                  <a:gd name="T1" fmla="*/ 1 h 17"/>
                  <a:gd name="T2" fmla="*/ 0 w 12"/>
                  <a:gd name="T3" fmla="*/ 8 h 17"/>
                  <a:gd name="T4" fmla="*/ 1 w 12"/>
                  <a:gd name="T5" fmla="*/ 14 h 17"/>
                  <a:gd name="T6" fmla="*/ 3 w 12"/>
                  <a:gd name="T7" fmla="*/ 17 h 17"/>
                  <a:gd name="T8" fmla="*/ 8 w 12"/>
                  <a:gd name="T9" fmla="*/ 1 h 17"/>
                  <a:gd name="T10" fmla="*/ 8 w 12"/>
                  <a:gd name="T11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7">
                    <a:moveTo>
                      <a:pt x="8" y="1"/>
                    </a:moveTo>
                    <a:cubicBezTo>
                      <a:pt x="5" y="0"/>
                      <a:pt x="1" y="6"/>
                      <a:pt x="0" y="8"/>
                    </a:cubicBezTo>
                    <a:cubicBezTo>
                      <a:pt x="0" y="10"/>
                      <a:pt x="0" y="12"/>
                      <a:pt x="1" y="14"/>
                    </a:cubicBezTo>
                    <a:cubicBezTo>
                      <a:pt x="1" y="14"/>
                      <a:pt x="3" y="17"/>
                      <a:pt x="3" y="17"/>
                    </a:cubicBezTo>
                    <a:cubicBezTo>
                      <a:pt x="4" y="15"/>
                      <a:pt x="12" y="2"/>
                      <a:pt x="8" y="1"/>
                    </a:cubicBezTo>
                    <a:cubicBezTo>
                      <a:pt x="7" y="1"/>
                      <a:pt x="9" y="1"/>
                      <a:pt x="8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1" name="Freeform 439">
                <a:extLst>
                  <a:ext uri="{FF2B5EF4-FFF2-40B4-BE49-F238E27FC236}">
                    <a16:creationId xmlns:a16="http://schemas.microsoft.com/office/drawing/2014/main" id="{3EFA9059-3126-4802-976C-9B56F64F6D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28385" y="4049852"/>
                <a:ext cx="65304" cy="46190"/>
              </a:xfrm>
              <a:custGeom>
                <a:avLst/>
                <a:gdLst>
                  <a:gd name="T0" fmla="*/ 13 w 14"/>
                  <a:gd name="T1" fmla="*/ 1 h 10"/>
                  <a:gd name="T2" fmla="*/ 9 w 14"/>
                  <a:gd name="T3" fmla="*/ 0 h 10"/>
                  <a:gd name="T4" fmla="*/ 4 w 14"/>
                  <a:gd name="T5" fmla="*/ 2 h 10"/>
                  <a:gd name="T6" fmla="*/ 4 w 14"/>
                  <a:gd name="T7" fmla="*/ 9 h 10"/>
                  <a:gd name="T8" fmla="*/ 11 w 14"/>
                  <a:gd name="T9" fmla="*/ 6 h 10"/>
                  <a:gd name="T10" fmla="*/ 13 w 14"/>
                  <a:gd name="T11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10">
                    <a:moveTo>
                      <a:pt x="13" y="1"/>
                    </a:moveTo>
                    <a:cubicBezTo>
                      <a:pt x="12" y="1"/>
                      <a:pt x="11" y="0"/>
                      <a:pt x="9" y="0"/>
                    </a:cubicBezTo>
                    <a:cubicBezTo>
                      <a:pt x="7" y="0"/>
                      <a:pt x="6" y="1"/>
                      <a:pt x="4" y="2"/>
                    </a:cubicBezTo>
                    <a:cubicBezTo>
                      <a:pt x="2" y="4"/>
                      <a:pt x="0" y="7"/>
                      <a:pt x="4" y="9"/>
                    </a:cubicBezTo>
                    <a:cubicBezTo>
                      <a:pt x="6" y="10"/>
                      <a:pt x="10" y="8"/>
                      <a:pt x="11" y="6"/>
                    </a:cubicBezTo>
                    <a:cubicBezTo>
                      <a:pt x="11" y="5"/>
                      <a:pt x="14" y="1"/>
                      <a:pt x="13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2" name="Freeform 440">
                <a:extLst>
                  <a:ext uri="{FF2B5EF4-FFF2-40B4-BE49-F238E27FC236}">
                    <a16:creationId xmlns:a16="http://schemas.microsoft.com/office/drawing/2014/main" id="{64B7C080-272A-44AC-BB59-56F996041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4377" y="4081708"/>
                <a:ext cx="93973" cy="132201"/>
              </a:xfrm>
              <a:custGeom>
                <a:avLst/>
                <a:gdLst>
                  <a:gd name="T0" fmla="*/ 12 w 20"/>
                  <a:gd name="T1" fmla="*/ 2 h 28"/>
                  <a:gd name="T2" fmla="*/ 9 w 20"/>
                  <a:gd name="T3" fmla="*/ 2 h 28"/>
                  <a:gd name="T4" fmla="*/ 4 w 20"/>
                  <a:gd name="T5" fmla="*/ 3 h 28"/>
                  <a:gd name="T6" fmla="*/ 3 w 20"/>
                  <a:gd name="T7" fmla="*/ 11 h 28"/>
                  <a:gd name="T8" fmla="*/ 3 w 20"/>
                  <a:gd name="T9" fmla="*/ 13 h 28"/>
                  <a:gd name="T10" fmla="*/ 0 w 20"/>
                  <a:gd name="T11" fmla="*/ 13 h 28"/>
                  <a:gd name="T12" fmla="*/ 3 w 20"/>
                  <a:gd name="T13" fmla="*/ 22 h 28"/>
                  <a:gd name="T14" fmla="*/ 5 w 20"/>
                  <a:gd name="T15" fmla="*/ 20 h 28"/>
                  <a:gd name="T16" fmla="*/ 7 w 20"/>
                  <a:gd name="T17" fmla="*/ 22 h 28"/>
                  <a:gd name="T18" fmla="*/ 4 w 20"/>
                  <a:gd name="T19" fmla="*/ 23 h 28"/>
                  <a:gd name="T20" fmla="*/ 8 w 20"/>
                  <a:gd name="T21" fmla="*/ 26 h 28"/>
                  <a:gd name="T22" fmla="*/ 11 w 20"/>
                  <a:gd name="T23" fmla="*/ 25 h 28"/>
                  <a:gd name="T24" fmla="*/ 15 w 20"/>
                  <a:gd name="T25" fmla="*/ 28 h 28"/>
                  <a:gd name="T26" fmla="*/ 14 w 20"/>
                  <a:gd name="T27" fmla="*/ 25 h 28"/>
                  <a:gd name="T28" fmla="*/ 17 w 20"/>
                  <a:gd name="T29" fmla="*/ 24 h 28"/>
                  <a:gd name="T30" fmla="*/ 10 w 20"/>
                  <a:gd name="T31" fmla="*/ 22 h 28"/>
                  <a:gd name="T32" fmla="*/ 9 w 20"/>
                  <a:gd name="T33" fmla="*/ 16 h 28"/>
                  <a:gd name="T34" fmla="*/ 12 w 20"/>
                  <a:gd name="T35" fmla="*/ 12 h 28"/>
                  <a:gd name="T36" fmla="*/ 13 w 20"/>
                  <a:gd name="T37" fmla="*/ 7 h 28"/>
                  <a:gd name="T38" fmla="*/ 12 w 20"/>
                  <a:gd name="T39" fmla="*/ 2 h 28"/>
                  <a:gd name="T40" fmla="*/ 12 w 20"/>
                  <a:gd name="T41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" h="28">
                    <a:moveTo>
                      <a:pt x="12" y="2"/>
                    </a:moveTo>
                    <a:cubicBezTo>
                      <a:pt x="10" y="1"/>
                      <a:pt x="11" y="5"/>
                      <a:pt x="9" y="2"/>
                    </a:cubicBezTo>
                    <a:cubicBezTo>
                      <a:pt x="8" y="0"/>
                      <a:pt x="4" y="1"/>
                      <a:pt x="4" y="3"/>
                    </a:cubicBezTo>
                    <a:cubicBezTo>
                      <a:pt x="3" y="6"/>
                      <a:pt x="4" y="8"/>
                      <a:pt x="3" y="11"/>
                    </a:cubicBezTo>
                    <a:cubicBezTo>
                      <a:pt x="3" y="12"/>
                      <a:pt x="3" y="13"/>
                      <a:pt x="3" y="13"/>
                    </a:cubicBezTo>
                    <a:cubicBezTo>
                      <a:pt x="2" y="14"/>
                      <a:pt x="0" y="13"/>
                      <a:pt x="0" y="13"/>
                    </a:cubicBezTo>
                    <a:cubicBezTo>
                      <a:pt x="0" y="13"/>
                      <a:pt x="2" y="22"/>
                      <a:pt x="3" y="22"/>
                    </a:cubicBezTo>
                    <a:cubicBezTo>
                      <a:pt x="3" y="22"/>
                      <a:pt x="4" y="19"/>
                      <a:pt x="5" y="20"/>
                    </a:cubicBezTo>
                    <a:cubicBezTo>
                      <a:pt x="5" y="20"/>
                      <a:pt x="7" y="21"/>
                      <a:pt x="7" y="22"/>
                    </a:cubicBezTo>
                    <a:cubicBezTo>
                      <a:pt x="7" y="23"/>
                      <a:pt x="4" y="21"/>
                      <a:pt x="4" y="23"/>
                    </a:cubicBezTo>
                    <a:cubicBezTo>
                      <a:pt x="4" y="25"/>
                      <a:pt x="6" y="27"/>
                      <a:pt x="8" y="26"/>
                    </a:cubicBezTo>
                    <a:cubicBezTo>
                      <a:pt x="9" y="26"/>
                      <a:pt x="10" y="24"/>
                      <a:pt x="11" y="25"/>
                    </a:cubicBezTo>
                    <a:cubicBezTo>
                      <a:pt x="11" y="25"/>
                      <a:pt x="15" y="28"/>
                      <a:pt x="15" y="28"/>
                    </a:cubicBezTo>
                    <a:cubicBezTo>
                      <a:pt x="16" y="27"/>
                      <a:pt x="13" y="26"/>
                      <a:pt x="14" y="25"/>
                    </a:cubicBezTo>
                    <a:cubicBezTo>
                      <a:pt x="13" y="26"/>
                      <a:pt x="20" y="28"/>
                      <a:pt x="17" y="24"/>
                    </a:cubicBezTo>
                    <a:cubicBezTo>
                      <a:pt x="15" y="22"/>
                      <a:pt x="11" y="25"/>
                      <a:pt x="10" y="22"/>
                    </a:cubicBezTo>
                    <a:cubicBezTo>
                      <a:pt x="9" y="20"/>
                      <a:pt x="9" y="19"/>
                      <a:pt x="9" y="16"/>
                    </a:cubicBezTo>
                    <a:cubicBezTo>
                      <a:pt x="9" y="14"/>
                      <a:pt x="11" y="14"/>
                      <a:pt x="12" y="12"/>
                    </a:cubicBezTo>
                    <a:cubicBezTo>
                      <a:pt x="14" y="10"/>
                      <a:pt x="14" y="9"/>
                      <a:pt x="13" y="7"/>
                    </a:cubicBezTo>
                    <a:cubicBezTo>
                      <a:pt x="13" y="7"/>
                      <a:pt x="13" y="2"/>
                      <a:pt x="12" y="2"/>
                    </a:cubicBezTo>
                    <a:cubicBezTo>
                      <a:pt x="11" y="2"/>
                      <a:pt x="13" y="2"/>
                      <a:pt x="12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3" name="Freeform 441">
                <a:extLst>
                  <a:ext uri="{FF2B5EF4-FFF2-40B4-BE49-F238E27FC236}">
                    <a16:creationId xmlns:a16="http://schemas.microsoft.com/office/drawing/2014/main" id="{4CA83987-A838-40BD-B6F9-F8399476C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4017" y="4194794"/>
                <a:ext cx="28669" cy="36635"/>
              </a:xfrm>
              <a:custGeom>
                <a:avLst/>
                <a:gdLst>
                  <a:gd name="T0" fmla="*/ 3 w 6"/>
                  <a:gd name="T1" fmla="*/ 1 h 8"/>
                  <a:gd name="T2" fmla="*/ 1 w 6"/>
                  <a:gd name="T3" fmla="*/ 1 h 8"/>
                  <a:gd name="T4" fmla="*/ 0 w 6"/>
                  <a:gd name="T5" fmla="*/ 3 h 8"/>
                  <a:gd name="T6" fmla="*/ 2 w 6"/>
                  <a:gd name="T7" fmla="*/ 6 h 8"/>
                  <a:gd name="T8" fmla="*/ 5 w 6"/>
                  <a:gd name="T9" fmla="*/ 7 h 8"/>
                  <a:gd name="T10" fmla="*/ 4 w 6"/>
                  <a:gd name="T11" fmla="*/ 4 h 8"/>
                  <a:gd name="T12" fmla="*/ 3 w 6"/>
                  <a:gd name="T13" fmla="*/ 1 h 8"/>
                  <a:gd name="T14" fmla="*/ 3 w 6"/>
                  <a:gd name="T15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8">
                    <a:moveTo>
                      <a:pt x="3" y="1"/>
                    </a:moveTo>
                    <a:cubicBezTo>
                      <a:pt x="3" y="1"/>
                      <a:pt x="2" y="0"/>
                      <a:pt x="1" y="1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1" y="4"/>
                      <a:pt x="0" y="5"/>
                      <a:pt x="2" y="6"/>
                    </a:cubicBezTo>
                    <a:cubicBezTo>
                      <a:pt x="2" y="6"/>
                      <a:pt x="6" y="8"/>
                      <a:pt x="5" y="7"/>
                    </a:cubicBezTo>
                    <a:cubicBezTo>
                      <a:pt x="5" y="6"/>
                      <a:pt x="5" y="5"/>
                      <a:pt x="4" y="4"/>
                    </a:cubicBezTo>
                    <a:cubicBezTo>
                      <a:pt x="2" y="4"/>
                      <a:pt x="2" y="1"/>
                      <a:pt x="3" y="1"/>
                    </a:cubicBezTo>
                    <a:cubicBezTo>
                      <a:pt x="2" y="1"/>
                      <a:pt x="4" y="1"/>
                      <a:pt x="3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4" name="Freeform 443">
                <a:extLst>
                  <a:ext uri="{FF2B5EF4-FFF2-40B4-BE49-F238E27FC236}">
                    <a16:creationId xmlns:a16="http://schemas.microsoft.com/office/drawing/2014/main" id="{11D3CD8E-4281-4007-AEF2-D9EDA9D52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8712" y="4199574"/>
                <a:ext cx="28669" cy="36635"/>
              </a:xfrm>
              <a:custGeom>
                <a:avLst/>
                <a:gdLst>
                  <a:gd name="T0" fmla="*/ 6 w 6"/>
                  <a:gd name="T1" fmla="*/ 5 h 8"/>
                  <a:gd name="T2" fmla="*/ 0 w 6"/>
                  <a:gd name="T3" fmla="*/ 2 h 8"/>
                  <a:gd name="T4" fmla="*/ 3 w 6"/>
                  <a:gd name="T5" fmla="*/ 6 h 8"/>
                  <a:gd name="T6" fmla="*/ 6 w 6"/>
                  <a:gd name="T7" fmla="*/ 5 h 8"/>
                  <a:gd name="T8" fmla="*/ 6 w 6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5"/>
                    </a:moveTo>
                    <a:cubicBezTo>
                      <a:pt x="5" y="4"/>
                      <a:pt x="3" y="0"/>
                      <a:pt x="0" y="2"/>
                    </a:cubicBezTo>
                    <a:cubicBezTo>
                      <a:pt x="0" y="2"/>
                      <a:pt x="3" y="5"/>
                      <a:pt x="3" y="6"/>
                    </a:cubicBezTo>
                    <a:cubicBezTo>
                      <a:pt x="3" y="8"/>
                      <a:pt x="6" y="8"/>
                      <a:pt x="6" y="5"/>
                    </a:cubicBezTo>
                    <a:cubicBezTo>
                      <a:pt x="6" y="5"/>
                      <a:pt x="6" y="6"/>
                      <a:pt x="6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5" name="Freeform 444">
                <a:extLst>
                  <a:ext uri="{FF2B5EF4-FFF2-40B4-BE49-F238E27FC236}">
                    <a16:creationId xmlns:a16="http://schemas.microsoft.com/office/drawing/2014/main" id="{86A2CA1D-67D4-4A5D-9958-0B01256727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2161" y="4236206"/>
                <a:ext cx="41412" cy="47783"/>
              </a:xfrm>
              <a:custGeom>
                <a:avLst/>
                <a:gdLst>
                  <a:gd name="T0" fmla="*/ 3 w 9"/>
                  <a:gd name="T1" fmla="*/ 2 h 10"/>
                  <a:gd name="T2" fmla="*/ 0 w 9"/>
                  <a:gd name="T3" fmla="*/ 2 h 10"/>
                  <a:gd name="T4" fmla="*/ 2 w 9"/>
                  <a:gd name="T5" fmla="*/ 4 h 10"/>
                  <a:gd name="T6" fmla="*/ 1 w 9"/>
                  <a:gd name="T7" fmla="*/ 9 h 10"/>
                  <a:gd name="T8" fmla="*/ 6 w 9"/>
                  <a:gd name="T9" fmla="*/ 6 h 10"/>
                  <a:gd name="T10" fmla="*/ 3 w 9"/>
                  <a:gd name="T11" fmla="*/ 2 h 10"/>
                  <a:gd name="T12" fmla="*/ 3 w 9"/>
                  <a:gd name="T13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0">
                    <a:moveTo>
                      <a:pt x="3" y="2"/>
                    </a:moveTo>
                    <a:cubicBezTo>
                      <a:pt x="2" y="1"/>
                      <a:pt x="1" y="1"/>
                      <a:pt x="0" y="2"/>
                    </a:cubicBezTo>
                    <a:cubicBezTo>
                      <a:pt x="0" y="3"/>
                      <a:pt x="2" y="3"/>
                      <a:pt x="2" y="4"/>
                    </a:cubicBezTo>
                    <a:cubicBezTo>
                      <a:pt x="3" y="5"/>
                      <a:pt x="0" y="8"/>
                      <a:pt x="1" y="9"/>
                    </a:cubicBezTo>
                    <a:cubicBezTo>
                      <a:pt x="1" y="10"/>
                      <a:pt x="5" y="6"/>
                      <a:pt x="6" y="6"/>
                    </a:cubicBezTo>
                    <a:cubicBezTo>
                      <a:pt x="9" y="6"/>
                      <a:pt x="3" y="2"/>
                      <a:pt x="3" y="2"/>
                    </a:cubicBezTo>
                    <a:cubicBezTo>
                      <a:pt x="1" y="0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6" name="Freeform 445">
                <a:extLst>
                  <a:ext uri="{FF2B5EF4-FFF2-40B4-BE49-F238E27FC236}">
                    <a16:creationId xmlns:a16="http://schemas.microsoft.com/office/drawing/2014/main" id="{AC85E621-3DC5-4F0A-A0D7-F944F39BC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1718" y="4264876"/>
                <a:ext cx="31856" cy="50968"/>
              </a:xfrm>
              <a:custGeom>
                <a:avLst/>
                <a:gdLst>
                  <a:gd name="T0" fmla="*/ 6 w 7"/>
                  <a:gd name="T1" fmla="*/ 1 h 11"/>
                  <a:gd name="T2" fmla="*/ 3 w 7"/>
                  <a:gd name="T3" fmla="*/ 5 h 11"/>
                  <a:gd name="T4" fmla="*/ 3 w 7"/>
                  <a:gd name="T5" fmla="*/ 9 h 11"/>
                  <a:gd name="T6" fmla="*/ 5 w 7"/>
                  <a:gd name="T7" fmla="*/ 6 h 11"/>
                  <a:gd name="T8" fmla="*/ 6 w 7"/>
                  <a:gd name="T9" fmla="*/ 1 h 11"/>
                  <a:gd name="T10" fmla="*/ 6 w 7"/>
                  <a:gd name="T11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1">
                    <a:moveTo>
                      <a:pt x="6" y="1"/>
                    </a:moveTo>
                    <a:cubicBezTo>
                      <a:pt x="3" y="1"/>
                      <a:pt x="4" y="4"/>
                      <a:pt x="3" y="5"/>
                    </a:cubicBezTo>
                    <a:cubicBezTo>
                      <a:pt x="0" y="7"/>
                      <a:pt x="1" y="7"/>
                      <a:pt x="3" y="9"/>
                    </a:cubicBezTo>
                    <a:cubicBezTo>
                      <a:pt x="6" y="11"/>
                      <a:pt x="4" y="8"/>
                      <a:pt x="5" y="6"/>
                    </a:cubicBezTo>
                    <a:cubicBezTo>
                      <a:pt x="5" y="6"/>
                      <a:pt x="7" y="0"/>
                      <a:pt x="6" y="1"/>
                    </a:cubicBezTo>
                    <a:cubicBezTo>
                      <a:pt x="5" y="1"/>
                      <a:pt x="6" y="0"/>
                      <a:pt x="6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7" name="Freeform 446">
                <a:extLst>
                  <a:ext uri="{FF2B5EF4-FFF2-40B4-BE49-F238E27FC236}">
                    <a16:creationId xmlns:a16="http://schemas.microsoft.com/office/drawing/2014/main" id="{38149780-2D79-492F-847B-17D23591E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8793" y="4260098"/>
                <a:ext cx="19114" cy="36635"/>
              </a:xfrm>
              <a:custGeom>
                <a:avLst/>
                <a:gdLst>
                  <a:gd name="T0" fmla="*/ 3 w 4"/>
                  <a:gd name="T1" fmla="*/ 1 h 8"/>
                  <a:gd name="T2" fmla="*/ 0 w 4"/>
                  <a:gd name="T3" fmla="*/ 8 h 8"/>
                  <a:gd name="T4" fmla="*/ 3 w 4"/>
                  <a:gd name="T5" fmla="*/ 5 h 8"/>
                  <a:gd name="T6" fmla="*/ 3 w 4"/>
                  <a:gd name="T7" fmla="*/ 1 h 8"/>
                  <a:gd name="T8" fmla="*/ 3 w 4"/>
                  <a:gd name="T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3" y="1"/>
                    </a:moveTo>
                    <a:cubicBezTo>
                      <a:pt x="2" y="1"/>
                      <a:pt x="0" y="7"/>
                      <a:pt x="0" y="8"/>
                    </a:cubicBezTo>
                    <a:cubicBezTo>
                      <a:pt x="0" y="8"/>
                      <a:pt x="2" y="6"/>
                      <a:pt x="3" y="5"/>
                    </a:cubicBezTo>
                    <a:cubicBezTo>
                      <a:pt x="3" y="5"/>
                      <a:pt x="4" y="0"/>
                      <a:pt x="3" y="1"/>
                    </a:cubicBezTo>
                    <a:cubicBezTo>
                      <a:pt x="2" y="1"/>
                      <a:pt x="3" y="1"/>
                      <a:pt x="3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8" name="Freeform 447">
                <a:extLst>
                  <a:ext uri="{FF2B5EF4-FFF2-40B4-BE49-F238E27FC236}">
                    <a16:creationId xmlns:a16="http://schemas.microsoft.com/office/drawing/2014/main" id="{EFEEB437-5DC4-4E98-8917-BAF29D4F2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8351" y="4283989"/>
                <a:ext cx="28669" cy="17521"/>
              </a:xfrm>
              <a:custGeom>
                <a:avLst/>
                <a:gdLst>
                  <a:gd name="T0" fmla="*/ 1 w 6"/>
                  <a:gd name="T1" fmla="*/ 1 h 4"/>
                  <a:gd name="T2" fmla="*/ 3 w 6"/>
                  <a:gd name="T3" fmla="*/ 3 h 4"/>
                  <a:gd name="T4" fmla="*/ 1 w 6"/>
                  <a:gd name="T5" fmla="*/ 1 h 4"/>
                  <a:gd name="T6" fmla="*/ 1 w 6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4">
                    <a:moveTo>
                      <a:pt x="1" y="1"/>
                    </a:moveTo>
                    <a:cubicBezTo>
                      <a:pt x="0" y="3"/>
                      <a:pt x="1" y="4"/>
                      <a:pt x="3" y="3"/>
                    </a:cubicBezTo>
                    <a:cubicBezTo>
                      <a:pt x="6" y="3"/>
                      <a:pt x="2" y="0"/>
                      <a:pt x="1" y="1"/>
                    </a:cubicBezTo>
                    <a:cubicBezTo>
                      <a:pt x="1" y="2"/>
                      <a:pt x="2" y="1"/>
                      <a:pt x="1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9" name="Freeform 450">
                <a:extLst>
                  <a:ext uri="{FF2B5EF4-FFF2-40B4-BE49-F238E27FC236}">
                    <a16:creationId xmlns:a16="http://schemas.microsoft.com/office/drawing/2014/main" id="{8C3547A1-2529-42D8-9365-C480F0B52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3852" y="4269655"/>
                <a:ext cx="55747" cy="55747"/>
              </a:xfrm>
              <a:custGeom>
                <a:avLst/>
                <a:gdLst>
                  <a:gd name="T0" fmla="*/ 11 w 12"/>
                  <a:gd name="T1" fmla="*/ 0 h 12"/>
                  <a:gd name="T2" fmla="*/ 6 w 12"/>
                  <a:gd name="T3" fmla="*/ 6 h 12"/>
                  <a:gd name="T4" fmla="*/ 0 w 12"/>
                  <a:gd name="T5" fmla="*/ 12 h 12"/>
                  <a:gd name="T6" fmla="*/ 4 w 12"/>
                  <a:gd name="T7" fmla="*/ 10 h 12"/>
                  <a:gd name="T8" fmla="*/ 8 w 12"/>
                  <a:gd name="T9" fmla="*/ 7 h 12"/>
                  <a:gd name="T10" fmla="*/ 10 w 12"/>
                  <a:gd name="T11" fmla="*/ 3 h 12"/>
                  <a:gd name="T12" fmla="*/ 11 w 12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2">
                    <a:moveTo>
                      <a:pt x="11" y="0"/>
                    </a:moveTo>
                    <a:cubicBezTo>
                      <a:pt x="9" y="1"/>
                      <a:pt x="7" y="4"/>
                      <a:pt x="6" y="6"/>
                    </a:cubicBezTo>
                    <a:cubicBezTo>
                      <a:pt x="5" y="7"/>
                      <a:pt x="0" y="10"/>
                      <a:pt x="0" y="12"/>
                    </a:cubicBezTo>
                    <a:cubicBezTo>
                      <a:pt x="0" y="12"/>
                      <a:pt x="3" y="11"/>
                      <a:pt x="4" y="10"/>
                    </a:cubicBezTo>
                    <a:cubicBezTo>
                      <a:pt x="5" y="10"/>
                      <a:pt x="7" y="8"/>
                      <a:pt x="8" y="7"/>
                    </a:cubicBezTo>
                    <a:cubicBezTo>
                      <a:pt x="8" y="5"/>
                      <a:pt x="9" y="4"/>
                      <a:pt x="10" y="3"/>
                    </a:cubicBezTo>
                    <a:cubicBezTo>
                      <a:pt x="11" y="3"/>
                      <a:pt x="12" y="0"/>
                      <a:pt x="11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0" name="Freeform 451">
                <a:extLst>
                  <a:ext uri="{FF2B5EF4-FFF2-40B4-BE49-F238E27FC236}">
                    <a16:creationId xmlns:a16="http://schemas.microsoft.com/office/drawing/2014/main" id="{069B3725-758C-47E2-8EF5-13FAAE17D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7908" y="4199574"/>
                <a:ext cx="9557" cy="4778"/>
              </a:xfrm>
              <a:custGeom>
                <a:avLst/>
                <a:gdLst>
                  <a:gd name="T0" fmla="*/ 0 w 2"/>
                  <a:gd name="T1" fmla="*/ 1 h 1"/>
                  <a:gd name="T2" fmla="*/ 1 w 2"/>
                  <a:gd name="T3" fmla="*/ 0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1" y="1"/>
                      <a:pt x="2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1" name="Freeform 452">
                <a:extLst>
                  <a:ext uri="{FF2B5EF4-FFF2-40B4-BE49-F238E27FC236}">
                    <a16:creationId xmlns:a16="http://schemas.microsoft.com/office/drawing/2014/main" id="{3D840587-807A-4A73-9D69-B1781B8D6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0979" y="4390705"/>
                <a:ext cx="261215" cy="272364"/>
              </a:xfrm>
              <a:custGeom>
                <a:avLst/>
                <a:gdLst>
                  <a:gd name="T0" fmla="*/ 12 w 56"/>
                  <a:gd name="T1" fmla="*/ 3 h 58"/>
                  <a:gd name="T2" fmla="*/ 4 w 56"/>
                  <a:gd name="T3" fmla="*/ 2 h 58"/>
                  <a:gd name="T4" fmla="*/ 2 w 56"/>
                  <a:gd name="T5" fmla="*/ 3 h 58"/>
                  <a:gd name="T6" fmla="*/ 6 w 56"/>
                  <a:gd name="T7" fmla="*/ 9 h 58"/>
                  <a:gd name="T8" fmla="*/ 11 w 56"/>
                  <a:gd name="T9" fmla="*/ 13 h 58"/>
                  <a:gd name="T10" fmla="*/ 13 w 56"/>
                  <a:gd name="T11" fmla="*/ 17 h 58"/>
                  <a:gd name="T12" fmla="*/ 17 w 56"/>
                  <a:gd name="T13" fmla="*/ 19 h 58"/>
                  <a:gd name="T14" fmla="*/ 20 w 56"/>
                  <a:gd name="T15" fmla="*/ 26 h 58"/>
                  <a:gd name="T16" fmla="*/ 22 w 56"/>
                  <a:gd name="T17" fmla="*/ 28 h 58"/>
                  <a:gd name="T18" fmla="*/ 26 w 56"/>
                  <a:gd name="T19" fmla="*/ 33 h 58"/>
                  <a:gd name="T20" fmla="*/ 30 w 56"/>
                  <a:gd name="T21" fmla="*/ 42 h 58"/>
                  <a:gd name="T22" fmla="*/ 41 w 56"/>
                  <a:gd name="T23" fmla="*/ 52 h 58"/>
                  <a:gd name="T24" fmla="*/ 46 w 56"/>
                  <a:gd name="T25" fmla="*/ 57 h 58"/>
                  <a:gd name="T26" fmla="*/ 54 w 56"/>
                  <a:gd name="T27" fmla="*/ 57 h 58"/>
                  <a:gd name="T28" fmla="*/ 54 w 56"/>
                  <a:gd name="T29" fmla="*/ 46 h 58"/>
                  <a:gd name="T30" fmla="*/ 55 w 56"/>
                  <a:gd name="T31" fmla="*/ 44 h 58"/>
                  <a:gd name="T32" fmla="*/ 52 w 56"/>
                  <a:gd name="T33" fmla="*/ 41 h 58"/>
                  <a:gd name="T34" fmla="*/ 50 w 56"/>
                  <a:gd name="T35" fmla="*/ 40 h 58"/>
                  <a:gd name="T36" fmla="*/ 48 w 56"/>
                  <a:gd name="T37" fmla="*/ 42 h 58"/>
                  <a:gd name="T38" fmla="*/ 48 w 56"/>
                  <a:gd name="T39" fmla="*/ 38 h 58"/>
                  <a:gd name="T40" fmla="*/ 47 w 56"/>
                  <a:gd name="T41" fmla="*/ 36 h 58"/>
                  <a:gd name="T42" fmla="*/ 44 w 56"/>
                  <a:gd name="T43" fmla="*/ 34 h 58"/>
                  <a:gd name="T44" fmla="*/ 42 w 56"/>
                  <a:gd name="T45" fmla="*/ 30 h 58"/>
                  <a:gd name="T46" fmla="*/ 42 w 56"/>
                  <a:gd name="T47" fmla="*/ 29 h 58"/>
                  <a:gd name="T48" fmla="*/ 43 w 56"/>
                  <a:gd name="T49" fmla="*/ 28 h 58"/>
                  <a:gd name="T50" fmla="*/ 38 w 56"/>
                  <a:gd name="T51" fmla="*/ 27 h 58"/>
                  <a:gd name="T52" fmla="*/ 38 w 56"/>
                  <a:gd name="T53" fmla="*/ 25 h 58"/>
                  <a:gd name="T54" fmla="*/ 36 w 56"/>
                  <a:gd name="T55" fmla="*/ 24 h 58"/>
                  <a:gd name="T56" fmla="*/ 37 w 56"/>
                  <a:gd name="T57" fmla="*/ 23 h 58"/>
                  <a:gd name="T58" fmla="*/ 35 w 56"/>
                  <a:gd name="T59" fmla="*/ 22 h 58"/>
                  <a:gd name="T60" fmla="*/ 34 w 56"/>
                  <a:gd name="T61" fmla="*/ 21 h 58"/>
                  <a:gd name="T62" fmla="*/ 31 w 56"/>
                  <a:gd name="T63" fmla="*/ 19 h 58"/>
                  <a:gd name="T64" fmla="*/ 30 w 56"/>
                  <a:gd name="T65" fmla="*/ 19 h 58"/>
                  <a:gd name="T66" fmla="*/ 25 w 56"/>
                  <a:gd name="T67" fmla="*/ 16 h 58"/>
                  <a:gd name="T68" fmla="*/ 21 w 56"/>
                  <a:gd name="T69" fmla="*/ 11 h 58"/>
                  <a:gd name="T70" fmla="*/ 16 w 56"/>
                  <a:gd name="T71" fmla="*/ 7 h 58"/>
                  <a:gd name="T72" fmla="*/ 12 w 56"/>
                  <a:gd name="T73" fmla="*/ 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6" h="58">
                    <a:moveTo>
                      <a:pt x="12" y="3"/>
                    </a:moveTo>
                    <a:cubicBezTo>
                      <a:pt x="9" y="3"/>
                      <a:pt x="7" y="3"/>
                      <a:pt x="4" y="2"/>
                    </a:cubicBezTo>
                    <a:cubicBezTo>
                      <a:pt x="2" y="1"/>
                      <a:pt x="0" y="0"/>
                      <a:pt x="2" y="3"/>
                    </a:cubicBezTo>
                    <a:cubicBezTo>
                      <a:pt x="3" y="5"/>
                      <a:pt x="4" y="8"/>
                      <a:pt x="6" y="9"/>
                    </a:cubicBezTo>
                    <a:cubicBezTo>
                      <a:pt x="8" y="10"/>
                      <a:pt x="10" y="11"/>
                      <a:pt x="11" y="13"/>
                    </a:cubicBezTo>
                    <a:cubicBezTo>
                      <a:pt x="12" y="14"/>
                      <a:pt x="12" y="16"/>
                      <a:pt x="13" y="17"/>
                    </a:cubicBezTo>
                    <a:cubicBezTo>
                      <a:pt x="15" y="18"/>
                      <a:pt x="16" y="18"/>
                      <a:pt x="17" y="19"/>
                    </a:cubicBezTo>
                    <a:cubicBezTo>
                      <a:pt x="19" y="21"/>
                      <a:pt x="19" y="24"/>
                      <a:pt x="20" y="26"/>
                    </a:cubicBezTo>
                    <a:cubicBezTo>
                      <a:pt x="21" y="27"/>
                      <a:pt x="22" y="28"/>
                      <a:pt x="22" y="28"/>
                    </a:cubicBezTo>
                    <a:cubicBezTo>
                      <a:pt x="24" y="30"/>
                      <a:pt x="25" y="31"/>
                      <a:pt x="26" y="33"/>
                    </a:cubicBezTo>
                    <a:cubicBezTo>
                      <a:pt x="28" y="36"/>
                      <a:pt x="28" y="39"/>
                      <a:pt x="30" y="42"/>
                    </a:cubicBezTo>
                    <a:cubicBezTo>
                      <a:pt x="34" y="45"/>
                      <a:pt x="37" y="49"/>
                      <a:pt x="41" y="52"/>
                    </a:cubicBezTo>
                    <a:cubicBezTo>
                      <a:pt x="43" y="54"/>
                      <a:pt x="44" y="55"/>
                      <a:pt x="46" y="57"/>
                    </a:cubicBezTo>
                    <a:cubicBezTo>
                      <a:pt x="47" y="57"/>
                      <a:pt x="53" y="58"/>
                      <a:pt x="54" y="57"/>
                    </a:cubicBezTo>
                    <a:cubicBezTo>
                      <a:pt x="55" y="56"/>
                      <a:pt x="53" y="48"/>
                      <a:pt x="54" y="46"/>
                    </a:cubicBezTo>
                    <a:cubicBezTo>
                      <a:pt x="54" y="45"/>
                      <a:pt x="56" y="45"/>
                      <a:pt x="55" y="44"/>
                    </a:cubicBezTo>
                    <a:cubicBezTo>
                      <a:pt x="54" y="43"/>
                      <a:pt x="53" y="42"/>
                      <a:pt x="52" y="41"/>
                    </a:cubicBezTo>
                    <a:cubicBezTo>
                      <a:pt x="52" y="41"/>
                      <a:pt x="51" y="40"/>
                      <a:pt x="50" y="40"/>
                    </a:cubicBezTo>
                    <a:cubicBezTo>
                      <a:pt x="49" y="40"/>
                      <a:pt x="49" y="42"/>
                      <a:pt x="48" y="42"/>
                    </a:cubicBezTo>
                    <a:cubicBezTo>
                      <a:pt x="49" y="42"/>
                      <a:pt x="48" y="38"/>
                      <a:pt x="48" y="38"/>
                    </a:cubicBezTo>
                    <a:cubicBezTo>
                      <a:pt x="47" y="37"/>
                      <a:pt x="47" y="37"/>
                      <a:pt x="47" y="36"/>
                    </a:cubicBezTo>
                    <a:cubicBezTo>
                      <a:pt x="47" y="35"/>
                      <a:pt x="45" y="34"/>
                      <a:pt x="44" y="34"/>
                    </a:cubicBezTo>
                    <a:cubicBezTo>
                      <a:pt x="43" y="33"/>
                      <a:pt x="41" y="32"/>
                      <a:pt x="42" y="30"/>
                    </a:cubicBezTo>
                    <a:cubicBezTo>
                      <a:pt x="42" y="30"/>
                      <a:pt x="41" y="29"/>
                      <a:pt x="42" y="29"/>
                    </a:cubicBezTo>
                    <a:cubicBezTo>
                      <a:pt x="42" y="28"/>
                      <a:pt x="43" y="29"/>
                      <a:pt x="43" y="28"/>
                    </a:cubicBezTo>
                    <a:cubicBezTo>
                      <a:pt x="44" y="26"/>
                      <a:pt x="38" y="26"/>
                      <a:pt x="38" y="27"/>
                    </a:cubicBezTo>
                    <a:cubicBezTo>
                      <a:pt x="38" y="26"/>
                      <a:pt x="42" y="25"/>
                      <a:pt x="38" y="25"/>
                    </a:cubicBezTo>
                    <a:cubicBezTo>
                      <a:pt x="37" y="25"/>
                      <a:pt x="36" y="24"/>
                      <a:pt x="36" y="24"/>
                    </a:cubicBezTo>
                    <a:cubicBezTo>
                      <a:pt x="36" y="23"/>
                      <a:pt x="37" y="23"/>
                      <a:pt x="37" y="23"/>
                    </a:cubicBezTo>
                    <a:cubicBezTo>
                      <a:pt x="37" y="22"/>
                      <a:pt x="35" y="22"/>
                      <a:pt x="35" y="22"/>
                    </a:cubicBezTo>
                    <a:cubicBezTo>
                      <a:pt x="35" y="22"/>
                      <a:pt x="36" y="21"/>
                      <a:pt x="34" y="21"/>
                    </a:cubicBezTo>
                    <a:cubicBezTo>
                      <a:pt x="33" y="20"/>
                      <a:pt x="32" y="20"/>
                      <a:pt x="31" y="19"/>
                    </a:cubicBezTo>
                    <a:cubicBezTo>
                      <a:pt x="28" y="15"/>
                      <a:pt x="30" y="19"/>
                      <a:pt x="30" y="19"/>
                    </a:cubicBezTo>
                    <a:cubicBezTo>
                      <a:pt x="29" y="19"/>
                      <a:pt x="26" y="16"/>
                      <a:pt x="25" y="16"/>
                    </a:cubicBezTo>
                    <a:cubicBezTo>
                      <a:pt x="24" y="14"/>
                      <a:pt x="23" y="12"/>
                      <a:pt x="21" y="11"/>
                    </a:cubicBezTo>
                    <a:cubicBezTo>
                      <a:pt x="19" y="10"/>
                      <a:pt x="18" y="9"/>
                      <a:pt x="16" y="7"/>
                    </a:cubicBezTo>
                    <a:cubicBezTo>
                      <a:pt x="15" y="6"/>
                      <a:pt x="14" y="3"/>
                      <a:pt x="12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2" name="Freeform 453">
                <a:extLst>
                  <a:ext uri="{FF2B5EF4-FFF2-40B4-BE49-F238E27FC236}">
                    <a16:creationId xmlns:a16="http://schemas.microsoft.com/office/drawing/2014/main" id="{D14F386F-B9B2-4EB1-B190-7453E5671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7168" y="4489459"/>
                <a:ext cx="23891" cy="23893"/>
              </a:xfrm>
              <a:custGeom>
                <a:avLst/>
                <a:gdLst>
                  <a:gd name="T0" fmla="*/ 4 w 5"/>
                  <a:gd name="T1" fmla="*/ 4 h 5"/>
                  <a:gd name="T2" fmla="*/ 1 w 5"/>
                  <a:gd name="T3" fmla="*/ 0 h 5"/>
                  <a:gd name="T4" fmla="*/ 4 w 5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4" y="4"/>
                    </a:moveTo>
                    <a:cubicBezTo>
                      <a:pt x="5" y="3"/>
                      <a:pt x="2" y="0"/>
                      <a:pt x="1" y="0"/>
                    </a:cubicBezTo>
                    <a:cubicBezTo>
                      <a:pt x="0" y="1"/>
                      <a:pt x="3" y="5"/>
                      <a:pt x="4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3" name="Freeform 454">
                <a:extLst>
                  <a:ext uri="{FF2B5EF4-FFF2-40B4-BE49-F238E27FC236}">
                    <a16:creationId xmlns:a16="http://schemas.microsoft.com/office/drawing/2014/main" id="{69CE84F9-B8D5-4625-A4C3-92B31F12F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00617" y="4545206"/>
                <a:ext cx="22299" cy="23893"/>
              </a:xfrm>
              <a:custGeom>
                <a:avLst/>
                <a:gdLst>
                  <a:gd name="T0" fmla="*/ 4 w 5"/>
                  <a:gd name="T1" fmla="*/ 4 h 5"/>
                  <a:gd name="T2" fmla="*/ 1 w 5"/>
                  <a:gd name="T3" fmla="*/ 0 h 5"/>
                  <a:gd name="T4" fmla="*/ 4 w 5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4" y="4"/>
                    </a:moveTo>
                    <a:cubicBezTo>
                      <a:pt x="5" y="3"/>
                      <a:pt x="2" y="0"/>
                      <a:pt x="1" y="0"/>
                    </a:cubicBezTo>
                    <a:cubicBezTo>
                      <a:pt x="0" y="1"/>
                      <a:pt x="3" y="5"/>
                      <a:pt x="4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4" name="Freeform 455">
                <a:extLst>
                  <a:ext uri="{FF2B5EF4-FFF2-40B4-BE49-F238E27FC236}">
                    <a16:creationId xmlns:a16="http://schemas.microsoft.com/office/drawing/2014/main" id="{1B7AA850-C76E-4C48-AB77-F20DFFB8C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8303" y="4559539"/>
                <a:ext cx="33448" cy="33448"/>
              </a:xfrm>
              <a:custGeom>
                <a:avLst/>
                <a:gdLst>
                  <a:gd name="T0" fmla="*/ 7 w 7"/>
                  <a:gd name="T1" fmla="*/ 7 h 7"/>
                  <a:gd name="T2" fmla="*/ 5 w 7"/>
                  <a:gd name="T3" fmla="*/ 3 h 7"/>
                  <a:gd name="T4" fmla="*/ 0 w 7"/>
                  <a:gd name="T5" fmla="*/ 1 h 7"/>
                  <a:gd name="T6" fmla="*/ 1 w 7"/>
                  <a:gd name="T7" fmla="*/ 3 h 7"/>
                  <a:gd name="T8" fmla="*/ 3 w 7"/>
                  <a:gd name="T9" fmla="*/ 5 h 7"/>
                  <a:gd name="T10" fmla="*/ 7 w 7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7"/>
                    </a:moveTo>
                    <a:cubicBezTo>
                      <a:pt x="7" y="5"/>
                      <a:pt x="5" y="5"/>
                      <a:pt x="5" y="3"/>
                    </a:cubicBezTo>
                    <a:cubicBezTo>
                      <a:pt x="5" y="1"/>
                      <a:pt x="2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3" y="3"/>
                      <a:pt x="2" y="4"/>
                      <a:pt x="3" y="5"/>
                    </a:cubicBezTo>
                    <a:cubicBezTo>
                      <a:pt x="3" y="6"/>
                      <a:pt x="7" y="7"/>
                      <a:pt x="7" y="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5" name="Freeform 456">
                <a:extLst>
                  <a:ext uri="{FF2B5EF4-FFF2-40B4-BE49-F238E27FC236}">
                    <a16:creationId xmlns:a16="http://schemas.microsoft.com/office/drawing/2014/main" id="{E48C2401-D52A-4E77-A649-9943077846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10864" y="4583432"/>
                <a:ext cx="17521" cy="17521"/>
              </a:xfrm>
              <a:custGeom>
                <a:avLst/>
                <a:gdLst>
                  <a:gd name="T0" fmla="*/ 2 w 4"/>
                  <a:gd name="T1" fmla="*/ 3 h 4"/>
                  <a:gd name="T2" fmla="*/ 2 w 4"/>
                  <a:gd name="T3" fmla="*/ 0 h 4"/>
                  <a:gd name="T4" fmla="*/ 2 w 4"/>
                  <a:gd name="T5" fmla="*/ 3 h 4"/>
                  <a:gd name="T6" fmla="*/ 2 w 4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2" y="3"/>
                    </a:moveTo>
                    <a:cubicBezTo>
                      <a:pt x="0" y="4"/>
                      <a:pt x="0" y="1"/>
                      <a:pt x="2" y="0"/>
                    </a:cubicBezTo>
                    <a:cubicBezTo>
                      <a:pt x="4" y="0"/>
                      <a:pt x="4" y="3"/>
                      <a:pt x="2" y="3"/>
                    </a:cubicBezTo>
                    <a:cubicBezTo>
                      <a:pt x="1" y="4"/>
                      <a:pt x="3" y="3"/>
                      <a:pt x="2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6" name="Freeform 457">
                <a:extLst>
                  <a:ext uri="{FF2B5EF4-FFF2-40B4-BE49-F238E27FC236}">
                    <a16:creationId xmlns:a16="http://schemas.microsoft.com/office/drawing/2014/main" id="{1E85DFA4-78AA-4FA1-934E-F72EE43BF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3079" y="4663070"/>
                <a:ext cx="215026" cy="70082"/>
              </a:xfrm>
              <a:custGeom>
                <a:avLst/>
                <a:gdLst>
                  <a:gd name="T0" fmla="*/ 9 w 46"/>
                  <a:gd name="T1" fmla="*/ 0 h 15"/>
                  <a:gd name="T2" fmla="*/ 3 w 46"/>
                  <a:gd name="T3" fmla="*/ 0 h 15"/>
                  <a:gd name="T4" fmla="*/ 0 w 46"/>
                  <a:gd name="T5" fmla="*/ 4 h 15"/>
                  <a:gd name="T6" fmla="*/ 5 w 46"/>
                  <a:gd name="T7" fmla="*/ 6 h 15"/>
                  <a:gd name="T8" fmla="*/ 11 w 46"/>
                  <a:gd name="T9" fmla="*/ 9 h 15"/>
                  <a:gd name="T10" fmla="*/ 15 w 46"/>
                  <a:gd name="T11" fmla="*/ 9 h 15"/>
                  <a:gd name="T12" fmla="*/ 24 w 46"/>
                  <a:gd name="T13" fmla="*/ 11 h 15"/>
                  <a:gd name="T14" fmla="*/ 40 w 46"/>
                  <a:gd name="T15" fmla="*/ 13 h 15"/>
                  <a:gd name="T16" fmla="*/ 45 w 46"/>
                  <a:gd name="T17" fmla="*/ 13 h 15"/>
                  <a:gd name="T18" fmla="*/ 43 w 46"/>
                  <a:gd name="T19" fmla="*/ 9 h 15"/>
                  <a:gd name="T20" fmla="*/ 41 w 46"/>
                  <a:gd name="T21" fmla="*/ 9 h 15"/>
                  <a:gd name="T22" fmla="*/ 37 w 46"/>
                  <a:gd name="T23" fmla="*/ 9 h 15"/>
                  <a:gd name="T24" fmla="*/ 35 w 46"/>
                  <a:gd name="T25" fmla="*/ 6 h 15"/>
                  <a:gd name="T26" fmla="*/ 32 w 46"/>
                  <a:gd name="T27" fmla="*/ 4 h 15"/>
                  <a:gd name="T28" fmla="*/ 27 w 46"/>
                  <a:gd name="T29" fmla="*/ 3 h 15"/>
                  <a:gd name="T30" fmla="*/ 25 w 46"/>
                  <a:gd name="T31" fmla="*/ 4 h 15"/>
                  <a:gd name="T32" fmla="*/ 21 w 46"/>
                  <a:gd name="T33" fmla="*/ 5 h 15"/>
                  <a:gd name="T34" fmla="*/ 15 w 46"/>
                  <a:gd name="T35" fmla="*/ 3 h 15"/>
                  <a:gd name="T36" fmla="*/ 11 w 46"/>
                  <a:gd name="T37" fmla="*/ 2 h 15"/>
                  <a:gd name="T38" fmla="*/ 9 w 46"/>
                  <a:gd name="T39" fmla="*/ 0 h 15"/>
                  <a:gd name="T40" fmla="*/ 9 w 46"/>
                  <a:gd name="T4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6" h="15">
                    <a:moveTo>
                      <a:pt x="9" y="0"/>
                    </a:moveTo>
                    <a:cubicBezTo>
                      <a:pt x="7" y="1"/>
                      <a:pt x="6" y="0"/>
                      <a:pt x="3" y="0"/>
                    </a:cubicBezTo>
                    <a:cubicBezTo>
                      <a:pt x="3" y="0"/>
                      <a:pt x="0" y="3"/>
                      <a:pt x="0" y="4"/>
                    </a:cubicBezTo>
                    <a:cubicBezTo>
                      <a:pt x="0" y="5"/>
                      <a:pt x="4" y="4"/>
                      <a:pt x="5" y="6"/>
                    </a:cubicBezTo>
                    <a:cubicBezTo>
                      <a:pt x="6" y="8"/>
                      <a:pt x="9" y="8"/>
                      <a:pt x="11" y="9"/>
                    </a:cubicBezTo>
                    <a:cubicBezTo>
                      <a:pt x="13" y="9"/>
                      <a:pt x="14" y="9"/>
                      <a:pt x="15" y="9"/>
                    </a:cubicBezTo>
                    <a:cubicBezTo>
                      <a:pt x="18" y="9"/>
                      <a:pt x="21" y="10"/>
                      <a:pt x="24" y="11"/>
                    </a:cubicBezTo>
                    <a:cubicBezTo>
                      <a:pt x="29" y="12"/>
                      <a:pt x="35" y="11"/>
                      <a:pt x="40" y="13"/>
                    </a:cubicBezTo>
                    <a:cubicBezTo>
                      <a:pt x="41" y="13"/>
                      <a:pt x="44" y="15"/>
                      <a:pt x="45" y="13"/>
                    </a:cubicBezTo>
                    <a:cubicBezTo>
                      <a:pt x="46" y="13"/>
                      <a:pt x="44" y="9"/>
                      <a:pt x="43" y="9"/>
                    </a:cubicBezTo>
                    <a:cubicBezTo>
                      <a:pt x="42" y="8"/>
                      <a:pt x="42" y="9"/>
                      <a:pt x="41" y="9"/>
                    </a:cubicBezTo>
                    <a:cubicBezTo>
                      <a:pt x="39" y="10"/>
                      <a:pt x="38" y="9"/>
                      <a:pt x="37" y="9"/>
                    </a:cubicBezTo>
                    <a:cubicBezTo>
                      <a:pt x="36" y="8"/>
                      <a:pt x="36" y="7"/>
                      <a:pt x="35" y="6"/>
                    </a:cubicBezTo>
                    <a:cubicBezTo>
                      <a:pt x="35" y="5"/>
                      <a:pt x="33" y="5"/>
                      <a:pt x="32" y="4"/>
                    </a:cubicBezTo>
                    <a:cubicBezTo>
                      <a:pt x="31" y="4"/>
                      <a:pt x="28" y="3"/>
                      <a:pt x="27" y="3"/>
                    </a:cubicBezTo>
                    <a:cubicBezTo>
                      <a:pt x="26" y="3"/>
                      <a:pt x="25" y="4"/>
                      <a:pt x="25" y="4"/>
                    </a:cubicBezTo>
                    <a:cubicBezTo>
                      <a:pt x="24" y="5"/>
                      <a:pt x="23" y="5"/>
                      <a:pt x="21" y="5"/>
                    </a:cubicBezTo>
                    <a:cubicBezTo>
                      <a:pt x="19" y="5"/>
                      <a:pt x="17" y="4"/>
                      <a:pt x="15" y="3"/>
                    </a:cubicBezTo>
                    <a:cubicBezTo>
                      <a:pt x="14" y="2"/>
                      <a:pt x="12" y="2"/>
                      <a:pt x="11" y="2"/>
                    </a:cubicBezTo>
                    <a:cubicBezTo>
                      <a:pt x="11" y="2"/>
                      <a:pt x="10" y="0"/>
                      <a:pt x="9" y="0"/>
                    </a:cubicBezTo>
                    <a:cubicBezTo>
                      <a:pt x="8" y="1"/>
                      <a:pt x="10" y="0"/>
                      <a:pt x="9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7" name="Freeform 458">
                <a:extLst>
                  <a:ext uri="{FF2B5EF4-FFF2-40B4-BE49-F238E27FC236}">
                    <a16:creationId xmlns:a16="http://schemas.microsoft.com/office/drawing/2014/main" id="{36AF5B21-945D-4759-B0CC-1C1AFFE183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2358" y="4680590"/>
                <a:ext cx="36633" cy="14335"/>
              </a:xfrm>
              <a:custGeom>
                <a:avLst/>
                <a:gdLst>
                  <a:gd name="T0" fmla="*/ 3 w 8"/>
                  <a:gd name="T1" fmla="*/ 3 h 3"/>
                  <a:gd name="T2" fmla="*/ 8 w 8"/>
                  <a:gd name="T3" fmla="*/ 1 h 3"/>
                  <a:gd name="T4" fmla="*/ 3 w 8"/>
                  <a:gd name="T5" fmla="*/ 3 h 3"/>
                  <a:gd name="T6" fmla="*/ 3 w 8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3">
                    <a:moveTo>
                      <a:pt x="3" y="3"/>
                    </a:moveTo>
                    <a:cubicBezTo>
                      <a:pt x="0" y="2"/>
                      <a:pt x="7" y="0"/>
                      <a:pt x="8" y="1"/>
                    </a:cubicBezTo>
                    <a:cubicBezTo>
                      <a:pt x="8" y="2"/>
                      <a:pt x="4" y="3"/>
                      <a:pt x="3" y="3"/>
                    </a:cubicBezTo>
                    <a:cubicBezTo>
                      <a:pt x="2" y="3"/>
                      <a:pt x="4" y="3"/>
                      <a:pt x="3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8" name="Freeform 459">
                <a:extLst>
                  <a:ext uri="{FF2B5EF4-FFF2-40B4-BE49-F238E27FC236}">
                    <a16:creationId xmlns:a16="http://schemas.microsoft.com/office/drawing/2014/main" id="{F904BF33-1388-40C2-8818-2DC9A93F7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3325" y="4714038"/>
                <a:ext cx="28669" cy="19114"/>
              </a:xfrm>
              <a:custGeom>
                <a:avLst/>
                <a:gdLst>
                  <a:gd name="T0" fmla="*/ 3 w 6"/>
                  <a:gd name="T1" fmla="*/ 0 h 4"/>
                  <a:gd name="T2" fmla="*/ 1 w 6"/>
                  <a:gd name="T3" fmla="*/ 1 h 4"/>
                  <a:gd name="T4" fmla="*/ 3 w 6"/>
                  <a:gd name="T5" fmla="*/ 4 h 4"/>
                  <a:gd name="T6" fmla="*/ 3 w 6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4">
                    <a:moveTo>
                      <a:pt x="3" y="0"/>
                    </a:moveTo>
                    <a:cubicBezTo>
                      <a:pt x="2" y="0"/>
                      <a:pt x="0" y="0"/>
                      <a:pt x="1" y="1"/>
                    </a:cubicBezTo>
                    <a:cubicBezTo>
                      <a:pt x="1" y="1"/>
                      <a:pt x="3" y="4"/>
                      <a:pt x="3" y="4"/>
                    </a:cubicBezTo>
                    <a:cubicBezTo>
                      <a:pt x="5" y="4"/>
                      <a:pt x="6" y="0"/>
                      <a:pt x="3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9" name="Freeform 460">
                <a:extLst>
                  <a:ext uri="{FF2B5EF4-FFF2-40B4-BE49-F238E27FC236}">
                    <a16:creationId xmlns:a16="http://schemas.microsoft.com/office/drawing/2014/main" id="{62551B7D-3313-46CF-A99B-C51A33864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1997" y="4718817"/>
                <a:ext cx="22299" cy="14335"/>
              </a:xfrm>
              <a:custGeom>
                <a:avLst/>
                <a:gdLst>
                  <a:gd name="T0" fmla="*/ 4 w 5"/>
                  <a:gd name="T1" fmla="*/ 1 h 3"/>
                  <a:gd name="T2" fmla="*/ 2 w 5"/>
                  <a:gd name="T3" fmla="*/ 0 h 3"/>
                  <a:gd name="T4" fmla="*/ 1 w 5"/>
                  <a:gd name="T5" fmla="*/ 2 h 3"/>
                  <a:gd name="T6" fmla="*/ 2 w 5"/>
                  <a:gd name="T7" fmla="*/ 2 h 3"/>
                  <a:gd name="T8" fmla="*/ 4 w 5"/>
                  <a:gd name="T9" fmla="*/ 1 h 3"/>
                  <a:gd name="T10" fmla="*/ 4 w 5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4" y="1"/>
                    </a:moveTo>
                    <a:cubicBezTo>
                      <a:pt x="4" y="1"/>
                      <a:pt x="3" y="0"/>
                      <a:pt x="2" y="0"/>
                    </a:cubicBezTo>
                    <a:cubicBezTo>
                      <a:pt x="2" y="1"/>
                      <a:pt x="0" y="2"/>
                      <a:pt x="1" y="2"/>
                    </a:cubicBezTo>
                    <a:cubicBezTo>
                      <a:pt x="1" y="2"/>
                      <a:pt x="2" y="3"/>
                      <a:pt x="2" y="2"/>
                    </a:cubicBezTo>
                    <a:cubicBezTo>
                      <a:pt x="3" y="2"/>
                      <a:pt x="5" y="2"/>
                      <a:pt x="4" y="1"/>
                    </a:cubicBezTo>
                    <a:cubicBezTo>
                      <a:pt x="4" y="1"/>
                      <a:pt x="5" y="2"/>
                      <a:pt x="4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0" name="Freeform 461">
                <a:extLst>
                  <a:ext uri="{FF2B5EF4-FFF2-40B4-BE49-F238E27FC236}">
                    <a16:creationId xmlns:a16="http://schemas.microsoft.com/office/drawing/2014/main" id="{64241A49-BFA3-4288-BA7F-11F158DC0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19517" y="4718817"/>
                <a:ext cx="33448" cy="19114"/>
              </a:xfrm>
              <a:custGeom>
                <a:avLst/>
                <a:gdLst>
                  <a:gd name="T0" fmla="*/ 2 w 7"/>
                  <a:gd name="T1" fmla="*/ 1 h 4"/>
                  <a:gd name="T2" fmla="*/ 2 w 7"/>
                  <a:gd name="T3" fmla="*/ 4 h 4"/>
                  <a:gd name="T4" fmla="*/ 6 w 7"/>
                  <a:gd name="T5" fmla="*/ 3 h 4"/>
                  <a:gd name="T6" fmla="*/ 5 w 7"/>
                  <a:gd name="T7" fmla="*/ 1 h 4"/>
                  <a:gd name="T8" fmla="*/ 2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2" y="1"/>
                    </a:moveTo>
                    <a:cubicBezTo>
                      <a:pt x="1" y="2"/>
                      <a:pt x="0" y="4"/>
                      <a:pt x="2" y="4"/>
                    </a:cubicBezTo>
                    <a:cubicBezTo>
                      <a:pt x="4" y="4"/>
                      <a:pt x="5" y="4"/>
                      <a:pt x="6" y="3"/>
                    </a:cubicBezTo>
                    <a:cubicBezTo>
                      <a:pt x="7" y="3"/>
                      <a:pt x="5" y="2"/>
                      <a:pt x="5" y="1"/>
                    </a:cubicBezTo>
                    <a:cubicBezTo>
                      <a:pt x="4" y="0"/>
                      <a:pt x="3" y="0"/>
                      <a:pt x="2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1" name="Freeform 462">
                <a:extLst>
                  <a:ext uri="{FF2B5EF4-FFF2-40B4-BE49-F238E27FC236}">
                    <a16:creationId xmlns:a16="http://schemas.microsoft.com/office/drawing/2014/main" id="{FD47AB7F-54B7-40BF-A33A-E7C359FEE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3408" y="4714038"/>
                <a:ext cx="38227" cy="23893"/>
              </a:xfrm>
              <a:custGeom>
                <a:avLst/>
                <a:gdLst>
                  <a:gd name="T0" fmla="*/ 1 w 8"/>
                  <a:gd name="T1" fmla="*/ 0 h 5"/>
                  <a:gd name="T2" fmla="*/ 0 w 8"/>
                  <a:gd name="T3" fmla="*/ 1 h 5"/>
                  <a:gd name="T4" fmla="*/ 2 w 8"/>
                  <a:gd name="T5" fmla="*/ 2 h 5"/>
                  <a:gd name="T6" fmla="*/ 2 w 8"/>
                  <a:gd name="T7" fmla="*/ 3 h 5"/>
                  <a:gd name="T8" fmla="*/ 7 w 8"/>
                  <a:gd name="T9" fmla="*/ 4 h 5"/>
                  <a:gd name="T10" fmla="*/ 7 w 8"/>
                  <a:gd name="T11" fmla="*/ 1 h 5"/>
                  <a:gd name="T12" fmla="*/ 1 w 8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5">
                    <a:moveTo>
                      <a:pt x="1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2" y="1"/>
                      <a:pt x="2" y="2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4"/>
                      <a:pt x="6" y="5"/>
                      <a:pt x="7" y="4"/>
                    </a:cubicBezTo>
                    <a:cubicBezTo>
                      <a:pt x="8" y="3"/>
                      <a:pt x="8" y="2"/>
                      <a:pt x="7" y="1"/>
                    </a:cubicBezTo>
                    <a:cubicBezTo>
                      <a:pt x="5" y="1"/>
                      <a:pt x="3" y="1"/>
                      <a:pt x="1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2" name="Freeform 463">
                <a:extLst>
                  <a:ext uri="{FF2B5EF4-FFF2-40B4-BE49-F238E27FC236}">
                    <a16:creationId xmlns:a16="http://schemas.microsoft.com/office/drawing/2014/main" id="{A76C6A44-A1FC-4CDA-90FC-CA0A074EAC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4377" y="4718817"/>
                <a:ext cx="57340" cy="19114"/>
              </a:xfrm>
              <a:custGeom>
                <a:avLst/>
                <a:gdLst>
                  <a:gd name="T0" fmla="*/ 2 w 12"/>
                  <a:gd name="T1" fmla="*/ 0 h 4"/>
                  <a:gd name="T2" fmla="*/ 0 w 12"/>
                  <a:gd name="T3" fmla="*/ 2 h 4"/>
                  <a:gd name="T4" fmla="*/ 12 w 12"/>
                  <a:gd name="T5" fmla="*/ 2 h 4"/>
                  <a:gd name="T6" fmla="*/ 9 w 12"/>
                  <a:gd name="T7" fmla="*/ 2 h 4"/>
                  <a:gd name="T8" fmla="*/ 2 w 12"/>
                  <a:gd name="T9" fmla="*/ 0 h 4"/>
                  <a:gd name="T10" fmla="*/ 2 w 1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">
                    <a:moveTo>
                      <a:pt x="2" y="0"/>
                    </a:moveTo>
                    <a:cubicBezTo>
                      <a:pt x="2" y="0"/>
                      <a:pt x="0" y="1"/>
                      <a:pt x="0" y="2"/>
                    </a:cubicBezTo>
                    <a:cubicBezTo>
                      <a:pt x="0" y="2"/>
                      <a:pt x="11" y="4"/>
                      <a:pt x="12" y="2"/>
                    </a:cubicBezTo>
                    <a:cubicBezTo>
                      <a:pt x="12" y="1"/>
                      <a:pt x="9" y="2"/>
                      <a:pt x="9" y="2"/>
                    </a:cubicBezTo>
                    <a:cubicBezTo>
                      <a:pt x="7" y="2"/>
                      <a:pt x="4" y="1"/>
                      <a:pt x="2" y="0"/>
                    </a:cubicBezTo>
                    <a:cubicBezTo>
                      <a:pt x="2" y="0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3" name="Freeform 464">
                <a:extLst>
                  <a:ext uri="{FF2B5EF4-FFF2-40B4-BE49-F238E27FC236}">
                    <a16:creationId xmlns:a16="http://schemas.microsoft.com/office/drawing/2014/main" id="{6F8BC68C-E545-494E-A94C-CCD1EC7969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6857" y="4745893"/>
                <a:ext cx="50968" cy="28669"/>
              </a:xfrm>
              <a:custGeom>
                <a:avLst/>
                <a:gdLst>
                  <a:gd name="T0" fmla="*/ 0 w 11"/>
                  <a:gd name="T1" fmla="*/ 0 h 6"/>
                  <a:gd name="T2" fmla="*/ 8 w 11"/>
                  <a:gd name="T3" fmla="*/ 4 h 6"/>
                  <a:gd name="T4" fmla="*/ 0 w 11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6">
                    <a:moveTo>
                      <a:pt x="0" y="0"/>
                    </a:moveTo>
                    <a:cubicBezTo>
                      <a:pt x="1" y="0"/>
                      <a:pt x="7" y="6"/>
                      <a:pt x="8" y="4"/>
                    </a:cubicBezTo>
                    <a:cubicBezTo>
                      <a:pt x="11" y="1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4" name="Freeform 465">
                <a:extLst>
                  <a:ext uri="{FF2B5EF4-FFF2-40B4-BE49-F238E27FC236}">
                    <a16:creationId xmlns:a16="http://schemas.microsoft.com/office/drawing/2014/main" id="{277D2559-DE7E-4FB6-BAEA-18FF1250F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39319" y="4596174"/>
                <a:ext cx="28669" cy="19114"/>
              </a:xfrm>
              <a:custGeom>
                <a:avLst/>
                <a:gdLst>
                  <a:gd name="T0" fmla="*/ 3 w 6"/>
                  <a:gd name="T1" fmla="*/ 3 h 4"/>
                  <a:gd name="T2" fmla="*/ 4 w 6"/>
                  <a:gd name="T3" fmla="*/ 0 h 4"/>
                  <a:gd name="T4" fmla="*/ 3 w 6"/>
                  <a:gd name="T5" fmla="*/ 3 h 4"/>
                  <a:gd name="T6" fmla="*/ 3 w 6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4">
                    <a:moveTo>
                      <a:pt x="3" y="3"/>
                    </a:moveTo>
                    <a:cubicBezTo>
                      <a:pt x="0" y="4"/>
                      <a:pt x="1" y="0"/>
                      <a:pt x="4" y="0"/>
                    </a:cubicBezTo>
                    <a:cubicBezTo>
                      <a:pt x="6" y="0"/>
                      <a:pt x="5" y="3"/>
                      <a:pt x="3" y="3"/>
                    </a:cubicBezTo>
                    <a:cubicBezTo>
                      <a:pt x="2" y="4"/>
                      <a:pt x="5" y="3"/>
                      <a:pt x="3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5" name="Freeform 466">
                <a:extLst>
                  <a:ext uri="{FF2B5EF4-FFF2-40B4-BE49-F238E27FC236}">
                    <a16:creationId xmlns:a16="http://schemas.microsoft.com/office/drawing/2014/main" id="{190AED37-E875-4C4C-8879-A99AE6BDD4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7103" y="4592988"/>
                <a:ext cx="70082" cy="22298"/>
              </a:xfrm>
              <a:custGeom>
                <a:avLst/>
                <a:gdLst>
                  <a:gd name="T0" fmla="*/ 2 w 15"/>
                  <a:gd name="T1" fmla="*/ 3 h 5"/>
                  <a:gd name="T2" fmla="*/ 1 w 15"/>
                  <a:gd name="T3" fmla="*/ 1 h 5"/>
                  <a:gd name="T4" fmla="*/ 5 w 15"/>
                  <a:gd name="T5" fmla="*/ 0 h 5"/>
                  <a:gd name="T6" fmla="*/ 13 w 15"/>
                  <a:gd name="T7" fmla="*/ 2 h 5"/>
                  <a:gd name="T8" fmla="*/ 15 w 15"/>
                  <a:gd name="T9" fmla="*/ 5 h 5"/>
                  <a:gd name="T10" fmla="*/ 11 w 15"/>
                  <a:gd name="T11" fmla="*/ 3 h 5"/>
                  <a:gd name="T12" fmla="*/ 2 w 15"/>
                  <a:gd name="T13" fmla="*/ 3 h 5"/>
                  <a:gd name="T14" fmla="*/ 2 w 15"/>
                  <a:gd name="T1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5">
                    <a:moveTo>
                      <a:pt x="2" y="3"/>
                    </a:moveTo>
                    <a:cubicBezTo>
                      <a:pt x="1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5" y="0"/>
                    </a:cubicBezTo>
                    <a:cubicBezTo>
                      <a:pt x="8" y="0"/>
                      <a:pt x="10" y="0"/>
                      <a:pt x="13" y="2"/>
                    </a:cubicBezTo>
                    <a:cubicBezTo>
                      <a:pt x="14" y="3"/>
                      <a:pt x="15" y="4"/>
                      <a:pt x="15" y="5"/>
                    </a:cubicBezTo>
                    <a:cubicBezTo>
                      <a:pt x="14" y="5"/>
                      <a:pt x="11" y="3"/>
                      <a:pt x="11" y="3"/>
                    </a:cubicBezTo>
                    <a:cubicBezTo>
                      <a:pt x="8" y="2"/>
                      <a:pt x="5" y="3"/>
                      <a:pt x="2" y="3"/>
                    </a:cubicBezTo>
                    <a:cubicBezTo>
                      <a:pt x="1" y="3"/>
                      <a:pt x="3" y="3"/>
                      <a:pt x="2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6" name="Freeform 467">
                <a:extLst>
                  <a:ext uri="{FF2B5EF4-FFF2-40B4-BE49-F238E27FC236}">
                    <a16:creationId xmlns:a16="http://schemas.microsoft.com/office/drawing/2014/main" id="{A50ABFB0-02C7-4C1B-BDCB-D08EA6893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2077" y="4484678"/>
                <a:ext cx="149721" cy="168834"/>
              </a:xfrm>
              <a:custGeom>
                <a:avLst/>
                <a:gdLst>
                  <a:gd name="T0" fmla="*/ 13 w 32"/>
                  <a:gd name="T1" fmla="*/ 32 h 36"/>
                  <a:gd name="T2" fmla="*/ 14 w 32"/>
                  <a:gd name="T3" fmla="*/ 30 h 36"/>
                  <a:gd name="T4" fmla="*/ 11 w 32"/>
                  <a:gd name="T5" fmla="*/ 28 h 36"/>
                  <a:gd name="T6" fmla="*/ 12 w 32"/>
                  <a:gd name="T7" fmla="*/ 23 h 36"/>
                  <a:gd name="T8" fmla="*/ 8 w 32"/>
                  <a:gd name="T9" fmla="*/ 23 h 36"/>
                  <a:gd name="T10" fmla="*/ 8 w 32"/>
                  <a:gd name="T11" fmla="*/ 29 h 36"/>
                  <a:gd name="T12" fmla="*/ 8 w 32"/>
                  <a:gd name="T13" fmla="*/ 30 h 36"/>
                  <a:gd name="T14" fmla="*/ 7 w 32"/>
                  <a:gd name="T15" fmla="*/ 34 h 36"/>
                  <a:gd name="T16" fmla="*/ 4 w 32"/>
                  <a:gd name="T17" fmla="*/ 36 h 36"/>
                  <a:gd name="T18" fmla="*/ 4 w 32"/>
                  <a:gd name="T19" fmla="*/ 31 h 36"/>
                  <a:gd name="T20" fmla="*/ 2 w 32"/>
                  <a:gd name="T21" fmla="*/ 26 h 36"/>
                  <a:gd name="T22" fmla="*/ 1 w 32"/>
                  <a:gd name="T23" fmla="*/ 21 h 36"/>
                  <a:gd name="T24" fmla="*/ 3 w 32"/>
                  <a:gd name="T25" fmla="*/ 14 h 36"/>
                  <a:gd name="T26" fmla="*/ 9 w 32"/>
                  <a:gd name="T27" fmla="*/ 5 h 36"/>
                  <a:gd name="T28" fmla="*/ 11 w 32"/>
                  <a:gd name="T29" fmla="*/ 2 h 36"/>
                  <a:gd name="T30" fmla="*/ 18 w 32"/>
                  <a:gd name="T31" fmla="*/ 4 h 36"/>
                  <a:gd name="T32" fmla="*/ 25 w 32"/>
                  <a:gd name="T33" fmla="*/ 4 h 36"/>
                  <a:gd name="T34" fmla="*/ 32 w 32"/>
                  <a:gd name="T35" fmla="*/ 1 h 36"/>
                  <a:gd name="T36" fmla="*/ 29 w 32"/>
                  <a:gd name="T37" fmla="*/ 6 h 36"/>
                  <a:gd name="T38" fmla="*/ 23 w 32"/>
                  <a:gd name="T39" fmla="*/ 7 h 36"/>
                  <a:gd name="T40" fmla="*/ 10 w 32"/>
                  <a:gd name="T41" fmla="*/ 7 h 36"/>
                  <a:gd name="T42" fmla="*/ 6 w 32"/>
                  <a:gd name="T43" fmla="*/ 10 h 36"/>
                  <a:gd name="T44" fmla="*/ 10 w 32"/>
                  <a:gd name="T45" fmla="*/ 15 h 36"/>
                  <a:gd name="T46" fmla="*/ 13 w 32"/>
                  <a:gd name="T47" fmla="*/ 14 h 36"/>
                  <a:gd name="T48" fmla="*/ 20 w 32"/>
                  <a:gd name="T49" fmla="*/ 13 h 36"/>
                  <a:gd name="T50" fmla="*/ 17 w 32"/>
                  <a:gd name="T51" fmla="*/ 16 h 36"/>
                  <a:gd name="T52" fmla="*/ 13 w 32"/>
                  <a:gd name="T53" fmla="*/ 17 h 36"/>
                  <a:gd name="T54" fmla="*/ 14 w 32"/>
                  <a:gd name="T55" fmla="*/ 20 h 36"/>
                  <a:gd name="T56" fmla="*/ 18 w 32"/>
                  <a:gd name="T57" fmla="*/ 25 h 36"/>
                  <a:gd name="T58" fmla="*/ 19 w 32"/>
                  <a:gd name="T59" fmla="*/ 28 h 36"/>
                  <a:gd name="T60" fmla="*/ 22 w 32"/>
                  <a:gd name="T61" fmla="*/ 30 h 36"/>
                  <a:gd name="T62" fmla="*/ 13 w 32"/>
                  <a:gd name="T63" fmla="*/ 32 h 36"/>
                  <a:gd name="T64" fmla="*/ 13 w 32"/>
                  <a:gd name="T65" fmla="*/ 3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" h="36">
                    <a:moveTo>
                      <a:pt x="13" y="32"/>
                    </a:moveTo>
                    <a:cubicBezTo>
                      <a:pt x="13" y="31"/>
                      <a:pt x="14" y="31"/>
                      <a:pt x="14" y="30"/>
                    </a:cubicBezTo>
                    <a:cubicBezTo>
                      <a:pt x="14" y="29"/>
                      <a:pt x="12" y="28"/>
                      <a:pt x="11" y="28"/>
                    </a:cubicBezTo>
                    <a:cubicBezTo>
                      <a:pt x="10" y="26"/>
                      <a:pt x="12" y="25"/>
                      <a:pt x="12" y="23"/>
                    </a:cubicBezTo>
                    <a:cubicBezTo>
                      <a:pt x="12" y="22"/>
                      <a:pt x="8" y="22"/>
                      <a:pt x="8" y="23"/>
                    </a:cubicBezTo>
                    <a:cubicBezTo>
                      <a:pt x="7" y="25"/>
                      <a:pt x="8" y="27"/>
                      <a:pt x="8" y="29"/>
                    </a:cubicBezTo>
                    <a:cubicBezTo>
                      <a:pt x="7" y="29"/>
                      <a:pt x="8" y="30"/>
                      <a:pt x="8" y="30"/>
                    </a:cubicBezTo>
                    <a:cubicBezTo>
                      <a:pt x="8" y="32"/>
                      <a:pt x="7" y="33"/>
                      <a:pt x="7" y="34"/>
                    </a:cubicBezTo>
                    <a:cubicBezTo>
                      <a:pt x="6" y="36"/>
                      <a:pt x="7" y="36"/>
                      <a:pt x="4" y="36"/>
                    </a:cubicBezTo>
                    <a:cubicBezTo>
                      <a:pt x="1" y="36"/>
                      <a:pt x="4" y="32"/>
                      <a:pt x="4" y="31"/>
                    </a:cubicBezTo>
                    <a:cubicBezTo>
                      <a:pt x="5" y="30"/>
                      <a:pt x="4" y="27"/>
                      <a:pt x="2" y="26"/>
                    </a:cubicBezTo>
                    <a:cubicBezTo>
                      <a:pt x="0" y="25"/>
                      <a:pt x="0" y="23"/>
                      <a:pt x="1" y="21"/>
                    </a:cubicBezTo>
                    <a:cubicBezTo>
                      <a:pt x="2" y="19"/>
                      <a:pt x="2" y="16"/>
                      <a:pt x="3" y="14"/>
                    </a:cubicBezTo>
                    <a:cubicBezTo>
                      <a:pt x="5" y="11"/>
                      <a:pt x="4" y="5"/>
                      <a:pt x="9" y="5"/>
                    </a:cubicBezTo>
                    <a:cubicBezTo>
                      <a:pt x="10" y="5"/>
                      <a:pt x="9" y="2"/>
                      <a:pt x="11" y="2"/>
                    </a:cubicBezTo>
                    <a:cubicBezTo>
                      <a:pt x="14" y="3"/>
                      <a:pt x="16" y="4"/>
                      <a:pt x="18" y="4"/>
                    </a:cubicBezTo>
                    <a:cubicBezTo>
                      <a:pt x="20" y="4"/>
                      <a:pt x="23" y="5"/>
                      <a:pt x="25" y="4"/>
                    </a:cubicBezTo>
                    <a:cubicBezTo>
                      <a:pt x="26" y="4"/>
                      <a:pt x="32" y="0"/>
                      <a:pt x="32" y="1"/>
                    </a:cubicBezTo>
                    <a:cubicBezTo>
                      <a:pt x="32" y="2"/>
                      <a:pt x="29" y="5"/>
                      <a:pt x="29" y="6"/>
                    </a:cubicBezTo>
                    <a:cubicBezTo>
                      <a:pt x="27" y="7"/>
                      <a:pt x="25" y="7"/>
                      <a:pt x="23" y="7"/>
                    </a:cubicBezTo>
                    <a:cubicBezTo>
                      <a:pt x="18" y="6"/>
                      <a:pt x="14" y="7"/>
                      <a:pt x="10" y="7"/>
                    </a:cubicBezTo>
                    <a:cubicBezTo>
                      <a:pt x="7" y="6"/>
                      <a:pt x="6" y="7"/>
                      <a:pt x="6" y="10"/>
                    </a:cubicBezTo>
                    <a:cubicBezTo>
                      <a:pt x="6" y="13"/>
                      <a:pt x="9" y="13"/>
                      <a:pt x="10" y="15"/>
                    </a:cubicBezTo>
                    <a:cubicBezTo>
                      <a:pt x="11" y="17"/>
                      <a:pt x="12" y="15"/>
                      <a:pt x="13" y="14"/>
                    </a:cubicBezTo>
                    <a:cubicBezTo>
                      <a:pt x="13" y="13"/>
                      <a:pt x="20" y="12"/>
                      <a:pt x="20" y="13"/>
                    </a:cubicBezTo>
                    <a:cubicBezTo>
                      <a:pt x="21" y="13"/>
                      <a:pt x="18" y="16"/>
                      <a:pt x="17" y="16"/>
                    </a:cubicBezTo>
                    <a:cubicBezTo>
                      <a:pt x="15" y="18"/>
                      <a:pt x="15" y="18"/>
                      <a:pt x="13" y="17"/>
                    </a:cubicBezTo>
                    <a:cubicBezTo>
                      <a:pt x="13" y="17"/>
                      <a:pt x="14" y="20"/>
                      <a:pt x="14" y="20"/>
                    </a:cubicBezTo>
                    <a:cubicBezTo>
                      <a:pt x="15" y="21"/>
                      <a:pt x="18" y="23"/>
                      <a:pt x="18" y="25"/>
                    </a:cubicBezTo>
                    <a:cubicBezTo>
                      <a:pt x="18" y="26"/>
                      <a:pt x="18" y="27"/>
                      <a:pt x="19" y="28"/>
                    </a:cubicBezTo>
                    <a:cubicBezTo>
                      <a:pt x="19" y="28"/>
                      <a:pt x="21" y="30"/>
                      <a:pt x="22" y="30"/>
                    </a:cubicBezTo>
                    <a:cubicBezTo>
                      <a:pt x="20" y="31"/>
                      <a:pt x="15" y="33"/>
                      <a:pt x="13" y="32"/>
                    </a:cubicBezTo>
                    <a:cubicBezTo>
                      <a:pt x="13" y="31"/>
                      <a:pt x="14" y="33"/>
                      <a:pt x="13" y="3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7" name="Freeform 468">
                <a:extLst>
                  <a:ext uri="{FF2B5EF4-FFF2-40B4-BE49-F238E27FC236}">
                    <a16:creationId xmlns:a16="http://schemas.microsoft.com/office/drawing/2014/main" id="{08906AEF-F8C5-402C-8C49-906CB51DF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2768" y="4475123"/>
                <a:ext cx="36633" cy="70082"/>
              </a:xfrm>
              <a:custGeom>
                <a:avLst/>
                <a:gdLst>
                  <a:gd name="T0" fmla="*/ 3 w 8"/>
                  <a:gd name="T1" fmla="*/ 2 h 15"/>
                  <a:gd name="T2" fmla="*/ 3 w 8"/>
                  <a:gd name="T3" fmla="*/ 0 h 15"/>
                  <a:gd name="T4" fmla="*/ 0 w 8"/>
                  <a:gd name="T5" fmla="*/ 4 h 15"/>
                  <a:gd name="T6" fmla="*/ 1 w 8"/>
                  <a:gd name="T7" fmla="*/ 8 h 15"/>
                  <a:gd name="T8" fmla="*/ 2 w 8"/>
                  <a:gd name="T9" fmla="*/ 12 h 15"/>
                  <a:gd name="T10" fmla="*/ 5 w 8"/>
                  <a:gd name="T11" fmla="*/ 15 h 15"/>
                  <a:gd name="T12" fmla="*/ 4 w 8"/>
                  <a:gd name="T13" fmla="*/ 13 h 15"/>
                  <a:gd name="T14" fmla="*/ 3 w 8"/>
                  <a:gd name="T15" fmla="*/ 9 h 15"/>
                  <a:gd name="T16" fmla="*/ 7 w 8"/>
                  <a:gd name="T17" fmla="*/ 9 h 15"/>
                  <a:gd name="T18" fmla="*/ 5 w 8"/>
                  <a:gd name="T19" fmla="*/ 7 h 15"/>
                  <a:gd name="T20" fmla="*/ 6 w 8"/>
                  <a:gd name="T21" fmla="*/ 5 h 15"/>
                  <a:gd name="T22" fmla="*/ 2 w 8"/>
                  <a:gd name="T23" fmla="*/ 6 h 15"/>
                  <a:gd name="T24" fmla="*/ 3 w 8"/>
                  <a:gd name="T25" fmla="*/ 2 h 15"/>
                  <a:gd name="T26" fmla="*/ 3 w 8"/>
                  <a:gd name="T27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15">
                    <a:moveTo>
                      <a:pt x="3" y="2"/>
                    </a:moveTo>
                    <a:cubicBezTo>
                      <a:pt x="3" y="1"/>
                      <a:pt x="3" y="1"/>
                      <a:pt x="3" y="0"/>
                    </a:cubicBezTo>
                    <a:cubicBezTo>
                      <a:pt x="2" y="0"/>
                      <a:pt x="0" y="3"/>
                      <a:pt x="0" y="4"/>
                    </a:cubicBezTo>
                    <a:cubicBezTo>
                      <a:pt x="0" y="5"/>
                      <a:pt x="1" y="6"/>
                      <a:pt x="1" y="8"/>
                    </a:cubicBezTo>
                    <a:cubicBezTo>
                      <a:pt x="1" y="9"/>
                      <a:pt x="1" y="11"/>
                      <a:pt x="2" y="12"/>
                    </a:cubicBezTo>
                    <a:cubicBezTo>
                      <a:pt x="2" y="12"/>
                      <a:pt x="5" y="15"/>
                      <a:pt x="5" y="15"/>
                    </a:cubicBezTo>
                    <a:cubicBezTo>
                      <a:pt x="5" y="15"/>
                      <a:pt x="4" y="13"/>
                      <a:pt x="4" y="13"/>
                    </a:cubicBezTo>
                    <a:cubicBezTo>
                      <a:pt x="3" y="12"/>
                      <a:pt x="3" y="10"/>
                      <a:pt x="3" y="9"/>
                    </a:cubicBezTo>
                    <a:cubicBezTo>
                      <a:pt x="3" y="8"/>
                      <a:pt x="7" y="9"/>
                      <a:pt x="7" y="9"/>
                    </a:cubicBezTo>
                    <a:cubicBezTo>
                      <a:pt x="8" y="9"/>
                      <a:pt x="6" y="8"/>
                      <a:pt x="5" y="7"/>
                    </a:cubicBezTo>
                    <a:cubicBezTo>
                      <a:pt x="5" y="7"/>
                      <a:pt x="6" y="6"/>
                      <a:pt x="6" y="5"/>
                    </a:cubicBezTo>
                    <a:cubicBezTo>
                      <a:pt x="7" y="1"/>
                      <a:pt x="3" y="6"/>
                      <a:pt x="2" y="6"/>
                    </a:cubicBezTo>
                    <a:cubicBezTo>
                      <a:pt x="2" y="6"/>
                      <a:pt x="4" y="3"/>
                      <a:pt x="3" y="2"/>
                    </a:cubicBezTo>
                    <a:cubicBezTo>
                      <a:pt x="3" y="1"/>
                      <a:pt x="4" y="3"/>
                      <a:pt x="3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8" name="Freeform 469">
                <a:extLst>
                  <a:ext uri="{FF2B5EF4-FFF2-40B4-BE49-F238E27FC236}">
                    <a16:creationId xmlns:a16="http://schemas.microsoft.com/office/drawing/2014/main" id="{A5257886-D0F5-48B8-A159-AAA9C8416B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1881" y="4465566"/>
                <a:ext cx="12742" cy="9557"/>
              </a:xfrm>
              <a:custGeom>
                <a:avLst/>
                <a:gdLst>
                  <a:gd name="T0" fmla="*/ 1 w 3"/>
                  <a:gd name="T1" fmla="*/ 2 h 2"/>
                  <a:gd name="T2" fmla="*/ 2 w 3"/>
                  <a:gd name="T3" fmla="*/ 0 h 2"/>
                  <a:gd name="T4" fmla="*/ 1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cubicBezTo>
                      <a:pt x="0" y="2"/>
                      <a:pt x="1" y="0"/>
                      <a:pt x="2" y="0"/>
                    </a:cubicBezTo>
                    <a:cubicBezTo>
                      <a:pt x="3" y="0"/>
                      <a:pt x="2" y="2"/>
                      <a:pt x="1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9" name="Freeform 470">
                <a:extLst>
                  <a:ext uri="{FF2B5EF4-FFF2-40B4-BE49-F238E27FC236}">
                    <a16:creationId xmlns:a16="http://schemas.microsoft.com/office/drawing/2014/main" id="{89EB5EDE-E618-48EF-BE58-F3B25E33C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2851" y="4526092"/>
                <a:ext cx="22299" cy="9557"/>
              </a:xfrm>
              <a:custGeom>
                <a:avLst/>
                <a:gdLst>
                  <a:gd name="T0" fmla="*/ 5 w 5"/>
                  <a:gd name="T1" fmla="*/ 1 h 2"/>
                  <a:gd name="T2" fmla="*/ 0 w 5"/>
                  <a:gd name="T3" fmla="*/ 1 h 2"/>
                  <a:gd name="T4" fmla="*/ 5 w 5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">
                    <a:moveTo>
                      <a:pt x="5" y="1"/>
                    </a:moveTo>
                    <a:cubicBezTo>
                      <a:pt x="5" y="0"/>
                      <a:pt x="0" y="0"/>
                      <a:pt x="0" y="1"/>
                    </a:cubicBezTo>
                    <a:cubicBezTo>
                      <a:pt x="0" y="1"/>
                      <a:pt x="5" y="2"/>
                      <a:pt x="5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0" name="Freeform 471">
                <a:extLst>
                  <a:ext uri="{FF2B5EF4-FFF2-40B4-BE49-F238E27FC236}">
                    <a16:creationId xmlns:a16="http://schemas.microsoft.com/office/drawing/2014/main" id="{ECFA2B96-1DF9-417A-871B-7DCD96F755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7629" y="4530869"/>
                <a:ext cx="87603" cy="52562"/>
              </a:xfrm>
              <a:custGeom>
                <a:avLst/>
                <a:gdLst>
                  <a:gd name="T0" fmla="*/ 10 w 19"/>
                  <a:gd name="T1" fmla="*/ 1 h 11"/>
                  <a:gd name="T2" fmla="*/ 4 w 19"/>
                  <a:gd name="T3" fmla="*/ 3 h 11"/>
                  <a:gd name="T4" fmla="*/ 3 w 19"/>
                  <a:gd name="T5" fmla="*/ 4 h 11"/>
                  <a:gd name="T6" fmla="*/ 1 w 19"/>
                  <a:gd name="T7" fmla="*/ 3 h 11"/>
                  <a:gd name="T8" fmla="*/ 3 w 19"/>
                  <a:gd name="T9" fmla="*/ 6 h 11"/>
                  <a:gd name="T10" fmla="*/ 6 w 19"/>
                  <a:gd name="T11" fmla="*/ 7 h 11"/>
                  <a:gd name="T12" fmla="*/ 9 w 19"/>
                  <a:gd name="T13" fmla="*/ 10 h 11"/>
                  <a:gd name="T14" fmla="*/ 14 w 19"/>
                  <a:gd name="T15" fmla="*/ 10 h 11"/>
                  <a:gd name="T16" fmla="*/ 18 w 19"/>
                  <a:gd name="T17" fmla="*/ 5 h 11"/>
                  <a:gd name="T18" fmla="*/ 15 w 19"/>
                  <a:gd name="T19" fmla="*/ 2 h 11"/>
                  <a:gd name="T20" fmla="*/ 10 w 19"/>
                  <a:gd name="T21" fmla="*/ 1 h 11"/>
                  <a:gd name="T22" fmla="*/ 10 w 19"/>
                  <a:gd name="T23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" h="11">
                    <a:moveTo>
                      <a:pt x="10" y="1"/>
                    </a:moveTo>
                    <a:cubicBezTo>
                      <a:pt x="9" y="0"/>
                      <a:pt x="5" y="2"/>
                      <a:pt x="4" y="3"/>
                    </a:cubicBezTo>
                    <a:cubicBezTo>
                      <a:pt x="3" y="3"/>
                      <a:pt x="4" y="3"/>
                      <a:pt x="3" y="4"/>
                    </a:cubicBezTo>
                    <a:cubicBezTo>
                      <a:pt x="3" y="5"/>
                      <a:pt x="2" y="3"/>
                      <a:pt x="1" y="3"/>
                    </a:cubicBezTo>
                    <a:cubicBezTo>
                      <a:pt x="0" y="3"/>
                      <a:pt x="2" y="6"/>
                      <a:pt x="3" y="6"/>
                    </a:cubicBezTo>
                    <a:cubicBezTo>
                      <a:pt x="3" y="7"/>
                      <a:pt x="5" y="7"/>
                      <a:pt x="6" y="7"/>
                    </a:cubicBezTo>
                    <a:cubicBezTo>
                      <a:pt x="8" y="7"/>
                      <a:pt x="8" y="9"/>
                      <a:pt x="9" y="10"/>
                    </a:cubicBezTo>
                    <a:cubicBezTo>
                      <a:pt x="10" y="11"/>
                      <a:pt x="13" y="10"/>
                      <a:pt x="14" y="10"/>
                    </a:cubicBezTo>
                    <a:cubicBezTo>
                      <a:pt x="18" y="10"/>
                      <a:pt x="19" y="8"/>
                      <a:pt x="18" y="5"/>
                    </a:cubicBezTo>
                    <a:cubicBezTo>
                      <a:pt x="18" y="3"/>
                      <a:pt x="17" y="2"/>
                      <a:pt x="15" y="2"/>
                    </a:cubicBezTo>
                    <a:cubicBezTo>
                      <a:pt x="14" y="2"/>
                      <a:pt x="12" y="1"/>
                      <a:pt x="10" y="1"/>
                    </a:cubicBezTo>
                    <a:cubicBezTo>
                      <a:pt x="10" y="1"/>
                      <a:pt x="11" y="1"/>
                      <a:pt x="10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1" name="Freeform 472">
                <a:extLst>
                  <a:ext uri="{FF2B5EF4-FFF2-40B4-BE49-F238E27FC236}">
                    <a16:creationId xmlns:a16="http://schemas.microsoft.com/office/drawing/2014/main" id="{17AF7C01-59D7-44F1-A768-91E1DD1F8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63343" y="4620065"/>
                <a:ext cx="97159" cy="55747"/>
              </a:xfrm>
              <a:custGeom>
                <a:avLst/>
                <a:gdLst>
                  <a:gd name="T0" fmla="*/ 0 w 21"/>
                  <a:gd name="T1" fmla="*/ 8 h 12"/>
                  <a:gd name="T2" fmla="*/ 6 w 21"/>
                  <a:gd name="T3" fmla="*/ 8 h 12"/>
                  <a:gd name="T4" fmla="*/ 9 w 21"/>
                  <a:gd name="T5" fmla="*/ 7 h 12"/>
                  <a:gd name="T6" fmla="*/ 13 w 21"/>
                  <a:gd name="T7" fmla="*/ 7 h 12"/>
                  <a:gd name="T8" fmla="*/ 14 w 21"/>
                  <a:gd name="T9" fmla="*/ 5 h 12"/>
                  <a:gd name="T10" fmla="*/ 17 w 21"/>
                  <a:gd name="T11" fmla="*/ 3 h 12"/>
                  <a:gd name="T12" fmla="*/ 20 w 21"/>
                  <a:gd name="T13" fmla="*/ 4 h 12"/>
                  <a:gd name="T14" fmla="*/ 18 w 21"/>
                  <a:gd name="T15" fmla="*/ 7 h 12"/>
                  <a:gd name="T16" fmla="*/ 11 w 21"/>
                  <a:gd name="T17" fmla="*/ 11 h 12"/>
                  <a:gd name="T18" fmla="*/ 0 w 21"/>
                  <a:gd name="T19" fmla="*/ 8 h 12"/>
                  <a:gd name="T20" fmla="*/ 0 w 21"/>
                  <a:gd name="T21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12">
                    <a:moveTo>
                      <a:pt x="0" y="8"/>
                    </a:moveTo>
                    <a:cubicBezTo>
                      <a:pt x="1" y="7"/>
                      <a:pt x="5" y="8"/>
                      <a:pt x="6" y="8"/>
                    </a:cubicBezTo>
                    <a:cubicBezTo>
                      <a:pt x="7" y="8"/>
                      <a:pt x="8" y="6"/>
                      <a:pt x="9" y="7"/>
                    </a:cubicBezTo>
                    <a:cubicBezTo>
                      <a:pt x="10" y="8"/>
                      <a:pt x="12" y="8"/>
                      <a:pt x="13" y="7"/>
                    </a:cubicBezTo>
                    <a:cubicBezTo>
                      <a:pt x="13" y="6"/>
                      <a:pt x="14" y="5"/>
                      <a:pt x="14" y="5"/>
                    </a:cubicBezTo>
                    <a:cubicBezTo>
                      <a:pt x="15" y="5"/>
                      <a:pt x="17" y="5"/>
                      <a:pt x="17" y="3"/>
                    </a:cubicBezTo>
                    <a:cubicBezTo>
                      <a:pt x="17" y="0"/>
                      <a:pt x="21" y="2"/>
                      <a:pt x="20" y="4"/>
                    </a:cubicBezTo>
                    <a:cubicBezTo>
                      <a:pt x="19" y="5"/>
                      <a:pt x="18" y="7"/>
                      <a:pt x="18" y="7"/>
                    </a:cubicBezTo>
                    <a:cubicBezTo>
                      <a:pt x="15" y="8"/>
                      <a:pt x="14" y="10"/>
                      <a:pt x="11" y="11"/>
                    </a:cubicBezTo>
                    <a:cubicBezTo>
                      <a:pt x="9" y="12"/>
                      <a:pt x="0" y="11"/>
                      <a:pt x="0" y="8"/>
                    </a:cubicBezTo>
                    <a:cubicBezTo>
                      <a:pt x="0" y="7"/>
                      <a:pt x="0" y="10"/>
                      <a:pt x="0" y="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2" name="Freeform 473">
                <a:extLst>
                  <a:ext uri="{FF2B5EF4-FFF2-40B4-BE49-F238E27FC236}">
                    <a16:creationId xmlns:a16="http://schemas.microsoft.com/office/drawing/2014/main" id="{0EC4A9DF-6E0F-492D-B2A1-E015A7BC7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03507" y="4648734"/>
                <a:ext cx="41412" cy="50968"/>
              </a:xfrm>
              <a:custGeom>
                <a:avLst/>
                <a:gdLst>
                  <a:gd name="T0" fmla="*/ 1 w 9"/>
                  <a:gd name="T1" fmla="*/ 0 h 11"/>
                  <a:gd name="T2" fmla="*/ 8 w 9"/>
                  <a:gd name="T3" fmla="*/ 8 h 11"/>
                  <a:gd name="T4" fmla="*/ 5 w 9"/>
                  <a:gd name="T5" fmla="*/ 4 h 11"/>
                  <a:gd name="T6" fmla="*/ 1 w 9"/>
                  <a:gd name="T7" fmla="*/ 0 h 11"/>
                  <a:gd name="T8" fmla="*/ 1 w 9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1" y="0"/>
                    </a:moveTo>
                    <a:cubicBezTo>
                      <a:pt x="0" y="1"/>
                      <a:pt x="5" y="11"/>
                      <a:pt x="8" y="8"/>
                    </a:cubicBezTo>
                    <a:cubicBezTo>
                      <a:pt x="9" y="6"/>
                      <a:pt x="6" y="4"/>
                      <a:pt x="5" y="4"/>
                    </a:cubicBezTo>
                    <a:cubicBezTo>
                      <a:pt x="4" y="3"/>
                      <a:pt x="1" y="0"/>
                      <a:pt x="1" y="0"/>
                    </a:cubicBezTo>
                    <a:cubicBezTo>
                      <a:pt x="0" y="1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3" name="Freeform 474">
                <a:extLst>
                  <a:ext uri="{FF2B5EF4-FFF2-40B4-BE49-F238E27FC236}">
                    <a16:creationId xmlns:a16="http://schemas.microsoft.com/office/drawing/2014/main" id="{55A9FF4F-4BD2-4CB6-883D-68CEC258A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24557" y="4742710"/>
                <a:ext cx="27076" cy="27077"/>
              </a:xfrm>
              <a:custGeom>
                <a:avLst/>
                <a:gdLst>
                  <a:gd name="T0" fmla="*/ 6 w 6"/>
                  <a:gd name="T1" fmla="*/ 4 h 6"/>
                  <a:gd name="T2" fmla="*/ 1 w 6"/>
                  <a:gd name="T3" fmla="*/ 2 h 6"/>
                  <a:gd name="T4" fmla="*/ 6 w 6"/>
                  <a:gd name="T5" fmla="*/ 4 h 6"/>
                  <a:gd name="T6" fmla="*/ 6 w 6"/>
                  <a:gd name="T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6" y="4"/>
                    </a:moveTo>
                    <a:cubicBezTo>
                      <a:pt x="6" y="2"/>
                      <a:pt x="0" y="0"/>
                      <a:pt x="1" y="2"/>
                    </a:cubicBezTo>
                    <a:cubicBezTo>
                      <a:pt x="1" y="3"/>
                      <a:pt x="6" y="5"/>
                      <a:pt x="6" y="4"/>
                    </a:cubicBezTo>
                    <a:cubicBezTo>
                      <a:pt x="6" y="3"/>
                      <a:pt x="6" y="6"/>
                      <a:pt x="6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4" name="Freeform 475">
                <a:extLst>
                  <a:ext uri="{FF2B5EF4-FFF2-40B4-BE49-F238E27FC236}">
                    <a16:creationId xmlns:a16="http://schemas.microsoft.com/office/drawing/2014/main" id="{1117E078-AA1C-4F80-A0FF-4D21D72FB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95887" y="4699703"/>
                <a:ext cx="43005" cy="28669"/>
              </a:xfrm>
              <a:custGeom>
                <a:avLst/>
                <a:gdLst>
                  <a:gd name="T0" fmla="*/ 8 w 9"/>
                  <a:gd name="T1" fmla="*/ 6 h 6"/>
                  <a:gd name="T2" fmla="*/ 0 w 9"/>
                  <a:gd name="T3" fmla="*/ 1 h 6"/>
                  <a:gd name="T4" fmla="*/ 3 w 9"/>
                  <a:gd name="T5" fmla="*/ 4 h 6"/>
                  <a:gd name="T6" fmla="*/ 8 w 9"/>
                  <a:gd name="T7" fmla="*/ 6 h 6"/>
                  <a:gd name="T8" fmla="*/ 8 w 9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6">
                    <a:moveTo>
                      <a:pt x="8" y="6"/>
                    </a:moveTo>
                    <a:cubicBezTo>
                      <a:pt x="6" y="5"/>
                      <a:pt x="3" y="0"/>
                      <a:pt x="0" y="1"/>
                    </a:cubicBezTo>
                    <a:cubicBezTo>
                      <a:pt x="0" y="2"/>
                      <a:pt x="3" y="3"/>
                      <a:pt x="3" y="4"/>
                    </a:cubicBezTo>
                    <a:cubicBezTo>
                      <a:pt x="5" y="4"/>
                      <a:pt x="6" y="5"/>
                      <a:pt x="8" y="6"/>
                    </a:cubicBezTo>
                    <a:cubicBezTo>
                      <a:pt x="9" y="6"/>
                      <a:pt x="6" y="5"/>
                      <a:pt x="8" y="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5" name="Freeform 476">
                <a:extLst>
                  <a:ext uri="{FF2B5EF4-FFF2-40B4-BE49-F238E27FC236}">
                    <a16:creationId xmlns:a16="http://schemas.microsoft.com/office/drawing/2014/main" id="{7AE27B6E-7D00-40F1-9015-619124BA3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54475" y="4680590"/>
                <a:ext cx="19114" cy="23893"/>
              </a:xfrm>
              <a:custGeom>
                <a:avLst/>
                <a:gdLst>
                  <a:gd name="T0" fmla="*/ 4 w 4"/>
                  <a:gd name="T1" fmla="*/ 4 h 5"/>
                  <a:gd name="T2" fmla="*/ 0 w 4"/>
                  <a:gd name="T3" fmla="*/ 0 h 5"/>
                  <a:gd name="T4" fmla="*/ 4 w 4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4" y="4"/>
                    </a:moveTo>
                    <a:cubicBezTo>
                      <a:pt x="4" y="2"/>
                      <a:pt x="0" y="0"/>
                      <a:pt x="0" y="0"/>
                    </a:cubicBezTo>
                    <a:cubicBezTo>
                      <a:pt x="0" y="1"/>
                      <a:pt x="4" y="5"/>
                      <a:pt x="4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6" name="Freeform 477">
                <a:extLst>
                  <a:ext uri="{FF2B5EF4-FFF2-40B4-BE49-F238E27FC236}">
                    <a16:creationId xmlns:a16="http://schemas.microsoft.com/office/drawing/2014/main" id="{68A3DE57-AD98-4534-A630-6D55194C5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6493" y="5008701"/>
                <a:ext cx="74859" cy="55747"/>
              </a:xfrm>
              <a:custGeom>
                <a:avLst/>
                <a:gdLst>
                  <a:gd name="T0" fmla="*/ 15 w 16"/>
                  <a:gd name="T1" fmla="*/ 11 h 12"/>
                  <a:gd name="T2" fmla="*/ 2 w 16"/>
                  <a:gd name="T3" fmla="*/ 0 h 12"/>
                  <a:gd name="T4" fmla="*/ 15 w 16"/>
                  <a:gd name="T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15" y="11"/>
                    </a:moveTo>
                    <a:cubicBezTo>
                      <a:pt x="16" y="12"/>
                      <a:pt x="3" y="0"/>
                      <a:pt x="2" y="0"/>
                    </a:cubicBezTo>
                    <a:cubicBezTo>
                      <a:pt x="0" y="0"/>
                      <a:pt x="7" y="9"/>
                      <a:pt x="15" y="1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7" name="Freeform 482">
                <a:extLst>
                  <a:ext uri="{FF2B5EF4-FFF2-40B4-BE49-F238E27FC236}">
                    <a16:creationId xmlns:a16="http://schemas.microsoft.com/office/drawing/2014/main" id="{74260FE8-3E00-40A6-807E-FF7F62856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4147" y="5532724"/>
                <a:ext cx="89196" cy="84416"/>
              </a:xfrm>
              <a:custGeom>
                <a:avLst/>
                <a:gdLst>
                  <a:gd name="T0" fmla="*/ 0 w 19"/>
                  <a:gd name="T1" fmla="*/ 2 h 18"/>
                  <a:gd name="T2" fmla="*/ 2 w 19"/>
                  <a:gd name="T3" fmla="*/ 7 h 18"/>
                  <a:gd name="T4" fmla="*/ 4 w 19"/>
                  <a:gd name="T5" fmla="*/ 10 h 18"/>
                  <a:gd name="T6" fmla="*/ 3 w 19"/>
                  <a:gd name="T7" fmla="*/ 12 h 18"/>
                  <a:gd name="T8" fmla="*/ 9 w 19"/>
                  <a:gd name="T9" fmla="*/ 18 h 18"/>
                  <a:gd name="T10" fmla="*/ 12 w 19"/>
                  <a:gd name="T11" fmla="*/ 15 h 18"/>
                  <a:gd name="T12" fmla="*/ 13 w 19"/>
                  <a:gd name="T13" fmla="*/ 17 h 18"/>
                  <a:gd name="T14" fmla="*/ 14 w 19"/>
                  <a:gd name="T15" fmla="*/ 14 h 18"/>
                  <a:gd name="T16" fmla="*/ 16 w 19"/>
                  <a:gd name="T17" fmla="*/ 15 h 18"/>
                  <a:gd name="T18" fmla="*/ 18 w 19"/>
                  <a:gd name="T19" fmla="*/ 7 h 18"/>
                  <a:gd name="T20" fmla="*/ 16 w 19"/>
                  <a:gd name="T21" fmla="*/ 1 h 18"/>
                  <a:gd name="T22" fmla="*/ 7 w 19"/>
                  <a:gd name="T23" fmla="*/ 3 h 18"/>
                  <a:gd name="T24" fmla="*/ 0 w 19"/>
                  <a:gd name="T25" fmla="*/ 2 h 18"/>
                  <a:gd name="T26" fmla="*/ 0 w 19"/>
                  <a:gd name="T27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18">
                    <a:moveTo>
                      <a:pt x="0" y="2"/>
                    </a:moveTo>
                    <a:cubicBezTo>
                      <a:pt x="0" y="3"/>
                      <a:pt x="2" y="6"/>
                      <a:pt x="2" y="7"/>
                    </a:cubicBezTo>
                    <a:cubicBezTo>
                      <a:pt x="3" y="8"/>
                      <a:pt x="4" y="9"/>
                      <a:pt x="4" y="10"/>
                    </a:cubicBezTo>
                    <a:cubicBezTo>
                      <a:pt x="4" y="11"/>
                      <a:pt x="3" y="11"/>
                      <a:pt x="3" y="12"/>
                    </a:cubicBezTo>
                    <a:cubicBezTo>
                      <a:pt x="4" y="15"/>
                      <a:pt x="7" y="17"/>
                      <a:pt x="9" y="18"/>
                    </a:cubicBezTo>
                    <a:cubicBezTo>
                      <a:pt x="11" y="18"/>
                      <a:pt x="11" y="16"/>
                      <a:pt x="12" y="15"/>
                    </a:cubicBezTo>
                    <a:cubicBezTo>
                      <a:pt x="12" y="15"/>
                      <a:pt x="13" y="17"/>
                      <a:pt x="13" y="17"/>
                    </a:cubicBezTo>
                    <a:cubicBezTo>
                      <a:pt x="13" y="16"/>
                      <a:pt x="13" y="14"/>
                      <a:pt x="14" y="14"/>
                    </a:cubicBezTo>
                    <a:cubicBezTo>
                      <a:pt x="15" y="13"/>
                      <a:pt x="15" y="15"/>
                      <a:pt x="16" y="15"/>
                    </a:cubicBezTo>
                    <a:cubicBezTo>
                      <a:pt x="15" y="15"/>
                      <a:pt x="18" y="8"/>
                      <a:pt x="18" y="7"/>
                    </a:cubicBezTo>
                    <a:cubicBezTo>
                      <a:pt x="18" y="6"/>
                      <a:pt x="19" y="0"/>
                      <a:pt x="16" y="1"/>
                    </a:cubicBezTo>
                    <a:cubicBezTo>
                      <a:pt x="13" y="2"/>
                      <a:pt x="10" y="4"/>
                      <a:pt x="7" y="3"/>
                    </a:cubicBezTo>
                    <a:cubicBezTo>
                      <a:pt x="6" y="3"/>
                      <a:pt x="1" y="0"/>
                      <a:pt x="0" y="2"/>
                    </a:cubicBezTo>
                    <a:cubicBezTo>
                      <a:pt x="0" y="3"/>
                      <a:pt x="1" y="0"/>
                      <a:pt x="0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8" name="Freeform 483">
                <a:extLst>
                  <a:ext uri="{FF2B5EF4-FFF2-40B4-BE49-F238E27FC236}">
                    <a16:creationId xmlns:a16="http://schemas.microsoft.com/office/drawing/2014/main" id="{2E979FAC-FB95-4AB4-8EDD-9A33CA0FB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44229" y="5508834"/>
                <a:ext cx="14335" cy="23893"/>
              </a:xfrm>
              <a:custGeom>
                <a:avLst/>
                <a:gdLst>
                  <a:gd name="T0" fmla="*/ 3 w 3"/>
                  <a:gd name="T1" fmla="*/ 4 h 5"/>
                  <a:gd name="T2" fmla="*/ 1 w 3"/>
                  <a:gd name="T3" fmla="*/ 0 h 5"/>
                  <a:gd name="T4" fmla="*/ 3 w 3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3" y="4"/>
                    </a:moveTo>
                    <a:cubicBezTo>
                      <a:pt x="3" y="5"/>
                      <a:pt x="0" y="1"/>
                      <a:pt x="1" y="0"/>
                    </a:cubicBezTo>
                    <a:cubicBezTo>
                      <a:pt x="2" y="0"/>
                      <a:pt x="3" y="1"/>
                      <a:pt x="3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9" name="Freeform 484">
                <a:extLst>
                  <a:ext uri="{FF2B5EF4-FFF2-40B4-BE49-F238E27FC236}">
                    <a16:creationId xmlns:a16="http://schemas.microsoft.com/office/drawing/2014/main" id="{2F3299DD-F4FE-468B-9EF5-593E7099B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0256" y="5508834"/>
                <a:ext cx="9557" cy="9557"/>
              </a:xfrm>
              <a:custGeom>
                <a:avLst/>
                <a:gdLst>
                  <a:gd name="T0" fmla="*/ 1 w 2"/>
                  <a:gd name="T1" fmla="*/ 2 h 2"/>
                  <a:gd name="T2" fmla="*/ 1 w 2"/>
                  <a:gd name="T3" fmla="*/ 0 h 2"/>
                  <a:gd name="T4" fmla="*/ 1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2" y="2"/>
                      <a:pt x="1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0" name="Freeform 486">
                <a:extLst>
                  <a:ext uri="{FF2B5EF4-FFF2-40B4-BE49-F238E27FC236}">
                    <a16:creationId xmlns:a16="http://schemas.microsoft.com/office/drawing/2014/main" id="{AEE71196-E641-4B20-9650-458F495E1B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4364" y="4803234"/>
                <a:ext cx="168834" cy="326518"/>
              </a:xfrm>
              <a:custGeom>
                <a:avLst/>
                <a:gdLst>
                  <a:gd name="T0" fmla="*/ 31 w 36"/>
                  <a:gd name="T1" fmla="*/ 2 h 70"/>
                  <a:gd name="T2" fmla="*/ 29 w 36"/>
                  <a:gd name="T3" fmla="*/ 0 h 70"/>
                  <a:gd name="T4" fmla="*/ 28 w 36"/>
                  <a:gd name="T5" fmla="*/ 3 h 70"/>
                  <a:gd name="T6" fmla="*/ 26 w 36"/>
                  <a:gd name="T7" fmla="*/ 8 h 70"/>
                  <a:gd name="T8" fmla="*/ 23 w 36"/>
                  <a:gd name="T9" fmla="*/ 8 h 70"/>
                  <a:gd name="T10" fmla="*/ 23 w 36"/>
                  <a:gd name="T11" fmla="*/ 10 h 70"/>
                  <a:gd name="T12" fmla="*/ 22 w 36"/>
                  <a:gd name="T13" fmla="*/ 12 h 70"/>
                  <a:gd name="T14" fmla="*/ 23 w 36"/>
                  <a:gd name="T15" fmla="*/ 13 h 70"/>
                  <a:gd name="T16" fmla="*/ 21 w 36"/>
                  <a:gd name="T17" fmla="*/ 14 h 70"/>
                  <a:gd name="T18" fmla="*/ 19 w 36"/>
                  <a:gd name="T19" fmla="*/ 16 h 70"/>
                  <a:gd name="T20" fmla="*/ 15 w 36"/>
                  <a:gd name="T21" fmla="*/ 18 h 70"/>
                  <a:gd name="T22" fmla="*/ 15 w 36"/>
                  <a:gd name="T23" fmla="*/ 19 h 70"/>
                  <a:gd name="T24" fmla="*/ 13 w 36"/>
                  <a:gd name="T25" fmla="*/ 19 h 70"/>
                  <a:gd name="T26" fmla="*/ 8 w 36"/>
                  <a:gd name="T27" fmla="*/ 21 h 70"/>
                  <a:gd name="T28" fmla="*/ 6 w 36"/>
                  <a:gd name="T29" fmla="*/ 21 h 70"/>
                  <a:gd name="T30" fmla="*/ 4 w 36"/>
                  <a:gd name="T31" fmla="*/ 27 h 70"/>
                  <a:gd name="T32" fmla="*/ 4 w 36"/>
                  <a:gd name="T33" fmla="*/ 44 h 70"/>
                  <a:gd name="T34" fmla="*/ 0 w 36"/>
                  <a:gd name="T35" fmla="*/ 51 h 70"/>
                  <a:gd name="T36" fmla="*/ 0 w 36"/>
                  <a:gd name="T37" fmla="*/ 55 h 70"/>
                  <a:gd name="T38" fmla="*/ 2 w 36"/>
                  <a:gd name="T39" fmla="*/ 59 h 70"/>
                  <a:gd name="T40" fmla="*/ 5 w 36"/>
                  <a:gd name="T41" fmla="*/ 68 h 70"/>
                  <a:gd name="T42" fmla="*/ 16 w 36"/>
                  <a:gd name="T43" fmla="*/ 68 h 70"/>
                  <a:gd name="T44" fmla="*/ 24 w 36"/>
                  <a:gd name="T45" fmla="*/ 50 h 70"/>
                  <a:gd name="T46" fmla="*/ 31 w 36"/>
                  <a:gd name="T47" fmla="*/ 30 h 70"/>
                  <a:gd name="T48" fmla="*/ 32 w 36"/>
                  <a:gd name="T49" fmla="*/ 23 h 70"/>
                  <a:gd name="T50" fmla="*/ 34 w 36"/>
                  <a:gd name="T51" fmla="*/ 19 h 70"/>
                  <a:gd name="T52" fmla="*/ 36 w 36"/>
                  <a:gd name="T53" fmla="*/ 17 h 70"/>
                  <a:gd name="T54" fmla="*/ 35 w 36"/>
                  <a:gd name="T55" fmla="*/ 11 h 70"/>
                  <a:gd name="T56" fmla="*/ 31 w 36"/>
                  <a:gd name="T57" fmla="*/ 2 h 70"/>
                  <a:gd name="T58" fmla="*/ 31 w 36"/>
                  <a:gd name="T59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6" h="70">
                    <a:moveTo>
                      <a:pt x="31" y="2"/>
                    </a:moveTo>
                    <a:cubicBezTo>
                      <a:pt x="31" y="2"/>
                      <a:pt x="30" y="0"/>
                      <a:pt x="29" y="0"/>
                    </a:cubicBezTo>
                    <a:cubicBezTo>
                      <a:pt x="29" y="1"/>
                      <a:pt x="28" y="2"/>
                      <a:pt x="28" y="3"/>
                    </a:cubicBezTo>
                    <a:cubicBezTo>
                      <a:pt x="27" y="5"/>
                      <a:pt x="27" y="6"/>
                      <a:pt x="26" y="8"/>
                    </a:cubicBezTo>
                    <a:cubicBezTo>
                      <a:pt x="25" y="9"/>
                      <a:pt x="24" y="8"/>
                      <a:pt x="23" y="8"/>
                    </a:cubicBezTo>
                    <a:cubicBezTo>
                      <a:pt x="23" y="8"/>
                      <a:pt x="24" y="9"/>
                      <a:pt x="23" y="10"/>
                    </a:cubicBezTo>
                    <a:cubicBezTo>
                      <a:pt x="23" y="11"/>
                      <a:pt x="22" y="11"/>
                      <a:pt x="22" y="12"/>
                    </a:cubicBezTo>
                    <a:cubicBezTo>
                      <a:pt x="22" y="12"/>
                      <a:pt x="23" y="13"/>
                      <a:pt x="23" y="13"/>
                    </a:cubicBezTo>
                    <a:cubicBezTo>
                      <a:pt x="23" y="14"/>
                      <a:pt x="22" y="13"/>
                      <a:pt x="21" y="14"/>
                    </a:cubicBezTo>
                    <a:cubicBezTo>
                      <a:pt x="20" y="14"/>
                      <a:pt x="20" y="15"/>
                      <a:pt x="19" y="16"/>
                    </a:cubicBezTo>
                    <a:cubicBezTo>
                      <a:pt x="18" y="17"/>
                      <a:pt x="17" y="17"/>
                      <a:pt x="15" y="18"/>
                    </a:cubicBezTo>
                    <a:cubicBezTo>
                      <a:pt x="14" y="18"/>
                      <a:pt x="16" y="19"/>
                      <a:pt x="15" y="19"/>
                    </a:cubicBezTo>
                    <a:cubicBezTo>
                      <a:pt x="15" y="20"/>
                      <a:pt x="13" y="18"/>
                      <a:pt x="13" y="19"/>
                    </a:cubicBezTo>
                    <a:cubicBezTo>
                      <a:pt x="11" y="20"/>
                      <a:pt x="10" y="20"/>
                      <a:pt x="8" y="21"/>
                    </a:cubicBezTo>
                    <a:cubicBezTo>
                      <a:pt x="7" y="21"/>
                      <a:pt x="6" y="20"/>
                      <a:pt x="6" y="21"/>
                    </a:cubicBezTo>
                    <a:cubicBezTo>
                      <a:pt x="5" y="23"/>
                      <a:pt x="5" y="25"/>
                      <a:pt x="4" y="27"/>
                    </a:cubicBezTo>
                    <a:cubicBezTo>
                      <a:pt x="3" y="32"/>
                      <a:pt x="8" y="39"/>
                      <a:pt x="4" y="44"/>
                    </a:cubicBezTo>
                    <a:cubicBezTo>
                      <a:pt x="3" y="46"/>
                      <a:pt x="1" y="48"/>
                      <a:pt x="0" y="51"/>
                    </a:cubicBezTo>
                    <a:cubicBezTo>
                      <a:pt x="0" y="52"/>
                      <a:pt x="0" y="54"/>
                      <a:pt x="0" y="55"/>
                    </a:cubicBezTo>
                    <a:cubicBezTo>
                      <a:pt x="1" y="56"/>
                      <a:pt x="3" y="57"/>
                      <a:pt x="2" y="59"/>
                    </a:cubicBezTo>
                    <a:cubicBezTo>
                      <a:pt x="1" y="62"/>
                      <a:pt x="2" y="66"/>
                      <a:pt x="5" y="68"/>
                    </a:cubicBezTo>
                    <a:cubicBezTo>
                      <a:pt x="8" y="70"/>
                      <a:pt x="11" y="70"/>
                      <a:pt x="16" y="68"/>
                    </a:cubicBezTo>
                    <a:cubicBezTo>
                      <a:pt x="21" y="66"/>
                      <a:pt x="22" y="55"/>
                      <a:pt x="24" y="50"/>
                    </a:cubicBezTo>
                    <a:cubicBezTo>
                      <a:pt x="26" y="43"/>
                      <a:pt x="29" y="37"/>
                      <a:pt x="31" y="30"/>
                    </a:cubicBezTo>
                    <a:cubicBezTo>
                      <a:pt x="31" y="28"/>
                      <a:pt x="31" y="25"/>
                      <a:pt x="32" y="23"/>
                    </a:cubicBezTo>
                    <a:cubicBezTo>
                      <a:pt x="33" y="22"/>
                      <a:pt x="31" y="14"/>
                      <a:pt x="34" y="19"/>
                    </a:cubicBezTo>
                    <a:cubicBezTo>
                      <a:pt x="35" y="20"/>
                      <a:pt x="35" y="18"/>
                      <a:pt x="36" y="17"/>
                    </a:cubicBezTo>
                    <a:cubicBezTo>
                      <a:pt x="36" y="15"/>
                      <a:pt x="35" y="13"/>
                      <a:pt x="35" y="11"/>
                    </a:cubicBezTo>
                    <a:cubicBezTo>
                      <a:pt x="34" y="9"/>
                      <a:pt x="33" y="4"/>
                      <a:pt x="31" y="2"/>
                    </a:cubicBezTo>
                    <a:cubicBezTo>
                      <a:pt x="30" y="1"/>
                      <a:pt x="32" y="2"/>
                      <a:pt x="31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1" name="Freeform 489">
                <a:extLst>
                  <a:ext uri="{FF2B5EF4-FFF2-40B4-BE49-F238E27FC236}">
                    <a16:creationId xmlns:a16="http://schemas.microsoft.com/office/drawing/2014/main" id="{E4B9BF9E-02F3-41B9-B731-151B7FB9A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4657" y="2383811"/>
                <a:ext cx="41412" cy="23893"/>
              </a:xfrm>
              <a:custGeom>
                <a:avLst/>
                <a:gdLst>
                  <a:gd name="T0" fmla="*/ 9 w 9"/>
                  <a:gd name="T1" fmla="*/ 3 h 5"/>
                  <a:gd name="T2" fmla="*/ 4 w 9"/>
                  <a:gd name="T3" fmla="*/ 5 h 5"/>
                  <a:gd name="T4" fmla="*/ 1 w 9"/>
                  <a:gd name="T5" fmla="*/ 1 h 5"/>
                  <a:gd name="T6" fmla="*/ 6 w 9"/>
                  <a:gd name="T7" fmla="*/ 1 h 5"/>
                  <a:gd name="T8" fmla="*/ 9 w 9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5">
                    <a:moveTo>
                      <a:pt x="9" y="3"/>
                    </a:moveTo>
                    <a:cubicBezTo>
                      <a:pt x="7" y="4"/>
                      <a:pt x="6" y="4"/>
                      <a:pt x="4" y="5"/>
                    </a:cubicBezTo>
                    <a:cubicBezTo>
                      <a:pt x="2" y="5"/>
                      <a:pt x="0" y="3"/>
                      <a:pt x="1" y="1"/>
                    </a:cubicBezTo>
                    <a:cubicBezTo>
                      <a:pt x="1" y="0"/>
                      <a:pt x="5" y="0"/>
                      <a:pt x="6" y="1"/>
                    </a:cubicBezTo>
                    <a:cubicBezTo>
                      <a:pt x="7" y="1"/>
                      <a:pt x="8" y="3"/>
                      <a:pt x="9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2" name="Freeform 490">
                <a:extLst>
                  <a:ext uri="{FF2B5EF4-FFF2-40B4-BE49-F238E27FC236}">
                    <a16:creationId xmlns:a16="http://schemas.microsoft.com/office/drawing/2014/main" id="{0B174988-5191-48A2-9F98-4060A9B927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8022" y="2337621"/>
                <a:ext cx="46190" cy="22298"/>
              </a:xfrm>
              <a:custGeom>
                <a:avLst/>
                <a:gdLst>
                  <a:gd name="T0" fmla="*/ 6 w 10"/>
                  <a:gd name="T1" fmla="*/ 5 h 5"/>
                  <a:gd name="T2" fmla="*/ 1 w 10"/>
                  <a:gd name="T3" fmla="*/ 4 h 5"/>
                  <a:gd name="T4" fmla="*/ 4 w 10"/>
                  <a:gd name="T5" fmla="*/ 1 h 5"/>
                  <a:gd name="T6" fmla="*/ 9 w 10"/>
                  <a:gd name="T7" fmla="*/ 1 h 5"/>
                  <a:gd name="T8" fmla="*/ 6 w 10"/>
                  <a:gd name="T9" fmla="*/ 5 h 5"/>
                  <a:gd name="T10" fmla="*/ 6 w 1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5">
                    <a:moveTo>
                      <a:pt x="6" y="5"/>
                    </a:moveTo>
                    <a:cubicBezTo>
                      <a:pt x="4" y="5"/>
                      <a:pt x="2" y="4"/>
                      <a:pt x="1" y="4"/>
                    </a:cubicBezTo>
                    <a:cubicBezTo>
                      <a:pt x="0" y="3"/>
                      <a:pt x="3" y="1"/>
                      <a:pt x="4" y="1"/>
                    </a:cubicBezTo>
                    <a:cubicBezTo>
                      <a:pt x="5" y="0"/>
                      <a:pt x="8" y="0"/>
                      <a:pt x="9" y="1"/>
                    </a:cubicBezTo>
                    <a:cubicBezTo>
                      <a:pt x="10" y="2"/>
                      <a:pt x="7" y="5"/>
                      <a:pt x="6" y="5"/>
                    </a:cubicBezTo>
                    <a:cubicBezTo>
                      <a:pt x="4" y="5"/>
                      <a:pt x="6" y="5"/>
                      <a:pt x="6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3" name="Freeform 492">
                <a:extLst>
                  <a:ext uri="{FF2B5EF4-FFF2-40B4-BE49-F238E27FC236}">
                    <a16:creationId xmlns:a16="http://schemas.microsoft.com/office/drawing/2014/main" id="{7A058AFC-2D8B-4401-96E6-BAF00FB85D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5348" y="2402926"/>
                <a:ext cx="27076" cy="19114"/>
              </a:xfrm>
              <a:custGeom>
                <a:avLst/>
                <a:gdLst>
                  <a:gd name="T0" fmla="*/ 5 w 6"/>
                  <a:gd name="T1" fmla="*/ 4 h 4"/>
                  <a:gd name="T2" fmla="*/ 2 w 6"/>
                  <a:gd name="T3" fmla="*/ 1 h 4"/>
                  <a:gd name="T4" fmla="*/ 5 w 6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4">
                    <a:moveTo>
                      <a:pt x="5" y="4"/>
                    </a:moveTo>
                    <a:cubicBezTo>
                      <a:pt x="4" y="4"/>
                      <a:pt x="0" y="3"/>
                      <a:pt x="2" y="1"/>
                    </a:cubicBezTo>
                    <a:cubicBezTo>
                      <a:pt x="5" y="0"/>
                      <a:pt x="6" y="4"/>
                      <a:pt x="5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4" name="Freeform 493">
                <a:extLst>
                  <a:ext uri="{FF2B5EF4-FFF2-40B4-BE49-F238E27FC236}">
                    <a16:creationId xmlns:a16="http://schemas.microsoft.com/office/drawing/2014/main" id="{6B3604E4-3F3E-43FF-9C75-F38ED4F9EB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718" y="3446191"/>
                <a:ext cx="27076" cy="50968"/>
              </a:xfrm>
              <a:custGeom>
                <a:avLst/>
                <a:gdLst>
                  <a:gd name="T0" fmla="*/ 5 w 6"/>
                  <a:gd name="T1" fmla="*/ 1 h 11"/>
                  <a:gd name="T2" fmla="*/ 5 w 6"/>
                  <a:gd name="T3" fmla="*/ 7 h 11"/>
                  <a:gd name="T4" fmla="*/ 3 w 6"/>
                  <a:gd name="T5" fmla="*/ 10 h 11"/>
                  <a:gd name="T6" fmla="*/ 1 w 6"/>
                  <a:gd name="T7" fmla="*/ 4 h 11"/>
                  <a:gd name="T8" fmla="*/ 5 w 6"/>
                  <a:gd name="T9" fmla="*/ 1 h 11"/>
                  <a:gd name="T10" fmla="*/ 5 w 6"/>
                  <a:gd name="T11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1">
                    <a:moveTo>
                      <a:pt x="5" y="1"/>
                    </a:moveTo>
                    <a:cubicBezTo>
                      <a:pt x="5" y="3"/>
                      <a:pt x="6" y="5"/>
                      <a:pt x="5" y="7"/>
                    </a:cubicBezTo>
                    <a:cubicBezTo>
                      <a:pt x="4" y="8"/>
                      <a:pt x="5" y="11"/>
                      <a:pt x="3" y="10"/>
                    </a:cubicBezTo>
                    <a:cubicBezTo>
                      <a:pt x="1" y="8"/>
                      <a:pt x="0" y="6"/>
                      <a:pt x="1" y="4"/>
                    </a:cubicBezTo>
                    <a:cubicBezTo>
                      <a:pt x="1" y="3"/>
                      <a:pt x="5" y="0"/>
                      <a:pt x="5" y="1"/>
                    </a:cubicBezTo>
                    <a:cubicBezTo>
                      <a:pt x="5" y="2"/>
                      <a:pt x="5" y="0"/>
                      <a:pt x="5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5" name="Freeform 494">
                <a:extLst>
                  <a:ext uri="{FF2B5EF4-FFF2-40B4-BE49-F238E27FC236}">
                    <a16:creationId xmlns:a16="http://schemas.microsoft.com/office/drawing/2014/main" id="{EDD28C17-D456-4ED7-93F0-90A521ACE3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162" y="3492383"/>
                <a:ext cx="41412" cy="70082"/>
              </a:xfrm>
              <a:custGeom>
                <a:avLst/>
                <a:gdLst>
                  <a:gd name="T0" fmla="*/ 7 w 9"/>
                  <a:gd name="T1" fmla="*/ 3 h 15"/>
                  <a:gd name="T2" fmla="*/ 5 w 9"/>
                  <a:gd name="T3" fmla="*/ 2 h 15"/>
                  <a:gd name="T4" fmla="*/ 0 w 9"/>
                  <a:gd name="T5" fmla="*/ 2 h 15"/>
                  <a:gd name="T6" fmla="*/ 1 w 9"/>
                  <a:gd name="T7" fmla="*/ 8 h 15"/>
                  <a:gd name="T8" fmla="*/ 2 w 9"/>
                  <a:gd name="T9" fmla="*/ 13 h 15"/>
                  <a:gd name="T10" fmla="*/ 4 w 9"/>
                  <a:gd name="T11" fmla="*/ 14 h 15"/>
                  <a:gd name="T12" fmla="*/ 8 w 9"/>
                  <a:gd name="T13" fmla="*/ 10 h 15"/>
                  <a:gd name="T14" fmla="*/ 7 w 9"/>
                  <a:gd name="T15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5">
                    <a:moveTo>
                      <a:pt x="7" y="3"/>
                    </a:moveTo>
                    <a:cubicBezTo>
                      <a:pt x="6" y="3"/>
                      <a:pt x="7" y="0"/>
                      <a:pt x="5" y="2"/>
                    </a:cubicBezTo>
                    <a:cubicBezTo>
                      <a:pt x="2" y="4"/>
                      <a:pt x="3" y="4"/>
                      <a:pt x="0" y="2"/>
                    </a:cubicBezTo>
                    <a:cubicBezTo>
                      <a:pt x="0" y="2"/>
                      <a:pt x="1" y="8"/>
                      <a:pt x="1" y="8"/>
                    </a:cubicBezTo>
                    <a:cubicBezTo>
                      <a:pt x="2" y="10"/>
                      <a:pt x="2" y="11"/>
                      <a:pt x="2" y="13"/>
                    </a:cubicBezTo>
                    <a:cubicBezTo>
                      <a:pt x="2" y="14"/>
                      <a:pt x="2" y="15"/>
                      <a:pt x="4" y="14"/>
                    </a:cubicBezTo>
                    <a:cubicBezTo>
                      <a:pt x="6" y="13"/>
                      <a:pt x="8" y="13"/>
                      <a:pt x="8" y="10"/>
                    </a:cubicBezTo>
                    <a:cubicBezTo>
                      <a:pt x="8" y="9"/>
                      <a:pt x="9" y="3"/>
                      <a:pt x="7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6" name="Freeform 496">
                <a:extLst>
                  <a:ext uri="{FF2B5EF4-FFF2-40B4-BE49-F238E27FC236}">
                    <a16:creationId xmlns:a16="http://schemas.microsoft.com/office/drawing/2014/main" id="{530DD050-E9EF-40E2-B606-C8538F219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2705" y="3642102"/>
                <a:ext cx="60525" cy="33448"/>
              </a:xfrm>
              <a:custGeom>
                <a:avLst/>
                <a:gdLst>
                  <a:gd name="T0" fmla="*/ 12 w 13"/>
                  <a:gd name="T1" fmla="*/ 1 h 7"/>
                  <a:gd name="T2" fmla="*/ 10 w 13"/>
                  <a:gd name="T3" fmla="*/ 2 h 7"/>
                  <a:gd name="T4" fmla="*/ 10 w 13"/>
                  <a:gd name="T5" fmla="*/ 5 h 7"/>
                  <a:gd name="T6" fmla="*/ 6 w 13"/>
                  <a:gd name="T7" fmla="*/ 6 h 7"/>
                  <a:gd name="T8" fmla="*/ 2 w 13"/>
                  <a:gd name="T9" fmla="*/ 6 h 7"/>
                  <a:gd name="T10" fmla="*/ 5 w 13"/>
                  <a:gd name="T11" fmla="*/ 3 h 7"/>
                  <a:gd name="T12" fmla="*/ 12 w 13"/>
                  <a:gd name="T13" fmla="*/ 1 h 7"/>
                  <a:gd name="T14" fmla="*/ 12 w 13"/>
                  <a:gd name="T1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7">
                    <a:moveTo>
                      <a:pt x="12" y="1"/>
                    </a:moveTo>
                    <a:cubicBezTo>
                      <a:pt x="12" y="1"/>
                      <a:pt x="10" y="2"/>
                      <a:pt x="10" y="2"/>
                    </a:cubicBezTo>
                    <a:cubicBezTo>
                      <a:pt x="9" y="3"/>
                      <a:pt x="10" y="5"/>
                      <a:pt x="10" y="5"/>
                    </a:cubicBezTo>
                    <a:cubicBezTo>
                      <a:pt x="9" y="5"/>
                      <a:pt x="7" y="5"/>
                      <a:pt x="6" y="6"/>
                    </a:cubicBezTo>
                    <a:cubicBezTo>
                      <a:pt x="4" y="7"/>
                      <a:pt x="3" y="7"/>
                      <a:pt x="2" y="6"/>
                    </a:cubicBezTo>
                    <a:cubicBezTo>
                      <a:pt x="0" y="4"/>
                      <a:pt x="4" y="3"/>
                      <a:pt x="5" y="3"/>
                    </a:cubicBezTo>
                    <a:cubicBezTo>
                      <a:pt x="7" y="3"/>
                      <a:pt x="10" y="2"/>
                      <a:pt x="12" y="1"/>
                    </a:cubicBezTo>
                    <a:cubicBezTo>
                      <a:pt x="13" y="0"/>
                      <a:pt x="11" y="2"/>
                      <a:pt x="12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7" name="Freeform 497">
                <a:extLst>
                  <a:ext uri="{FF2B5EF4-FFF2-40B4-BE49-F238E27FC236}">
                    <a16:creationId xmlns:a16="http://schemas.microsoft.com/office/drawing/2014/main" id="{D02CB29E-2414-4886-BB21-243E9EF2A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2017" y="3646881"/>
                <a:ext cx="70082" cy="19114"/>
              </a:xfrm>
              <a:custGeom>
                <a:avLst/>
                <a:gdLst>
                  <a:gd name="T0" fmla="*/ 8 w 15"/>
                  <a:gd name="T1" fmla="*/ 4 h 4"/>
                  <a:gd name="T2" fmla="*/ 1 w 15"/>
                  <a:gd name="T3" fmla="*/ 1 h 4"/>
                  <a:gd name="T4" fmla="*/ 7 w 15"/>
                  <a:gd name="T5" fmla="*/ 1 h 4"/>
                  <a:gd name="T6" fmla="*/ 15 w 15"/>
                  <a:gd name="T7" fmla="*/ 2 h 4"/>
                  <a:gd name="T8" fmla="*/ 13 w 15"/>
                  <a:gd name="T9" fmla="*/ 3 h 4"/>
                  <a:gd name="T10" fmla="*/ 8 w 15"/>
                  <a:gd name="T11" fmla="*/ 4 h 4"/>
                  <a:gd name="T12" fmla="*/ 8 w 15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4">
                    <a:moveTo>
                      <a:pt x="8" y="4"/>
                    </a:moveTo>
                    <a:cubicBezTo>
                      <a:pt x="7" y="4"/>
                      <a:pt x="0" y="2"/>
                      <a:pt x="1" y="1"/>
                    </a:cubicBezTo>
                    <a:cubicBezTo>
                      <a:pt x="1" y="0"/>
                      <a:pt x="7" y="1"/>
                      <a:pt x="7" y="1"/>
                    </a:cubicBezTo>
                    <a:cubicBezTo>
                      <a:pt x="10" y="2"/>
                      <a:pt x="12" y="2"/>
                      <a:pt x="15" y="2"/>
                    </a:cubicBezTo>
                    <a:cubicBezTo>
                      <a:pt x="15" y="2"/>
                      <a:pt x="13" y="3"/>
                      <a:pt x="13" y="3"/>
                    </a:cubicBezTo>
                    <a:cubicBezTo>
                      <a:pt x="12" y="4"/>
                      <a:pt x="10" y="4"/>
                      <a:pt x="8" y="4"/>
                    </a:cubicBezTo>
                    <a:cubicBezTo>
                      <a:pt x="6" y="4"/>
                      <a:pt x="9" y="4"/>
                      <a:pt x="8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8" name="Freeform 498">
                <a:extLst>
                  <a:ext uri="{FF2B5EF4-FFF2-40B4-BE49-F238E27FC236}">
                    <a16:creationId xmlns:a16="http://schemas.microsoft.com/office/drawing/2014/main" id="{3B46D673-5B46-4012-9D5D-A54A5F605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8568" y="2958804"/>
                <a:ext cx="33448" cy="33448"/>
              </a:xfrm>
              <a:custGeom>
                <a:avLst/>
                <a:gdLst>
                  <a:gd name="T0" fmla="*/ 1 w 7"/>
                  <a:gd name="T1" fmla="*/ 4 h 7"/>
                  <a:gd name="T2" fmla="*/ 1 w 7"/>
                  <a:gd name="T3" fmla="*/ 1 h 7"/>
                  <a:gd name="T4" fmla="*/ 7 w 7"/>
                  <a:gd name="T5" fmla="*/ 1 h 7"/>
                  <a:gd name="T6" fmla="*/ 1 w 7"/>
                  <a:gd name="T7" fmla="*/ 4 h 7"/>
                  <a:gd name="T8" fmla="*/ 1 w 7"/>
                  <a:gd name="T9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1" y="4"/>
                    </a:moveTo>
                    <a:cubicBezTo>
                      <a:pt x="1" y="3"/>
                      <a:pt x="0" y="1"/>
                      <a:pt x="1" y="1"/>
                    </a:cubicBezTo>
                    <a:cubicBezTo>
                      <a:pt x="2" y="1"/>
                      <a:pt x="7" y="0"/>
                      <a:pt x="7" y="1"/>
                    </a:cubicBezTo>
                    <a:cubicBezTo>
                      <a:pt x="7" y="2"/>
                      <a:pt x="2" y="6"/>
                      <a:pt x="1" y="4"/>
                    </a:cubicBezTo>
                    <a:cubicBezTo>
                      <a:pt x="1" y="1"/>
                      <a:pt x="2" y="7"/>
                      <a:pt x="1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9" name="Freeform 499">
                <a:extLst>
                  <a:ext uri="{FF2B5EF4-FFF2-40B4-BE49-F238E27FC236}">
                    <a16:creationId xmlns:a16="http://schemas.microsoft.com/office/drawing/2014/main" id="{BA47FF3E-288B-4ECC-BCCE-4C4EEEEB4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345" y="2946062"/>
                <a:ext cx="23891" cy="12742"/>
              </a:xfrm>
              <a:custGeom>
                <a:avLst/>
                <a:gdLst>
                  <a:gd name="T0" fmla="*/ 3 w 5"/>
                  <a:gd name="T1" fmla="*/ 2 h 3"/>
                  <a:gd name="T2" fmla="*/ 0 w 5"/>
                  <a:gd name="T3" fmla="*/ 1 h 3"/>
                  <a:gd name="T4" fmla="*/ 4 w 5"/>
                  <a:gd name="T5" fmla="*/ 1 h 3"/>
                  <a:gd name="T6" fmla="*/ 3 w 5"/>
                  <a:gd name="T7" fmla="*/ 2 h 3"/>
                  <a:gd name="T8" fmla="*/ 3 w 5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3" y="2"/>
                    </a:moveTo>
                    <a:cubicBezTo>
                      <a:pt x="2" y="2"/>
                      <a:pt x="0" y="1"/>
                      <a:pt x="0" y="1"/>
                    </a:cubicBezTo>
                    <a:cubicBezTo>
                      <a:pt x="0" y="1"/>
                      <a:pt x="4" y="0"/>
                      <a:pt x="4" y="1"/>
                    </a:cubicBezTo>
                    <a:cubicBezTo>
                      <a:pt x="5" y="2"/>
                      <a:pt x="4" y="3"/>
                      <a:pt x="3" y="2"/>
                    </a:cubicBezTo>
                    <a:cubicBezTo>
                      <a:pt x="1" y="2"/>
                      <a:pt x="5" y="3"/>
                      <a:pt x="3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0" name="Freeform 500">
                <a:extLst>
                  <a:ext uri="{FF2B5EF4-FFF2-40B4-BE49-F238E27FC236}">
                    <a16:creationId xmlns:a16="http://schemas.microsoft.com/office/drawing/2014/main" id="{36F347CD-D44C-45F5-845A-6432A2B91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6186" y="2977916"/>
                <a:ext cx="27076" cy="46190"/>
              </a:xfrm>
              <a:custGeom>
                <a:avLst/>
                <a:gdLst>
                  <a:gd name="T0" fmla="*/ 6 w 6"/>
                  <a:gd name="T1" fmla="*/ 2 h 10"/>
                  <a:gd name="T2" fmla="*/ 3 w 6"/>
                  <a:gd name="T3" fmla="*/ 9 h 10"/>
                  <a:gd name="T4" fmla="*/ 6 w 6"/>
                  <a:gd name="T5" fmla="*/ 2 h 10"/>
                  <a:gd name="T6" fmla="*/ 6 w 6"/>
                  <a:gd name="T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0">
                    <a:moveTo>
                      <a:pt x="6" y="2"/>
                    </a:moveTo>
                    <a:cubicBezTo>
                      <a:pt x="6" y="0"/>
                      <a:pt x="0" y="10"/>
                      <a:pt x="3" y="9"/>
                    </a:cubicBezTo>
                    <a:cubicBezTo>
                      <a:pt x="4" y="9"/>
                      <a:pt x="6" y="3"/>
                      <a:pt x="6" y="2"/>
                    </a:cubicBezTo>
                    <a:cubicBezTo>
                      <a:pt x="6" y="1"/>
                      <a:pt x="6" y="3"/>
                      <a:pt x="6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1" name="Freeform 501">
                <a:extLst>
                  <a:ext uri="{FF2B5EF4-FFF2-40B4-BE49-F238E27FC236}">
                    <a16:creationId xmlns:a16="http://schemas.microsoft.com/office/drawing/2014/main" id="{3DEA71A0-45A0-41FE-9BDA-4C997B146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600" y="2898278"/>
                <a:ext cx="19114" cy="19114"/>
              </a:xfrm>
              <a:custGeom>
                <a:avLst/>
                <a:gdLst>
                  <a:gd name="T0" fmla="*/ 3 w 4"/>
                  <a:gd name="T1" fmla="*/ 3 h 4"/>
                  <a:gd name="T2" fmla="*/ 1 w 4"/>
                  <a:gd name="T3" fmla="*/ 1 h 4"/>
                  <a:gd name="T4" fmla="*/ 3 w 4"/>
                  <a:gd name="T5" fmla="*/ 0 h 4"/>
                  <a:gd name="T6" fmla="*/ 3 w 4"/>
                  <a:gd name="T7" fmla="*/ 3 h 4"/>
                  <a:gd name="T8" fmla="*/ 3 w 4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3" y="3"/>
                    </a:moveTo>
                    <a:cubicBezTo>
                      <a:pt x="2" y="3"/>
                      <a:pt x="0" y="2"/>
                      <a:pt x="1" y="1"/>
                    </a:cubicBezTo>
                    <a:cubicBezTo>
                      <a:pt x="2" y="1"/>
                      <a:pt x="3" y="0"/>
                      <a:pt x="3" y="0"/>
                    </a:cubicBezTo>
                    <a:cubicBezTo>
                      <a:pt x="4" y="0"/>
                      <a:pt x="4" y="2"/>
                      <a:pt x="3" y="3"/>
                    </a:cubicBezTo>
                    <a:cubicBezTo>
                      <a:pt x="2" y="4"/>
                      <a:pt x="4" y="2"/>
                      <a:pt x="3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2" name="Freeform 502">
                <a:extLst>
                  <a:ext uri="{FF2B5EF4-FFF2-40B4-BE49-F238E27FC236}">
                    <a16:creationId xmlns:a16="http://schemas.microsoft.com/office/drawing/2014/main" id="{38D98D00-4594-4CCC-BA6A-2F291BDA7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1245" y="3043220"/>
                <a:ext cx="27076" cy="43004"/>
              </a:xfrm>
              <a:custGeom>
                <a:avLst/>
                <a:gdLst>
                  <a:gd name="T0" fmla="*/ 6 w 6"/>
                  <a:gd name="T1" fmla="*/ 2 h 9"/>
                  <a:gd name="T2" fmla="*/ 6 w 6"/>
                  <a:gd name="T3" fmla="*/ 4 h 9"/>
                  <a:gd name="T4" fmla="*/ 5 w 6"/>
                  <a:gd name="T5" fmla="*/ 9 h 9"/>
                  <a:gd name="T6" fmla="*/ 0 w 6"/>
                  <a:gd name="T7" fmla="*/ 3 h 9"/>
                  <a:gd name="T8" fmla="*/ 3 w 6"/>
                  <a:gd name="T9" fmla="*/ 3 h 9"/>
                  <a:gd name="T10" fmla="*/ 6 w 6"/>
                  <a:gd name="T11" fmla="*/ 2 h 9"/>
                  <a:gd name="T12" fmla="*/ 6 w 6"/>
                  <a:gd name="T13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9">
                    <a:moveTo>
                      <a:pt x="6" y="2"/>
                    </a:moveTo>
                    <a:cubicBezTo>
                      <a:pt x="6" y="1"/>
                      <a:pt x="6" y="4"/>
                      <a:pt x="6" y="4"/>
                    </a:cubicBezTo>
                    <a:cubicBezTo>
                      <a:pt x="6" y="6"/>
                      <a:pt x="6" y="8"/>
                      <a:pt x="5" y="9"/>
                    </a:cubicBezTo>
                    <a:cubicBezTo>
                      <a:pt x="5" y="9"/>
                      <a:pt x="0" y="5"/>
                      <a:pt x="0" y="3"/>
                    </a:cubicBezTo>
                    <a:cubicBezTo>
                      <a:pt x="0" y="3"/>
                      <a:pt x="2" y="2"/>
                      <a:pt x="3" y="3"/>
                    </a:cubicBezTo>
                    <a:cubicBezTo>
                      <a:pt x="4" y="4"/>
                      <a:pt x="5" y="4"/>
                      <a:pt x="6" y="2"/>
                    </a:cubicBezTo>
                    <a:cubicBezTo>
                      <a:pt x="6" y="0"/>
                      <a:pt x="6" y="3"/>
                      <a:pt x="6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3" name="Freeform 503">
                <a:extLst>
                  <a:ext uri="{FF2B5EF4-FFF2-40B4-BE49-F238E27FC236}">
                    <a16:creationId xmlns:a16="http://schemas.microsoft.com/office/drawing/2014/main" id="{8E231F00-9E71-4C6A-96CE-84EF2C1AC5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798" y="3052777"/>
                <a:ext cx="38227" cy="38226"/>
              </a:xfrm>
              <a:custGeom>
                <a:avLst/>
                <a:gdLst>
                  <a:gd name="T0" fmla="*/ 6 w 8"/>
                  <a:gd name="T1" fmla="*/ 7 h 8"/>
                  <a:gd name="T2" fmla="*/ 1 w 8"/>
                  <a:gd name="T3" fmla="*/ 4 h 8"/>
                  <a:gd name="T4" fmla="*/ 6 w 8"/>
                  <a:gd name="T5" fmla="*/ 7 h 8"/>
                  <a:gd name="T6" fmla="*/ 6 w 8"/>
                  <a:gd name="T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8">
                    <a:moveTo>
                      <a:pt x="6" y="7"/>
                    </a:moveTo>
                    <a:cubicBezTo>
                      <a:pt x="5" y="8"/>
                      <a:pt x="0" y="5"/>
                      <a:pt x="1" y="4"/>
                    </a:cubicBezTo>
                    <a:cubicBezTo>
                      <a:pt x="3" y="0"/>
                      <a:pt x="8" y="5"/>
                      <a:pt x="6" y="7"/>
                    </a:cubicBezTo>
                    <a:cubicBezTo>
                      <a:pt x="5" y="8"/>
                      <a:pt x="7" y="6"/>
                      <a:pt x="6" y="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4" name="Freeform 504">
                <a:extLst>
                  <a:ext uri="{FF2B5EF4-FFF2-40B4-BE49-F238E27FC236}">
                    <a16:creationId xmlns:a16="http://schemas.microsoft.com/office/drawing/2014/main" id="{8F1E1665-A952-4E12-863D-D80E38964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0555" y="3535386"/>
                <a:ext cx="22299" cy="17521"/>
              </a:xfrm>
              <a:custGeom>
                <a:avLst/>
                <a:gdLst>
                  <a:gd name="T0" fmla="*/ 4 w 5"/>
                  <a:gd name="T1" fmla="*/ 2 h 4"/>
                  <a:gd name="T2" fmla="*/ 3 w 5"/>
                  <a:gd name="T3" fmla="*/ 3 h 4"/>
                  <a:gd name="T4" fmla="*/ 0 w 5"/>
                  <a:gd name="T5" fmla="*/ 2 h 4"/>
                  <a:gd name="T6" fmla="*/ 4 w 5"/>
                  <a:gd name="T7" fmla="*/ 0 h 4"/>
                  <a:gd name="T8" fmla="*/ 4 w 5"/>
                  <a:gd name="T9" fmla="*/ 2 h 4"/>
                  <a:gd name="T10" fmla="*/ 4 w 5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4" y="2"/>
                    </a:moveTo>
                    <a:cubicBezTo>
                      <a:pt x="5" y="1"/>
                      <a:pt x="4" y="4"/>
                      <a:pt x="3" y="3"/>
                    </a:cubicBezTo>
                    <a:cubicBezTo>
                      <a:pt x="3" y="3"/>
                      <a:pt x="0" y="2"/>
                      <a:pt x="0" y="2"/>
                    </a:cubicBezTo>
                    <a:cubicBezTo>
                      <a:pt x="0" y="2"/>
                      <a:pt x="3" y="0"/>
                      <a:pt x="4" y="0"/>
                    </a:cubicBezTo>
                    <a:cubicBezTo>
                      <a:pt x="4" y="0"/>
                      <a:pt x="3" y="2"/>
                      <a:pt x="4" y="2"/>
                    </a:cubicBezTo>
                    <a:cubicBezTo>
                      <a:pt x="5" y="1"/>
                      <a:pt x="3" y="2"/>
                      <a:pt x="4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5" name="Freeform 505">
                <a:extLst>
                  <a:ext uri="{FF2B5EF4-FFF2-40B4-BE49-F238E27FC236}">
                    <a16:creationId xmlns:a16="http://schemas.microsoft.com/office/drawing/2014/main" id="{4646D7A4-30F0-4ADB-8231-DAA87E22D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1194" y="2963581"/>
                <a:ext cx="28669" cy="28669"/>
              </a:xfrm>
              <a:custGeom>
                <a:avLst/>
                <a:gdLst>
                  <a:gd name="T0" fmla="*/ 5 w 6"/>
                  <a:gd name="T1" fmla="*/ 1 h 6"/>
                  <a:gd name="T2" fmla="*/ 4 w 6"/>
                  <a:gd name="T3" fmla="*/ 5 h 6"/>
                  <a:gd name="T4" fmla="*/ 1 w 6"/>
                  <a:gd name="T5" fmla="*/ 5 h 6"/>
                  <a:gd name="T6" fmla="*/ 5 w 6"/>
                  <a:gd name="T7" fmla="*/ 1 h 6"/>
                  <a:gd name="T8" fmla="*/ 5 w 6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5" y="1"/>
                    </a:moveTo>
                    <a:cubicBezTo>
                      <a:pt x="6" y="2"/>
                      <a:pt x="4" y="3"/>
                      <a:pt x="4" y="5"/>
                    </a:cubicBezTo>
                    <a:cubicBezTo>
                      <a:pt x="3" y="6"/>
                      <a:pt x="2" y="6"/>
                      <a:pt x="1" y="5"/>
                    </a:cubicBezTo>
                    <a:cubicBezTo>
                      <a:pt x="0" y="4"/>
                      <a:pt x="5" y="0"/>
                      <a:pt x="5" y="1"/>
                    </a:cubicBezTo>
                    <a:cubicBezTo>
                      <a:pt x="6" y="2"/>
                      <a:pt x="5" y="0"/>
                      <a:pt x="5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6" name="Freeform 506">
                <a:extLst>
                  <a:ext uri="{FF2B5EF4-FFF2-40B4-BE49-F238E27FC236}">
                    <a16:creationId xmlns:a16="http://schemas.microsoft.com/office/drawing/2014/main" id="{FFAA7C24-725C-419A-BDE1-276484AC7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5530" y="2997030"/>
                <a:ext cx="14335" cy="14335"/>
              </a:xfrm>
              <a:custGeom>
                <a:avLst/>
                <a:gdLst>
                  <a:gd name="T0" fmla="*/ 3 w 3"/>
                  <a:gd name="T1" fmla="*/ 1 h 3"/>
                  <a:gd name="T2" fmla="*/ 0 w 3"/>
                  <a:gd name="T3" fmla="*/ 2 h 3"/>
                  <a:gd name="T4" fmla="*/ 2 w 3"/>
                  <a:gd name="T5" fmla="*/ 3 h 3"/>
                  <a:gd name="T6" fmla="*/ 3 w 3"/>
                  <a:gd name="T7" fmla="*/ 1 h 3"/>
                  <a:gd name="T8" fmla="*/ 3 w 3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1"/>
                    </a:moveTo>
                    <a:cubicBezTo>
                      <a:pt x="2" y="1"/>
                      <a:pt x="0" y="1"/>
                      <a:pt x="0" y="2"/>
                    </a:cubicBezTo>
                    <a:cubicBezTo>
                      <a:pt x="0" y="3"/>
                      <a:pt x="2" y="3"/>
                      <a:pt x="2" y="3"/>
                    </a:cubicBezTo>
                    <a:cubicBezTo>
                      <a:pt x="3" y="3"/>
                      <a:pt x="3" y="0"/>
                      <a:pt x="3" y="1"/>
                    </a:cubicBezTo>
                    <a:cubicBezTo>
                      <a:pt x="2" y="1"/>
                      <a:pt x="3" y="1"/>
                      <a:pt x="3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7" name="Freeform 507">
                <a:extLst>
                  <a:ext uri="{FF2B5EF4-FFF2-40B4-BE49-F238E27FC236}">
                    <a16:creationId xmlns:a16="http://schemas.microsoft.com/office/drawing/2014/main" id="{B424FCCE-A064-4BB6-B60C-4BE704EB63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9865" y="3011365"/>
                <a:ext cx="7964" cy="4778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1" y="0"/>
                      <a:pt x="0" y="1"/>
                      <a:pt x="1" y="1"/>
                    </a:cubicBezTo>
                    <a:cubicBezTo>
                      <a:pt x="2" y="1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8" name="Freeform 508">
                <a:extLst>
                  <a:ext uri="{FF2B5EF4-FFF2-40B4-BE49-F238E27FC236}">
                    <a16:creationId xmlns:a16="http://schemas.microsoft.com/office/drawing/2014/main" id="{2C3B050D-E6DE-42C8-BF0E-2BF0FB92AA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9865" y="3024107"/>
                <a:ext cx="4778" cy="9557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0" y="2"/>
                      <a:pt x="0" y="2"/>
                    </a:cubicBezTo>
                    <a:cubicBezTo>
                      <a:pt x="1" y="2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9" name="Freeform 509">
                <a:extLst>
                  <a:ext uri="{FF2B5EF4-FFF2-40B4-BE49-F238E27FC236}">
                    <a16:creationId xmlns:a16="http://schemas.microsoft.com/office/drawing/2014/main" id="{611451EC-9705-4CC3-A191-6C67817D9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9865" y="3033662"/>
                <a:ext cx="7964" cy="4778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1" y="0"/>
                      <a:pt x="0" y="1"/>
                      <a:pt x="1" y="1"/>
                    </a:cubicBezTo>
                    <a:cubicBezTo>
                      <a:pt x="2" y="1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0" name="Freeform 510">
                <a:extLst>
                  <a:ext uri="{FF2B5EF4-FFF2-40B4-BE49-F238E27FC236}">
                    <a16:creationId xmlns:a16="http://schemas.microsoft.com/office/drawing/2014/main" id="{055C9A6A-0B7B-4716-9869-12D627144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499" y="3103745"/>
                <a:ext cx="4778" cy="9557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2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1" name="Freeform 511">
                <a:extLst>
                  <a:ext uri="{FF2B5EF4-FFF2-40B4-BE49-F238E27FC236}">
                    <a16:creationId xmlns:a16="http://schemas.microsoft.com/office/drawing/2014/main" id="{CCBAA9E4-E40B-4373-AD5B-3FBD1BCD8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6581" y="2893500"/>
                <a:ext cx="9557" cy="19114"/>
              </a:xfrm>
              <a:custGeom>
                <a:avLst/>
                <a:gdLst>
                  <a:gd name="T0" fmla="*/ 1 w 2"/>
                  <a:gd name="T1" fmla="*/ 4 h 4"/>
                  <a:gd name="T2" fmla="*/ 2 w 2"/>
                  <a:gd name="T3" fmla="*/ 1 h 4"/>
                  <a:gd name="T4" fmla="*/ 1 w 2"/>
                  <a:gd name="T5" fmla="*/ 4 h 4"/>
                  <a:gd name="T6" fmla="*/ 1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1" y="4"/>
                    </a:moveTo>
                    <a:cubicBezTo>
                      <a:pt x="0" y="3"/>
                      <a:pt x="0" y="1"/>
                      <a:pt x="2" y="1"/>
                    </a:cubicBezTo>
                    <a:cubicBezTo>
                      <a:pt x="2" y="0"/>
                      <a:pt x="2" y="4"/>
                      <a:pt x="1" y="4"/>
                    </a:cubicBezTo>
                    <a:cubicBezTo>
                      <a:pt x="0" y="3"/>
                      <a:pt x="1" y="4"/>
                      <a:pt x="1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2" name="Freeform 522">
                <a:extLst>
                  <a:ext uri="{FF2B5EF4-FFF2-40B4-BE49-F238E27FC236}">
                    <a16:creationId xmlns:a16="http://schemas.microsoft.com/office/drawing/2014/main" id="{7872061B-819F-4391-B29C-DD2522183D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2315" y="5556615"/>
                <a:ext cx="28669" cy="50968"/>
              </a:xfrm>
              <a:custGeom>
                <a:avLst/>
                <a:gdLst>
                  <a:gd name="T0" fmla="*/ 3 w 6"/>
                  <a:gd name="T1" fmla="*/ 10 h 11"/>
                  <a:gd name="T2" fmla="*/ 0 w 6"/>
                  <a:gd name="T3" fmla="*/ 9 h 11"/>
                  <a:gd name="T4" fmla="*/ 1 w 6"/>
                  <a:gd name="T5" fmla="*/ 2 h 11"/>
                  <a:gd name="T6" fmla="*/ 4 w 6"/>
                  <a:gd name="T7" fmla="*/ 3 h 11"/>
                  <a:gd name="T8" fmla="*/ 3 w 6"/>
                  <a:gd name="T9" fmla="*/ 10 h 11"/>
                  <a:gd name="T10" fmla="*/ 3 w 6"/>
                  <a:gd name="T11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1">
                    <a:moveTo>
                      <a:pt x="3" y="10"/>
                    </a:moveTo>
                    <a:cubicBezTo>
                      <a:pt x="1" y="11"/>
                      <a:pt x="0" y="11"/>
                      <a:pt x="0" y="9"/>
                    </a:cubicBezTo>
                    <a:cubicBezTo>
                      <a:pt x="1" y="7"/>
                      <a:pt x="1" y="4"/>
                      <a:pt x="1" y="2"/>
                    </a:cubicBezTo>
                    <a:cubicBezTo>
                      <a:pt x="1" y="0"/>
                      <a:pt x="5" y="0"/>
                      <a:pt x="4" y="3"/>
                    </a:cubicBezTo>
                    <a:cubicBezTo>
                      <a:pt x="4" y="5"/>
                      <a:pt x="6" y="8"/>
                      <a:pt x="3" y="10"/>
                    </a:cubicBezTo>
                    <a:cubicBezTo>
                      <a:pt x="2" y="10"/>
                      <a:pt x="4" y="9"/>
                      <a:pt x="3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3" name="Freeform 523">
                <a:extLst>
                  <a:ext uri="{FF2B5EF4-FFF2-40B4-BE49-F238E27FC236}">
                    <a16:creationId xmlns:a16="http://schemas.microsoft.com/office/drawing/2014/main" id="{87B3DC0C-EDE5-4F43-B9F6-E86748208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287" y="4231428"/>
                <a:ext cx="22299" cy="19114"/>
              </a:xfrm>
              <a:custGeom>
                <a:avLst/>
                <a:gdLst>
                  <a:gd name="T0" fmla="*/ 3 w 5"/>
                  <a:gd name="T1" fmla="*/ 3 h 4"/>
                  <a:gd name="T2" fmla="*/ 1 w 5"/>
                  <a:gd name="T3" fmla="*/ 1 h 4"/>
                  <a:gd name="T4" fmla="*/ 3 w 5"/>
                  <a:gd name="T5" fmla="*/ 3 h 4"/>
                  <a:gd name="T6" fmla="*/ 3 w 5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3" y="3"/>
                    </a:moveTo>
                    <a:cubicBezTo>
                      <a:pt x="2" y="4"/>
                      <a:pt x="0" y="3"/>
                      <a:pt x="1" y="1"/>
                    </a:cubicBezTo>
                    <a:cubicBezTo>
                      <a:pt x="1" y="0"/>
                      <a:pt x="5" y="2"/>
                      <a:pt x="3" y="3"/>
                    </a:cubicBezTo>
                    <a:cubicBezTo>
                      <a:pt x="2" y="4"/>
                      <a:pt x="5" y="2"/>
                      <a:pt x="3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4" name="Freeform 524">
                <a:extLst>
                  <a:ext uri="{FF2B5EF4-FFF2-40B4-BE49-F238E27FC236}">
                    <a16:creationId xmlns:a16="http://schemas.microsoft.com/office/drawing/2014/main" id="{7BFCB9EC-9CF2-4F8E-B457-5F49A3690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977" y="4260098"/>
                <a:ext cx="27076" cy="36635"/>
              </a:xfrm>
              <a:custGeom>
                <a:avLst/>
                <a:gdLst>
                  <a:gd name="T0" fmla="*/ 1 w 6"/>
                  <a:gd name="T1" fmla="*/ 5 h 8"/>
                  <a:gd name="T2" fmla="*/ 2 w 6"/>
                  <a:gd name="T3" fmla="*/ 4 h 8"/>
                  <a:gd name="T4" fmla="*/ 4 w 6"/>
                  <a:gd name="T5" fmla="*/ 2 h 8"/>
                  <a:gd name="T6" fmla="*/ 1 w 6"/>
                  <a:gd name="T7" fmla="*/ 5 h 8"/>
                  <a:gd name="T8" fmla="*/ 1 w 6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1" y="5"/>
                    </a:moveTo>
                    <a:cubicBezTo>
                      <a:pt x="0" y="4"/>
                      <a:pt x="2" y="4"/>
                      <a:pt x="2" y="4"/>
                    </a:cubicBezTo>
                    <a:cubicBezTo>
                      <a:pt x="3" y="4"/>
                      <a:pt x="3" y="0"/>
                      <a:pt x="4" y="2"/>
                    </a:cubicBezTo>
                    <a:cubicBezTo>
                      <a:pt x="6" y="4"/>
                      <a:pt x="2" y="8"/>
                      <a:pt x="1" y="5"/>
                    </a:cubicBezTo>
                    <a:cubicBezTo>
                      <a:pt x="0" y="4"/>
                      <a:pt x="1" y="6"/>
                      <a:pt x="1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5" name="Freeform 525">
                <a:extLst>
                  <a:ext uri="{FF2B5EF4-FFF2-40B4-BE49-F238E27FC236}">
                    <a16:creationId xmlns:a16="http://schemas.microsoft.com/office/drawing/2014/main" id="{3148223F-995B-4ED9-BCD2-CA57BC065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3414" y="4513349"/>
                <a:ext cx="65304" cy="60524"/>
              </a:xfrm>
              <a:custGeom>
                <a:avLst/>
                <a:gdLst>
                  <a:gd name="T0" fmla="*/ 12 w 14"/>
                  <a:gd name="T1" fmla="*/ 4 h 13"/>
                  <a:gd name="T2" fmla="*/ 10 w 14"/>
                  <a:gd name="T3" fmla="*/ 3 h 13"/>
                  <a:gd name="T4" fmla="*/ 6 w 14"/>
                  <a:gd name="T5" fmla="*/ 1 h 13"/>
                  <a:gd name="T6" fmla="*/ 2 w 14"/>
                  <a:gd name="T7" fmla="*/ 1 h 13"/>
                  <a:gd name="T8" fmla="*/ 1 w 14"/>
                  <a:gd name="T9" fmla="*/ 2 h 13"/>
                  <a:gd name="T10" fmla="*/ 2 w 14"/>
                  <a:gd name="T11" fmla="*/ 4 h 13"/>
                  <a:gd name="T12" fmla="*/ 1 w 14"/>
                  <a:gd name="T13" fmla="*/ 7 h 13"/>
                  <a:gd name="T14" fmla="*/ 2 w 14"/>
                  <a:gd name="T15" fmla="*/ 10 h 13"/>
                  <a:gd name="T16" fmla="*/ 4 w 14"/>
                  <a:gd name="T17" fmla="*/ 10 h 13"/>
                  <a:gd name="T18" fmla="*/ 7 w 14"/>
                  <a:gd name="T19" fmla="*/ 12 h 13"/>
                  <a:gd name="T20" fmla="*/ 10 w 14"/>
                  <a:gd name="T21" fmla="*/ 10 h 13"/>
                  <a:gd name="T22" fmla="*/ 12 w 14"/>
                  <a:gd name="T23" fmla="*/ 4 h 13"/>
                  <a:gd name="T24" fmla="*/ 12 w 14"/>
                  <a:gd name="T25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13">
                    <a:moveTo>
                      <a:pt x="12" y="4"/>
                    </a:moveTo>
                    <a:cubicBezTo>
                      <a:pt x="12" y="3"/>
                      <a:pt x="11" y="3"/>
                      <a:pt x="10" y="3"/>
                    </a:cubicBezTo>
                    <a:cubicBezTo>
                      <a:pt x="8" y="2"/>
                      <a:pt x="8" y="1"/>
                      <a:pt x="6" y="1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0" y="4"/>
                      <a:pt x="1" y="3"/>
                      <a:pt x="2" y="4"/>
                    </a:cubicBezTo>
                    <a:cubicBezTo>
                      <a:pt x="2" y="4"/>
                      <a:pt x="1" y="7"/>
                      <a:pt x="1" y="7"/>
                    </a:cubicBezTo>
                    <a:cubicBezTo>
                      <a:pt x="1" y="9"/>
                      <a:pt x="1" y="9"/>
                      <a:pt x="2" y="10"/>
                    </a:cubicBezTo>
                    <a:cubicBezTo>
                      <a:pt x="3" y="11"/>
                      <a:pt x="3" y="10"/>
                      <a:pt x="4" y="10"/>
                    </a:cubicBezTo>
                    <a:cubicBezTo>
                      <a:pt x="6" y="10"/>
                      <a:pt x="5" y="12"/>
                      <a:pt x="7" y="12"/>
                    </a:cubicBezTo>
                    <a:cubicBezTo>
                      <a:pt x="9" y="13"/>
                      <a:pt x="8" y="11"/>
                      <a:pt x="10" y="10"/>
                    </a:cubicBezTo>
                    <a:cubicBezTo>
                      <a:pt x="12" y="8"/>
                      <a:pt x="14" y="7"/>
                      <a:pt x="12" y="4"/>
                    </a:cubicBezTo>
                    <a:cubicBezTo>
                      <a:pt x="12" y="2"/>
                      <a:pt x="14" y="8"/>
                      <a:pt x="12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6" name="Freeform 526">
                <a:extLst>
                  <a:ext uri="{FF2B5EF4-FFF2-40B4-BE49-F238E27FC236}">
                    <a16:creationId xmlns:a16="http://schemas.microsoft.com/office/drawing/2014/main" id="{08B45B5A-1FDE-40D0-BEC5-A5CB41F79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1148" y="4081708"/>
                <a:ext cx="46190" cy="19114"/>
              </a:xfrm>
              <a:custGeom>
                <a:avLst/>
                <a:gdLst>
                  <a:gd name="T0" fmla="*/ 9 w 10"/>
                  <a:gd name="T1" fmla="*/ 2 h 4"/>
                  <a:gd name="T2" fmla="*/ 4 w 10"/>
                  <a:gd name="T3" fmla="*/ 0 h 4"/>
                  <a:gd name="T4" fmla="*/ 1 w 10"/>
                  <a:gd name="T5" fmla="*/ 3 h 4"/>
                  <a:gd name="T6" fmla="*/ 9 w 10"/>
                  <a:gd name="T7" fmla="*/ 2 h 4"/>
                  <a:gd name="T8" fmla="*/ 9 w 10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9" y="2"/>
                    </a:moveTo>
                    <a:cubicBezTo>
                      <a:pt x="7" y="1"/>
                      <a:pt x="6" y="0"/>
                      <a:pt x="4" y="0"/>
                    </a:cubicBezTo>
                    <a:cubicBezTo>
                      <a:pt x="3" y="0"/>
                      <a:pt x="0" y="1"/>
                      <a:pt x="1" y="3"/>
                    </a:cubicBezTo>
                    <a:cubicBezTo>
                      <a:pt x="2" y="4"/>
                      <a:pt x="9" y="2"/>
                      <a:pt x="9" y="2"/>
                    </a:cubicBezTo>
                    <a:cubicBezTo>
                      <a:pt x="6" y="1"/>
                      <a:pt x="10" y="3"/>
                      <a:pt x="9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7" name="Freeform 529">
                <a:extLst>
                  <a:ext uri="{FF2B5EF4-FFF2-40B4-BE49-F238E27FC236}">
                    <a16:creationId xmlns:a16="http://schemas.microsoft.com/office/drawing/2014/main" id="{ECC10E38-8451-4BFD-BB34-5AD2D7487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8340" y="3919245"/>
                <a:ext cx="19114" cy="17521"/>
              </a:xfrm>
              <a:custGeom>
                <a:avLst/>
                <a:gdLst>
                  <a:gd name="T0" fmla="*/ 2 w 4"/>
                  <a:gd name="T1" fmla="*/ 4 h 4"/>
                  <a:gd name="T2" fmla="*/ 1 w 4"/>
                  <a:gd name="T3" fmla="*/ 0 h 4"/>
                  <a:gd name="T4" fmla="*/ 2 w 4"/>
                  <a:gd name="T5" fmla="*/ 4 h 4"/>
                  <a:gd name="T6" fmla="*/ 2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cubicBezTo>
                      <a:pt x="0" y="4"/>
                      <a:pt x="1" y="1"/>
                      <a:pt x="1" y="0"/>
                    </a:cubicBezTo>
                    <a:cubicBezTo>
                      <a:pt x="2" y="0"/>
                      <a:pt x="4" y="4"/>
                      <a:pt x="2" y="4"/>
                    </a:cubicBezTo>
                    <a:cubicBezTo>
                      <a:pt x="1" y="4"/>
                      <a:pt x="4" y="4"/>
                      <a:pt x="2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8" name="Freeform 531">
                <a:extLst>
                  <a:ext uri="{FF2B5EF4-FFF2-40B4-BE49-F238E27FC236}">
                    <a16:creationId xmlns:a16="http://schemas.microsoft.com/office/drawing/2014/main" id="{F16C08D1-DC31-429E-97D2-02D80BB52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6533" y="3328326"/>
                <a:ext cx="27076" cy="47783"/>
              </a:xfrm>
              <a:custGeom>
                <a:avLst/>
                <a:gdLst>
                  <a:gd name="T0" fmla="*/ 3 w 6"/>
                  <a:gd name="T1" fmla="*/ 8 h 10"/>
                  <a:gd name="T2" fmla="*/ 0 w 6"/>
                  <a:gd name="T3" fmla="*/ 7 h 10"/>
                  <a:gd name="T4" fmla="*/ 4 w 6"/>
                  <a:gd name="T5" fmla="*/ 2 h 10"/>
                  <a:gd name="T6" fmla="*/ 6 w 6"/>
                  <a:gd name="T7" fmla="*/ 4 h 10"/>
                  <a:gd name="T8" fmla="*/ 3 w 6"/>
                  <a:gd name="T9" fmla="*/ 8 h 10"/>
                  <a:gd name="T10" fmla="*/ 3 w 6"/>
                  <a:gd name="T11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0">
                    <a:moveTo>
                      <a:pt x="3" y="8"/>
                    </a:moveTo>
                    <a:cubicBezTo>
                      <a:pt x="2" y="10"/>
                      <a:pt x="0" y="9"/>
                      <a:pt x="0" y="7"/>
                    </a:cubicBezTo>
                    <a:cubicBezTo>
                      <a:pt x="1" y="6"/>
                      <a:pt x="3" y="3"/>
                      <a:pt x="4" y="2"/>
                    </a:cubicBezTo>
                    <a:cubicBezTo>
                      <a:pt x="6" y="0"/>
                      <a:pt x="6" y="3"/>
                      <a:pt x="6" y="4"/>
                    </a:cubicBezTo>
                    <a:cubicBezTo>
                      <a:pt x="6" y="6"/>
                      <a:pt x="3" y="6"/>
                      <a:pt x="3" y="8"/>
                    </a:cubicBezTo>
                    <a:cubicBezTo>
                      <a:pt x="2" y="10"/>
                      <a:pt x="3" y="8"/>
                      <a:pt x="3" y="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9" name="Freeform 532">
                <a:extLst>
                  <a:ext uri="{FF2B5EF4-FFF2-40B4-BE49-F238E27FC236}">
                    <a16:creationId xmlns:a16="http://schemas.microsoft.com/office/drawing/2014/main" id="{EB289418-94C3-493B-95E5-457C21F7A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9276" y="3352218"/>
                <a:ext cx="33448" cy="19114"/>
              </a:xfrm>
              <a:custGeom>
                <a:avLst/>
                <a:gdLst>
                  <a:gd name="T0" fmla="*/ 3 w 7"/>
                  <a:gd name="T1" fmla="*/ 4 h 4"/>
                  <a:gd name="T2" fmla="*/ 5 w 7"/>
                  <a:gd name="T3" fmla="*/ 1 h 4"/>
                  <a:gd name="T4" fmla="*/ 3 w 7"/>
                  <a:gd name="T5" fmla="*/ 4 h 4"/>
                  <a:gd name="T6" fmla="*/ 3 w 7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3" y="4"/>
                    </a:moveTo>
                    <a:cubicBezTo>
                      <a:pt x="0" y="4"/>
                      <a:pt x="3" y="0"/>
                      <a:pt x="5" y="1"/>
                    </a:cubicBezTo>
                    <a:cubicBezTo>
                      <a:pt x="7" y="1"/>
                      <a:pt x="4" y="4"/>
                      <a:pt x="3" y="4"/>
                    </a:cubicBezTo>
                    <a:cubicBezTo>
                      <a:pt x="2" y="4"/>
                      <a:pt x="4" y="4"/>
                      <a:pt x="3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0" name="Freeform 533">
                <a:extLst>
                  <a:ext uri="{FF2B5EF4-FFF2-40B4-BE49-F238E27FC236}">
                    <a16:creationId xmlns:a16="http://schemas.microsoft.com/office/drawing/2014/main" id="{96B140EE-48A4-4BFF-A421-0116F5D57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6894" y="3333104"/>
                <a:ext cx="70082" cy="33448"/>
              </a:xfrm>
              <a:custGeom>
                <a:avLst/>
                <a:gdLst>
                  <a:gd name="T0" fmla="*/ 11 w 15"/>
                  <a:gd name="T1" fmla="*/ 6 h 7"/>
                  <a:gd name="T2" fmla="*/ 10 w 15"/>
                  <a:gd name="T3" fmla="*/ 5 h 7"/>
                  <a:gd name="T4" fmla="*/ 7 w 15"/>
                  <a:gd name="T5" fmla="*/ 5 h 7"/>
                  <a:gd name="T6" fmla="*/ 3 w 15"/>
                  <a:gd name="T7" fmla="*/ 0 h 7"/>
                  <a:gd name="T8" fmla="*/ 6 w 15"/>
                  <a:gd name="T9" fmla="*/ 2 h 7"/>
                  <a:gd name="T10" fmla="*/ 8 w 15"/>
                  <a:gd name="T11" fmla="*/ 3 h 7"/>
                  <a:gd name="T12" fmla="*/ 15 w 15"/>
                  <a:gd name="T13" fmla="*/ 3 h 7"/>
                  <a:gd name="T14" fmla="*/ 11 w 15"/>
                  <a:gd name="T15" fmla="*/ 6 h 7"/>
                  <a:gd name="T16" fmla="*/ 11 w 15"/>
                  <a:gd name="T1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7">
                    <a:moveTo>
                      <a:pt x="11" y="6"/>
                    </a:moveTo>
                    <a:cubicBezTo>
                      <a:pt x="10" y="6"/>
                      <a:pt x="10" y="6"/>
                      <a:pt x="10" y="5"/>
                    </a:cubicBezTo>
                    <a:cubicBezTo>
                      <a:pt x="10" y="5"/>
                      <a:pt x="8" y="6"/>
                      <a:pt x="7" y="5"/>
                    </a:cubicBezTo>
                    <a:cubicBezTo>
                      <a:pt x="7" y="4"/>
                      <a:pt x="0" y="1"/>
                      <a:pt x="3" y="0"/>
                    </a:cubicBezTo>
                    <a:cubicBezTo>
                      <a:pt x="4" y="0"/>
                      <a:pt x="5" y="2"/>
                      <a:pt x="6" y="2"/>
                    </a:cubicBezTo>
                    <a:cubicBezTo>
                      <a:pt x="7" y="3"/>
                      <a:pt x="7" y="2"/>
                      <a:pt x="8" y="3"/>
                    </a:cubicBezTo>
                    <a:cubicBezTo>
                      <a:pt x="9" y="4"/>
                      <a:pt x="13" y="2"/>
                      <a:pt x="15" y="3"/>
                    </a:cubicBezTo>
                    <a:cubicBezTo>
                      <a:pt x="14" y="3"/>
                      <a:pt x="12" y="6"/>
                      <a:pt x="11" y="6"/>
                    </a:cubicBezTo>
                    <a:cubicBezTo>
                      <a:pt x="9" y="7"/>
                      <a:pt x="12" y="6"/>
                      <a:pt x="11" y="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1" name="Freeform 534">
                <a:extLst>
                  <a:ext uri="{FF2B5EF4-FFF2-40B4-BE49-F238E27FC236}">
                    <a16:creationId xmlns:a16="http://schemas.microsoft.com/office/drawing/2014/main" id="{F73295EC-FC04-4120-81AA-772D27907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1231" y="3240724"/>
                <a:ext cx="73267" cy="36635"/>
              </a:xfrm>
              <a:custGeom>
                <a:avLst/>
                <a:gdLst>
                  <a:gd name="T0" fmla="*/ 13 w 16"/>
                  <a:gd name="T1" fmla="*/ 6 h 8"/>
                  <a:gd name="T2" fmla="*/ 0 w 16"/>
                  <a:gd name="T3" fmla="*/ 2 h 8"/>
                  <a:gd name="T4" fmla="*/ 13 w 16"/>
                  <a:gd name="T5" fmla="*/ 6 h 8"/>
                  <a:gd name="T6" fmla="*/ 13 w 16"/>
                  <a:gd name="T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8">
                    <a:moveTo>
                      <a:pt x="13" y="6"/>
                    </a:moveTo>
                    <a:cubicBezTo>
                      <a:pt x="11" y="8"/>
                      <a:pt x="1" y="4"/>
                      <a:pt x="0" y="2"/>
                    </a:cubicBezTo>
                    <a:cubicBezTo>
                      <a:pt x="0" y="0"/>
                      <a:pt x="16" y="4"/>
                      <a:pt x="13" y="6"/>
                    </a:cubicBezTo>
                    <a:cubicBezTo>
                      <a:pt x="12" y="7"/>
                      <a:pt x="14" y="5"/>
                      <a:pt x="13" y="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2" name="Freeform 535">
                <a:extLst>
                  <a:ext uri="{FF2B5EF4-FFF2-40B4-BE49-F238E27FC236}">
                    <a16:creationId xmlns:a16="http://schemas.microsoft.com/office/drawing/2014/main" id="{FB88B893-8E83-4B7F-8C03-0944884B0B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7502" y="3192941"/>
                <a:ext cx="149721" cy="144942"/>
              </a:xfrm>
              <a:custGeom>
                <a:avLst/>
                <a:gdLst>
                  <a:gd name="T0" fmla="*/ 19 w 32"/>
                  <a:gd name="T1" fmla="*/ 1 h 31"/>
                  <a:gd name="T2" fmla="*/ 17 w 32"/>
                  <a:gd name="T3" fmla="*/ 0 h 31"/>
                  <a:gd name="T4" fmla="*/ 14 w 32"/>
                  <a:gd name="T5" fmla="*/ 2 h 31"/>
                  <a:gd name="T6" fmla="*/ 11 w 32"/>
                  <a:gd name="T7" fmla="*/ 5 h 31"/>
                  <a:gd name="T8" fmla="*/ 9 w 32"/>
                  <a:gd name="T9" fmla="*/ 7 h 31"/>
                  <a:gd name="T10" fmla="*/ 7 w 32"/>
                  <a:gd name="T11" fmla="*/ 13 h 31"/>
                  <a:gd name="T12" fmla="*/ 5 w 32"/>
                  <a:gd name="T13" fmla="*/ 17 h 31"/>
                  <a:gd name="T14" fmla="*/ 2 w 32"/>
                  <a:gd name="T15" fmla="*/ 19 h 31"/>
                  <a:gd name="T16" fmla="*/ 4 w 32"/>
                  <a:gd name="T17" fmla="*/ 21 h 31"/>
                  <a:gd name="T18" fmla="*/ 0 w 32"/>
                  <a:gd name="T19" fmla="*/ 25 h 31"/>
                  <a:gd name="T20" fmla="*/ 4 w 32"/>
                  <a:gd name="T21" fmla="*/ 25 h 31"/>
                  <a:gd name="T22" fmla="*/ 10 w 32"/>
                  <a:gd name="T23" fmla="*/ 26 h 31"/>
                  <a:gd name="T24" fmla="*/ 19 w 32"/>
                  <a:gd name="T25" fmla="*/ 27 h 31"/>
                  <a:gd name="T26" fmla="*/ 22 w 32"/>
                  <a:gd name="T27" fmla="*/ 26 h 31"/>
                  <a:gd name="T28" fmla="*/ 19 w 32"/>
                  <a:gd name="T29" fmla="*/ 30 h 31"/>
                  <a:gd name="T30" fmla="*/ 22 w 32"/>
                  <a:gd name="T31" fmla="*/ 28 h 31"/>
                  <a:gd name="T32" fmla="*/ 27 w 32"/>
                  <a:gd name="T33" fmla="*/ 26 h 31"/>
                  <a:gd name="T34" fmla="*/ 32 w 32"/>
                  <a:gd name="T35" fmla="*/ 20 h 31"/>
                  <a:gd name="T36" fmla="*/ 29 w 32"/>
                  <a:gd name="T37" fmla="*/ 20 h 31"/>
                  <a:gd name="T38" fmla="*/ 26 w 32"/>
                  <a:gd name="T39" fmla="*/ 18 h 31"/>
                  <a:gd name="T40" fmla="*/ 29 w 32"/>
                  <a:gd name="T41" fmla="*/ 15 h 31"/>
                  <a:gd name="T42" fmla="*/ 26 w 32"/>
                  <a:gd name="T43" fmla="*/ 15 h 31"/>
                  <a:gd name="T44" fmla="*/ 24 w 32"/>
                  <a:gd name="T45" fmla="*/ 13 h 31"/>
                  <a:gd name="T46" fmla="*/ 21 w 32"/>
                  <a:gd name="T47" fmla="*/ 16 h 31"/>
                  <a:gd name="T48" fmla="*/ 18 w 32"/>
                  <a:gd name="T49" fmla="*/ 13 h 31"/>
                  <a:gd name="T50" fmla="*/ 19 w 32"/>
                  <a:gd name="T51" fmla="*/ 11 h 31"/>
                  <a:gd name="T52" fmla="*/ 16 w 32"/>
                  <a:gd name="T53" fmla="*/ 9 h 31"/>
                  <a:gd name="T54" fmla="*/ 14 w 32"/>
                  <a:gd name="T55" fmla="*/ 12 h 31"/>
                  <a:gd name="T56" fmla="*/ 16 w 32"/>
                  <a:gd name="T57" fmla="*/ 7 h 31"/>
                  <a:gd name="T58" fmla="*/ 18 w 32"/>
                  <a:gd name="T59" fmla="*/ 4 h 31"/>
                  <a:gd name="T60" fmla="*/ 18 w 32"/>
                  <a:gd name="T61" fmla="*/ 2 h 31"/>
                  <a:gd name="T62" fmla="*/ 19 w 32"/>
                  <a:gd name="T63" fmla="*/ 1 h 31"/>
                  <a:gd name="T64" fmla="*/ 19 w 32"/>
                  <a:gd name="T65" fmla="*/ 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" h="31">
                    <a:moveTo>
                      <a:pt x="19" y="1"/>
                    </a:moveTo>
                    <a:cubicBezTo>
                      <a:pt x="20" y="0"/>
                      <a:pt x="17" y="0"/>
                      <a:pt x="17" y="0"/>
                    </a:cubicBezTo>
                    <a:cubicBezTo>
                      <a:pt x="16" y="0"/>
                      <a:pt x="15" y="1"/>
                      <a:pt x="14" y="2"/>
                    </a:cubicBezTo>
                    <a:cubicBezTo>
                      <a:pt x="13" y="3"/>
                      <a:pt x="12" y="4"/>
                      <a:pt x="11" y="5"/>
                    </a:cubicBezTo>
                    <a:cubicBezTo>
                      <a:pt x="11" y="6"/>
                      <a:pt x="10" y="7"/>
                      <a:pt x="9" y="7"/>
                    </a:cubicBezTo>
                    <a:cubicBezTo>
                      <a:pt x="9" y="9"/>
                      <a:pt x="8" y="11"/>
                      <a:pt x="7" y="13"/>
                    </a:cubicBezTo>
                    <a:cubicBezTo>
                      <a:pt x="7" y="15"/>
                      <a:pt x="6" y="16"/>
                      <a:pt x="5" y="17"/>
                    </a:cubicBezTo>
                    <a:cubicBezTo>
                      <a:pt x="4" y="18"/>
                      <a:pt x="2" y="19"/>
                      <a:pt x="2" y="19"/>
                    </a:cubicBezTo>
                    <a:cubicBezTo>
                      <a:pt x="2" y="20"/>
                      <a:pt x="4" y="20"/>
                      <a:pt x="4" y="21"/>
                    </a:cubicBezTo>
                    <a:cubicBezTo>
                      <a:pt x="4" y="22"/>
                      <a:pt x="0" y="24"/>
                      <a:pt x="0" y="25"/>
                    </a:cubicBezTo>
                    <a:cubicBezTo>
                      <a:pt x="0" y="27"/>
                      <a:pt x="3" y="26"/>
                      <a:pt x="4" y="25"/>
                    </a:cubicBezTo>
                    <a:cubicBezTo>
                      <a:pt x="6" y="25"/>
                      <a:pt x="8" y="26"/>
                      <a:pt x="10" y="26"/>
                    </a:cubicBezTo>
                    <a:cubicBezTo>
                      <a:pt x="13" y="27"/>
                      <a:pt x="16" y="26"/>
                      <a:pt x="19" y="27"/>
                    </a:cubicBezTo>
                    <a:cubicBezTo>
                      <a:pt x="19" y="27"/>
                      <a:pt x="22" y="25"/>
                      <a:pt x="22" y="26"/>
                    </a:cubicBezTo>
                    <a:cubicBezTo>
                      <a:pt x="22" y="27"/>
                      <a:pt x="19" y="30"/>
                      <a:pt x="19" y="30"/>
                    </a:cubicBezTo>
                    <a:cubicBezTo>
                      <a:pt x="20" y="31"/>
                      <a:pt x="22" y="28"/>
                      <a:pt x="22" y="28"/>
                    </a:cubicBezTo>
                    <a:cubicBezTo>
                      <a:pt x="24" y="27"/>
                      <a:pt x="26" y="27"/>
                      <a:pt x="27" y="26"/>
                    </a:cubicBezTo>
                    <a:cubicBezTo>
                      <a:pt x="27" y="25"/>
                      <a:pt x="32" y="20"/>
                      <a:pt x="32" y="20"/>
                    </a:cubicBezTo>
                    <a:cubicBezTo>
                      <a:pt x="31" y="19"/>
                      <a:pt x="30" y="20"/>
                      <a:pt x="29" y="20"/>
                    </a:cubicBezTo>
                    <a:cubicBezTo>
                      <a:pt x="29" y="20"/>
                      <a:pt x="26" y="18"/>
                      <a:pt x="26" y="18"/>
                    </a:cubicBezTo>
                    <a:cubicBezTo>
                      <a:pt x="26" y="17"/>
                      <a:pt x="30" y="16"/>
                      <a:pt x="29" y="15"/>
                    </a:cubicBezTo>
                    <a:cubicBezTo>
                      <a:pt x="29" y="14"/>
                      <a:pt x="27" y="15"/>
                      <a:pt x="26" y="15"/>
                    </a:cubicBezTo>
                    <a:cubicBezTo>
                      <a:pt x="25" y="15"/>
                      <a:pt x="25" y="13"/>
                      <a:pt x="24" y="13"/>
                    </a:cubicBezTo>
                    <a:cubicBezTo>
                      <a:pt x="24" y="13"/>
                      <a:pt x="21" y="16"/>
                      <a:pt x="21" y="16"/>
                    </a:cubicBezTo>
                    <a:cubicBezTo>
                      <a:pt x="20" y="14"/>
                      <a:pt x="20" y="14"/>
                      <a:pt x="18" y="13"/>
                    </a:cubicBezTo>
                    <a:cubicBezTo>
                      <a:pt x="16" y="12"/>
                      <a:pt x="19" y="12"/>
                      <a:pt x="19" y="11"/>
                    </a:cubicBezTo>
                    <a:cubicBezTo>
                      <a:pt x="19" y="11"/>
                      <a:pt x="17" y="9"/>
                      <a:pt x="16" y="9"/>
                    </a:cubicBezTo>
                    <a:cubicBezTo>
                      <a:pt x="16" y="10"/>
                      <a:pt x="14" y="13"/>
                      <a:pt x="14" y="12"/>
                    </a:cubicBezTo>
                    <a:cubicBezTo>
                      <a:pt x="12" y="11"/>
                      <a:pt x="15" y="7"/>
                      <a:pt x="16" y="7"/>
                    </a:cubicBezTo>
                    <a:cubicBezTo>
                      <a:pt x="17" y="6"/>
                      <a:pt x="17" y="5"/>
                      <a:pt x="18" y="4"/>
                    </a:cubicBezTo>
                    <a:cubicBezTo>
                      <a:pt x="18" y="3"/>
                      <a:pt x="18" y="2"/>
                      <a:pt x="18" y="2"/>
                    </a:cubicBezTo>
                    <a:cubicBezTo>
                      <a:pt x="18" y="2"/>
                      <a:pt x="19" y="1"/>
                      <a:pt x="19" y="1"/>
                    </a:cubicBezTo>
                    <a:cubicBezTo>
                      <a:pt x="20" y="0"/>
                      <a:pt x="19" y="1"/>
                      <a:pt x="19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3" name="Freeform 536">
                <a:extLst>
                  <a:ext uri="{FF2B5EF4-FFF2-40B4-BE49-F238E27FC236}">
                    <a16:creationId xmlns:a16="http://schemas.microsoft.com/office/drawing/2014/main" id="{019E8A33-5526-43CA-AB6B-539EF120F1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8553" y="3296471"/>
                <a:ext cx="38227" cy="46190"/>
              </a:xfrm>
              <a:custGeom>
                <a:avLst/>
                <a:gdLst>
                  <a:gd name="T0" fmla="*/ 6 w 8"/>
                  <a:gd name="T1" fmla="*/ 1 h 10"/>
                  <a:gd name="T2" fmla="*/ 1 w 8"/>
                  <a:gd name="T3" fmla="*/ 9 h 10"/>
                  <a:gd name="T4" fmla="*/ 4 w 8"/>
                  <a:gd name="T5" fmla="*/ 7 h 10"/>
                  <a:gd name="T6" fmla="*/ 3 w 8"/>
                  <a:gd name="T7" fmla="*/ 10 h 10"/>
                  <a:gd name="T8" fmla="*/ 6 w 8"/>
                  <a:gd name="T9" fmla="*/ 8 h 10"/>
                  <a:gd name="T10" fmla="*/ 8 w 8"/>
                  <a:gd name="T11" fmla="*/ 4 h 10"/>
                  <a:gd name="T12" fmla="*/ 5 w 8"/>
                  <a:gd name="T13" fmla="*/ 4 h 10"/>
                  <a:gd name="T14" fmla="*/ 6 w 8"/>
                  <a:gd name="T15" fmla="*/ 1 h 10"/>
                  <a:gd name="T16" fmla="*/ 6 w 8"/>
                  <a:gd name="T17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0">
                    <a:moveTo>
                      <a:pt x="6" y="1"/>
                    </a:moveTo>
                    <a:cubicBezTo>
                      <a:pt x="5" y="2"/>
                      <a:pt x="0" y="6"/>
                      <a:pt x="1" y="9"/>
                    </a:cubicBezTo>
                    <a:cubicBezTo>
                      <a:pt x="1" y="9"/>
                      <a:pt x="3" y="6"/>
                      <a:pt x="4" y="7"/>
                    </a:cubicBezTo>
                    <a:cubicBezTo>
                      <a:pt x="4" y="7"/>
                      <a:pt x="3" y="10"/>
                      <a:pt x="3" y="10"/>
                    </a:cubicBezTo>
                    <a:cubicBezTo>
                      <a:pt x="4" y="10"/>
                      <a:pt x="6" y="9"/>
                      <a:pt x="6" y="8"/>
                    </a:cubicBezTo>
                    <a:cubicBezTo>
                      <a:pt x="6" y="7"/>
                      <a:pt x="7" y="6"/>
                      <a:pt x="8" y="4"/>
                    </a:cubicBezTo>
                    <a:cubicBezTo>
                      <a:pt x="8" y="2"/>
                      <a:pt x="6" y="4"/>
                      <a:pt x="5" y="4"/>
                    </a:cubicBezTo>
                    <a:cubicBezTo>
                      <a:pt x="6" y="4"/>
                      <a:pt x="6" y="0"/>
                      <a:pt x="6" y="1"/>
                    </a:cubicBezTo>
                    <a:cubicBezTo>
                      <a:pt x="5" y="1"/>
                      <a:pt x="7" y="0"/>
                      <a:pt x="6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4" name="Freeform 537">
                <a:extLst>
                  <a:ext uri="{FF2B5EF4-FFF2-40B4-BE49-F238E27FC236}">
                    <a16:creationId xmlns:a16="http://schemas.microsoft.com/office/drawing/2014/main" id="{A6DA81DC-C34A-44D3-B374-A8CC2FE0B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7339" y="2847308"/>
                <a:ext cx="14335" cy="27077"/>
              </a:xfrm>
              <a:custGeom>
                <a:avLst/>
                <a:gdLst>
                  <a:gd name="T0" fmla="*/ 3 w 3"/>
                  <a:gd name="T1" fmla="*/ 4 h 6"/>
                  <a:gd name="T2" fmla="*/ 1 w 3"/>
                  <a:gd name="T3" fmla="*/ 1 h 6"/>
                  <a:gd name="T4" fmla="*/ 1 w 3"/>
                  <a:gd name="T5" fmla="*/ 2 h 6"/>
                  <a:gd name="T6" fmla="*/ 0 w 3"/>
                  <a:gd name="T7" fmla="*/ 2 h 6"/>
                  <a:gd name="T8" fmla="*/ 3 w 3"/>
                  <a:gd name="T9" fmla="*/ 4 h 6"/>
                  <a:gd name="T10" fmla="*/ 3 w 3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6">
                    <a:moveTo>
                      <a:pt x="3" y="4"/>
                    </a:moveTo>
                    <a:cubicBezTo>
                      <a:pt x="3" y="3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2"/>
                      <a:pt x="3" y="6"/>
                      <a:pt x="3" y="4"/>
                    </a:cubicBezTo>
                    <a:cubicBezTo>
                      <a:pt x="3" y="3"/>
                      <a:pt x="3" y="6"/>
                      <a:pt x="3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5" name="Freeform 538">
                <a:extLst>
                  <a:ext uri="{FF2B5EF4-FFF2-40B4-BE49-F238E27FC236}">
                    <a16:creationId xmlns:a16="http://schemas.microsoft.com/office/drawing/2014/main" id="{FDA3A762-DB28-4945-96AC-CA0898188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259" y="2893500"/>
                <a:ext cx="14335" cy="14335"/>
              </a:xfrm>
              <a:custGeom>
                <a:avLst/>
                <a:gdLst>
                  <a:gd name="T0" fmla="*/ 2 w 3"/>
                  <a:gd name="T1" fmla="*/ 1 h 3"/>
                  <a:gd name="T2" fmla="*/ 0 w 3"/>
                  <a:gd name="T3" fmla="*/ 2 h 3"/>
                  <a:gd name="T4" fmla="*/ 2 w 3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2" y="1"/>
                    </a:moveTo>
                    <a:cubicBezTo>
                      <a:pt x="2" y="0"/>
                      <a:pt x="0" y="2"/>
                      <a:pt x="0" y="2"/>
                    </a:cubicBezTo>
                    <a:cubicBezTo>
                      <a:pt x="1" y="3"/>
                      <a:pt x="3" y="2"/>
                      <a:pt x="2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6" name="Freeform 539">
                <a:extLst>
                  <a:ext uri="{FF2B5EF4-FFF2-40B4-BE49-F238E27FC236}">
                    <a16:creationId xmlns:a16="http://schemas.microsoft.com/office/drawing/2014/main" id="{69CCF4C1-9EAC-49ED-81C6-086E4E84C9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5517" y="3141973"/>
                <a:ext cx="31856" cy="19114"/>
              </a:xfrm>
              <a:custGeom>
                <a:avLst/>
                <a:gdLst>
                  <a:gd name="T0" fmla="*/ 7 w 7"/>
                  <a:gd name="T1" fmla="*/ 3 h 4"/>
                  <a:gd name="T2" fmla="*/ 1 w 7"/>
                  <a:gd name="T3" fmla="*/ 1 h 4"/>
                  <a:gd name="T4" fmla="*/ 7 w 7"/>
                  <a:gd name="T5" fmla="*/ 3 h 4"/>
                  <a:gd name="T6" fmla="*/ 7 w 7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7" y="3"/>
                    </a:moveTo>
                    <a:cubicBezTo>
                      <a:pt x="7" y="0"/>
                      <a:pt x="3" y="0"/>
                      <a:pt x="1" y="1"/>
                    </a:cubicBezTo>
                    <a:cubicBezTo>
                      <a:pt x="0" y="1"/>
                      <a:pt x="7" y="4"/>
                      <a:pt x="7" y="3"/>
                    </a:cubicBezTo>
                    <a:cubicBezTo>
                      <a:pt x="7" y="0"/>
                      <a:pt x="7" y="4"/>
                      <a:pt x="7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7" name="Freeform 540">
                <a:extLst>
                  <a:ext uri="{FF2B5EF4-FFF2-40B4-BE49-F238E27FC236}">
                    <a16:creationId xmlns:a16="http://schemas.microsoft.com/office/drawing/2014/main" id="{7E78D4AF-C714-4106-A4EC-061D96DD9D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484" y="3028886"/>
                <a:ext cx="28669" cy="28669"/>
              </a:xfrm>
              <a:custGeom>
                <a:avLst/>
                <a:gdLst>
                  <a:gd name="T0" fmla="*/ 3 w 6"/>
                  <a:gd name="T1" fmla="*/ 5 h 6"/>
                  <a:gd name="T2" fmla="*/ 0 w 6"/>
                  <a:gd name="T3" fmla="*/ 3 h 6"/>
                  <a:gd name="T4" fmla="*/ 4 w 6"/>
                  <a:gd name="T5" fmla="*/ 2 h 6"/>
                  <a:gd name="T6" fmla="*/ 3 w 6"/>
                  <a:gd name="T7" fmla="*/ 5 h 6"/>
                  <a:gd name="T8" fmla="*/ 3 w 6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3" y="5"/>
                    </a:moveTo>
                    <a:cubicBezTo>
                      <a:pt x="2" y="4"/>
                      <a:pt x="1" y="4"/>
                      <a:pt x="0" y="3"/>
                    </a:cubicBezTo>
                    <a:cubicBezTo>
                      <a:pt x="1" y="3"/>
                      <a:pt x="3" y="0"/>
                      <a:pt x="4" y="2"/>
                    </a:cubicBezTo>
                    <a:cubicBezTo>
                      <a:pt x="6" y="3"/>
                      <a:pt x="5" y="6"/>
                      <a:pt x="3" y="5"/>
                    </a:cubicBezTo>
                    <a:cubicBezTo>
                      <a:pt x="2" y="4"/>
                      <a:pt x="4" y="6"/>
                      <a:pt x="3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8" name="Freeform 541">
                <a:extLst>
                  <a:ext uri="{FF2B5EF4-FFF2-40B4-BE49-F238E27FC236}">
                    <a16:creationId xmlns:a16="http://schemas.microsoft.com/office/drawing/2014/main" id="{3939432B-7BE4-4975-B20F-B89F336D2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2150" y="2828194"/>
                <a:ext cx="28669" cy="33448"/>
              </a:xfrm>
              <a:custGeom>
                <a:avLst/>
                <a:gdLst>
                  <a:gd name="T0" fmla="*/ 3 w 6"/>
                  <a:gd name="T1" fmla="*/ 6 h 7"/>
                  <a:gd name="T2" fmla="*/ 4 w 6"/>
                  <a:gd name="T3" fmla="*/ 1 h 7"/>
                  <a:gd name="T4" fmla="*/ 3 w 6"/>
                  <a:gd name="T5" fmla="*/ 6 h 7"/>
                  <a:gd name="T6" fmla="*/ 3 w 6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3" y="6"/>
                    </a:moveTo>
                    <a:cubicBezTo>
                      <a:pt x="0" y="7"/>
                      <a:pt x="1" y="0"/>
                      <a:pt x="4" y="1"/>
                    </a:cubicBezTo>
                    <a:cubicBezTo>
                      <a:pt x="6" y="1"/>
                      <a:pt x="5" y="6"/>
                      <a:pt x="3" y="6"/>
                    </a:cubicBezTo>
                    <a:cubicBezTo>
                      <a:pt x="2" y="6"/>
                      <a:pt x="6" y="6"/>
                      <a:pt x="3" y="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9" name="Freeform 542">
                <a:extLst>
                  <a:ext uri="{FF2B5EF4-FFF2-40B4-BE49-F238E27FC236}">
                    <a16:creationId xmlns:a16="http://schemas.microsoft.com/office/drawing/2014/main" id="{9E6CEF2C-D6D3-4D2A-AE6B-E6460D45C5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2512" y="2809082"/>
                <a:ext cx="55747" cy="28669"/>
              </a:xfrm>
              <a:custGeom>
                <a:avLst/>
                <a:gdLst>
                  <a:gd name="T0" fmla="*/ 4 w 12"/>
                  <a:gd name="T1" fmla="*/ 6 h 6"/>
                  <a:gd name="T2" fmla="*/ 1 w 12"/>
                  <a:gd name="T3" fmla="*/ 3 h 6"/>
                  <a:gd name="T4" fmla="*/ 8 w 12"/>
                  <a:gd name="T5" fmla="*/ 0 h 6"/>
                  <a:gd name="T6" fmla="*/ 4 w 12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6">
                    <a:moveTo>
                      <a:pt x="4" y="6"/>
                    </a:moveTo>
                    <a:cubicBezTo>
                      <a:pt x="2" y="6"/>
                      <a:pt x="0" y="5"/>
                      <a:pt x="1" y="3"/>
                    </a:cubicBezTo>
                    <a:cubicBezTo>
                      <a:pt x="2" y="1"/>
                      <a:pt x="5" y="1"/>
                      <a:pt x="8" y="0"/>
                    </a:cubicBezTo>
                    <a:cubicBezTo>
                      <a:pt x="12" y="0"/>
                      <a:pt x="6" y="6"/>
                      <a:pt x="4" y="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0" name="Freeform 543">
                <a:extLst>
                  <a:ext uri="{FF2B5EF4-FFF2-40B4-BE49-F238E27FC236}">
                    <a16:creationId xmlns:a16="http://schemas.microsoft.com/office/drawing/2014/main" id="{072450CE-86FF-4B9E-8A3F-C2C613A78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0376" y="2791561"/>
                <a:ext cx="31856" cy="12742"/>
              </a:xfrm>
              <a:custGeom>
                <a:avLst/>
                <a:gdLst>
                  <a:gd name="T0" fmla="*/ 5 w 7"/>
                  <a:gd name="T1" fmla="*/ 3 h 3"/>
                  <a:gd name="T2" fmla="*/ 3 w 7"/>
                  <a:gd name="T3" fmla="*/ 0 h 3"/>
                  <a:gd name="T4" fmla="*/ 7 w 7"/>
                  <a:gd name="T5" fmla="*/ 1 h 3"/>
                  <a:gd name="T6" fmla="*/ 5 w 7"/>
                  <a:gd name="T7" fmla="*/ 3 h 3"/>
                  <a:gd name="T8" fmla="*/ 5 w 7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">
                    <a:moveTo>
                      <a:pt x="5" y="3"/>
                    </a:moveTo>
                    <a:cubicBezTo>
                      <a:pt x="4" y="3"/>
                      <a:pt x="0" y="0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ubicBezTo>
                      <a:pt x="7" y="1"/>
                      <a:pt x="6" y="3"/>
                      <a:pt x="5" y="3"/>
                    </a:cubicBezTo>
                    <a:cubicBezTo>
                      <a:pt x="4" y="3"/>
                      <a:pt x="7" y="3"/>
                      <a:pt x="5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1" name="Freeform 544">
                <a:extLst>
                  <a:ext uri="{FF2B5EF4-FFF2-40B4-BE49-F238E27FC236}">
                    <a16:creationId xmlns:a16="http://schemas.microsoft.com/office/drawing/2014/main" id="{3E567162-9D72-4556-A0E0-7970620F6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2872" y="2697587"/>
                <a:ext cx="159278" cy="111494"/>
              </a:xfrm>
              <a:custGeom>
                <a:avLst/>
                <a:gdLst>
                  <a:gd name="T0" fmla="*/ 31 w 34"/>
                  <a:gd name="T1" fmla="*/ 21 h 24"/>
                  <a:gd name="T2" fmla="*/ 25 w 34"/>
                  <a:gd name="T3" fmla="*/ 18 h 24"/>
                  <a:gd name="T4" fmla="*/ 24 w 34"/>
                  <a:gd name="T5" fmla="*/ 16 h 24"/>
                  <a:gd name="T6" fmla="*/ 22 w 34"/>
                  <a:gd name="T7" fmla="*/ 17 h 24"/>
                  <a:gd name="T8" fmla="*/ 18 w 34"/>
                  <a:gd name="T9" fmla="*/ 16 h 24"/>
                  <a:gd name="T10" fmla="*/ 16 w 34"/>
                  <a:gd name="T11" fmla="*/ 19 h 24"/>
                  <a:gd name="T12" fmla="*/ 11 w 34"/>
                  <a:gd name="T13" fmla="*/ 23 h 24"/>
                  <a:gd name="T14" fmla="*/ 8 w 34"/>
                  <a:gd name="T15" fmla="*/ 19 h 24"/>
                  <a:gd name="T16" fmla="*/ 2 w 34"/>
                  <a:gd name="T17" fmla="*/ 19 h 24"/>
                  <a:gd name="T18" fmla="*/ 4 w 34"/>
                  <a:gd name="T19" fmla="*/ 16 h 24"/>
                  <a:gd name="T20" fmla="*/ 5 w 34"/>
                  <a:gd name="T21" fmla="*/ 10 h 24"/>
                  <a:gd name="T22" fmla="*/ 6 w 34"/>
                  <a:gd name="T23" fmla="*/ 3 h 24"/>
                  <a:gd name="T24" fmla="*/ 11 w 34"/>
                  <a:gd name="T25" fmla="*/ 3 h 24"/>
                  <a:gd name="T26" fmla="*/ 12 w 34"/>
                  <a:gd name="T27" fmla="*/ 5 h 24"/>
                  <a:gd name="T28" fmla="*/ 14 w 34"/>
                  <a:gd name="T29" fmla="*/ 4 h 24"/>
                  <a:gd name="T30" fmla="*/ 17 w 34"/>
                  <a:gd name="T31" fmla="*/ 6 h 24"/>
                  <a:gd name="T32" fmla="*/ 20 w 34"/>
                  <a:gd name="T33" fmla="*/ 7 h 24"/>
                  <a:gd name="T34" fmla="*/ 25 w 34"/>
                  <a:gd name="T35" fmla="*/ 10 h 24"/>
                  <a:gd name="T36" fmla="*/ 28 w 34"/>
                  <a:gd name="T37" fmla="*/ 15 h 24"/>
                  <a:gd name="T38" fmla="*/ 30 w 34"/>
                  <a:gd name="T39" fmla="*/ 15 h 24"/>
                  <a:gd name="T40" fmla="*/ 33 w 34"/>
                  <a:gd name="T41" fmla="*/ 17 h 24"/>
                  <a:gd name="T42" fmla="*/ 34 w 34"/>
                  <a:gd name="T43" fmla="*/ 18 h 24"/>
                  <a:gd name="T44" fmla="*/ 31 w 34"/>
                  <a:gd name="T45" fmla="*/ 21 h 24"/>
                  <a:gd name="T46" fmla="*/ 31 w 34"/>
                  <a:gd name="T47" fmla="*/ 2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4" h="24">
                    <a:moveTo>
                      <a:pt x="31" y="21"/>
                    </a:moveTo>
                    <a:cubicBezTo>
                      <a:pt x="30" y="20"/>
                      <a:pt x="27" y="19"/>
                      <a:pt x="25" y="18"/>
                    </a:cubicBezTo>
                    <a:cubicBezTo>
                      <a:pt x="24" y="18"/>
                      <a:pt x="25" y="17"/>
                      <a:pt x="24" y="16"/>
                    </a:cubicBezTo>
                    <a:cubicBezTo>
                      <a:pt x="24" y="16"/>
                      <a:pt x="22" y="17"/>
                      <a:pt x="22" y="17"/>
                    </a:cubicBezTo>
                    <a:cubicBezTo>
                      <a:pt x="20" y="17"/>
                      <a:pt x="20" y="15"/>
                      <a:pt x="18" y="16"/>
                    </a:cubicBezTo>
                    <a:cubicBezTo>
                      <a:pt x="18" y="17"/>
                      <a:pt x="17" y="18"/>
                      <a:pt x="16" y="19"/>
                    </a:cubicBezTo>
                    <a:cubicBezTo>
                      <a:pt x="14" y="20"/>
                      <a:pt x="13" y="22"/>
                      <a:pt x="11" y="23"/>
                    </a:cubicBezTo>
                    <a:cubicBezTo>
                      <a:pt x="8" y="24"/>
                      <a:pt x="10" y="20"/>
                      <a:pt x="8" y="19"/>
                    </a:cubicBezTo>
                    <a:cubicBezTo>
                      <a:pt x="8" y="18"/>
                      <a:pt x="3" y="19"/>
                      <a:pt x="2" y="19"/>
                    </a:cubicBezTo>
                    <a:cubicBezTo>
                      <a:pt x="0" y="19"/>
                      <a:pt x="4" y="16"/>
                      <a:pt x="4" y="16"/>
                    </a:cubicBezTo>
                    <a:cubicBezTo>
                      <a:pt x="6" y="14"/>
                      <a:pt x="5" y="12"/>
                      <a:pt x="5" y="10"/>
                    </a:cubicBezTo>
                    <a:cubicBezTo>
                      <a:pt x="5" y="8"/>
                      <a:pt x="5" y="5"/>
                      <a:pt x="6" y="3"/>
                    </a:cubicBezTo>
                    <a:cubicBezTo>
                      <a:pt x="7" y="0"/>
                      <a:pt x="10" y="0"/>
                      <a:pt x="11" y="3"/>
                    </a:cubicBezTo>
                    <a:cubicBezTo>
                      <a:pt x="11" y="4"/>
                      <a:pt x="11" y="6"/>
                      <a:pt x="12" y="5"/>
                    </a:cubicBezTo>
                    <a:cubicBezTo>
                      <a:pt x="13" y="5"/>
                      <a:pt x="13" y="4"/>
                      <a:pt x="14" y="4"/>
                    </a:cubicBezTo>
                    <a:cubicBezTo>
                      <a:pt x="15" y="5"/>
                      <a:pt x="16" y="6"/>
                      <a:pt x="17" y="6"/>
                    </a:cubicBezTo>
                    <a:cubicBezTo>
                      <a:pt x="18" y="7"/>
                      <a:pt x="19" y="7"/>
                      <a:pt x="20" y="7"/>
                    </a:cubicBezTo>
                    <a:cubicBezTo>
                      <a:pt x="21" y="8"/>
                      <a:pt x="23" y="9"/>
                      <a:pt x="25" y="10"/>
                    </a:cubicBezTo>
                    <a:cubicBezTo>
                      <a:pt x="28" y="11"/>
                      <a:pt x="28" y="12"/>
                      <a:pt x="28" y="15"/>
                    </a:cubicBezTo>
                    <a:cubicBezTo>
                      <a:pt x="28" y="16"/>
                      <a:pt x="30" y="16"/>
                      <a:pt x="30" y="15"/>
                    </a:cubicBezTo>
                    <a:cubicBezTo>
                      <a:pt x="32" y="15"/>
                      <a:pt x="32" y="16"/>
                      <a:pt x="33" y="17"/>
                    </a:cubicBezTo>
                    <a:cubicBezTo>
                      <a:pt x="34" y="17"/>
                      <a:pt x="34" y="17"/>
                      <a:pt x="34" y="18"/>
                    </a:cubicBezTo>
                    <a:cubicBezTo>
                      <a:pt x="33" y="19"/>
                      <a:pt x="33" y="21"/>
                      <a:pt x="31" y="21"/>
                    </a:cubicBezTo>
                    <a:cubicBezTo>
                      <a:pt x="30" y="20"/>
                      <a:pt x="33" y="21"/>
                      <a:pt x="31" y="2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2" name="Freeform 545">
                <a:extLst>
                  <a:ext uri="{FF2B5EF4-FFF2-40B4-BE49-F238E27FC236}">
                    <a16:creationId xmlns:a16="http://schemas.microsoft.com/office/drawing/2014/main" id="{0874A924-40F4-47BA-A77A-A30C3764D0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4991" y="2688029"/>
                <a:ext cx="31856" cy="23893"/>
              </a:xfrm>
              <a:custGeom>
                <a:avLst/>
                <a:gdLst>
                  <a:gd name="T0" fmla="*/ 5 w 7"/>
                  <a:gd name="T1" fmla="*/ 4 h 5"/>
                  <a:gd name="T2" fmla="*/ 1 w 7"/>
                  <a:gd name="T3" fmla="*/ 0 h 5"/>
                  <a:gd name="T4" fmla="*/ 5 w 7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5" y="4"/>
                    </a:moveTo>
                    <a:cubicBezTo>
                      <a:pt x="3" y="5"/>
                      <a:pt x="0" y="0"/>
                      <a:pt x="1" y="0"/>
                    </a:cubicBezTo>
                    <a:cubicBezTo>
                      <a:pt x="2" y="1"/>
                      <a:pt x="7" y="3"/>
                      <a:pt x="5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3" name="Freeform 546">
                <a:extLst>
                  <a:ext uri="{FF2B5EF4-FFF2-40B4-BE49-F238E27FC236}">
                    <a16:creationId xmlns:a16="http://schemas.microsoft.com/office/drawing/2014/main" id="{36FC87CF-687A-4F79-990B-0662A0BA19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5433" y="2692809"/>
                <a:ext cx="17521" cy="23893"/>
              </a:xfrm>
              <a:custGeom>
                <a:avLst/>
                <a:gdLst>
                  <a:gd name="T0" fmla="*/ 3 w 4"/>
                  <a:gd name="T1" fmla="*/ 4 h 5"/>
                  <a:gd name="T2" fmla="*/ 0 w 4"/>
                  <a:gd name="T3" fmla="*/ 1 h 5"/>
                  <a:gd name="T4" fmla="*/ 3 w 4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3" y="4"/>
                    </a:moveTo>
                    <a:cubicBezTo>
                      <a:pt x="1" y="5"/>
                      <a:pt x="0" y="2"/>
                      <a:pt x="0" y="1"/>
                    </a:cubicBezTo>
                    <a:cubicBezTo>
                      <a:pt x="1" y="0"/>
                      <a:pt x="4" y="3"/>
                      <a:pt x="3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" name="Freeform 547">
                <a:extLst>
                  <a:ext uri="{FF2B5EF4-FFF2-40B4-BE49-F238E27FC236}">
                    <a16:creationId xmlns:a16="http://schemas.microsoft.com/office/drawing/2014/main" id="{B22022E6-689A-4F02-A5B9-9F57691BB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2428" y="2603615"/>
                <a:ext cx="14335" cy="28669"/>
              </a:xfrm>
              <a:custGeom>
                <a:avLst/>
                <a:gdLst>
                  <a:gd name="T0" fmla="*/ 3 w 3"/>
                  <a:gd name="T1" fmla="*/ 5 h 6"/>
                  <a:gd name="T2" fmla="*/ 3 w 3"/>
                  <a:gd name="T3" fmla="*/ 2 h 6"/>
                  <a:gd name="T4" fmla="*/ 1 w 3"/>
                  <a:gd name="T5" fmla="*/ 1 h 6"/>
                  <a:gd name="T6" fmla="*/ 1 w 3"/>
                  <a:gd name="T7" fmla="*/ 4 h 6"/>
                  <a:gd name="T8" fmla="*/ 3 w 3"/>
                  <a:gd name="T9" fmla="*/ 5 h 6"/>
                  <a:gd name="T10" fmla="*/ 3 w 3"/>
                  <a:gd name="T1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6">
                    <a:moveTo>
                      <a:pt x="3" y="5"/>
                    </a:moveTo>
                    <a:cubicBezTo>
                      <a:pt x="3" y="4"/>
                      <a:pt x="3" y="3"/>
                      <a:pt x="3" y="2"/>
                    </a:cubicBezTo>
                    <a:cubicBezTo>
                      <a:pt x="3" y="2"/>
                      <a:pt x="1" y="0"/>
                      <a:pt x="1" y="1"/>
                    </a:cubicBezTo>
                    <a:cubicBezTo>
                      <a:pt x="1" y="2"/>
                      <a:pt x="0" y="4"/>
                      <a:pt x="1" y="4"/>
                    </a:cubicBezTo>
                    <a:cubicBezTo>
                      <a:pt x="1" y="5"/>
                      <a:pt x="2" y="6"/>
                      <a:pt x="3" y="5"/>
                    </a:cubicBezTo>
                    <a:cubicBezTo>
                      <a:pt x="3" y="4"/>
                      <a:pt x="2" y="6"/>
                      <a:pt x="3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" name="Freeform 548">
                <a:extLst>
                  <a:ext uri="{FF2B5EF4-FFF2-40B4-BE49-F238E27FC236}">
                    <a16:creationId xmlns:a16="http://schemas.microsoft.com/office/drawing/2014/main" id="{FFE5E355-5EC5-4F25-9B05-45FB5AAC8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2347" y="2359920"/>
                <a:ext cx="672151" cy="492166"/>
              </a:xfrm>
              <a:custGeom>
                <a:avLst/>
                <a:gdLst>
                  <a:gd name="T0" fmla="*/ 63 w 144"/>
                  <a:gd name="T1" fmla="*/ 86 h 105"/>
                  <a:gd name="T2" fmla="*/ 81 w 144"/>
                  <a:gd name="T3" fmla="*/ 76 h 105"/>
                  <a:gd name="T4" fmla="*/ 91 w 144"/>
                  <a:gd name="T5" fmla="*/ 67 h 105"/>
                  <a:gd name="T6" fmla="*/ 103 w 144"/>
                  <a:gd name="T7" fmla="*/ 68 h 105"/>
                  <a:gd name="T8" fmla="*/ 87 w 144"/>
                  <a:gd name="T9" fmla="*/ 66 h 105"/>
                  <a:gd name="T10" fmla="*/ 80 w 144"/>
                  <a:gd name="T11" fmla="*/ 48 h 105"/>
                  <a:gd name="T12" fmla="*/ 67 w 144"/>
                  <a:gd name="T13" fmla="*/ 49 h 105"/>
                  <a:gd name="T14" fmla="*/ 64 w 144"/>
                  <a:gd name="T15" fmla="*/ 40 h 105"/>
                  <a:gd name="T16" fmla="*/ 54 w 144"/>
                  <a:gd name="T17" fmla="*/ 32 h 105"/>
                  <a:gd name="T18" fmla="*/ 53 w 144"/>
                  <a:gd name="T19" fmla="*/ 38 h 105"/>
                  <a:gd name="T20" fmla="*/ 52 w 144"/>
                  <a:gd name="T21" fmla="*/ 39 h 105"/>
                  <a:gd name="T22" fmla="*/ 37 w 144"/>
                  <a:gd name="T23" fmla="*/ 38 h 105"/>
                  <a:gd name="T24" fmla="*/ 5 w 144"/>
                  <a:gd name="T25" fmla="*/ 32 h 105"/>
                  <a:gd name="T26" fmla="*/ 8 w 144"/>
                  <a:gd name="T27" fmla="*/ 26 h 105"/>
                  <a:gd name="T28" fmla="*/ 16 w 144"/>
                  <a:gd name="T29" fmla="*/ 2 h 105"/>
                  <a:gd name="T30" fmla="*/ 18 w 144"/>
                  <a:gd name="T31" fmla="*/ 18 h 105"/>
                  <a:gd name="T32" fmla="*/ 26 w 144"/>
                  <a:gd name="T33" fmla="*/ 29 h 105"/>
                  <a:gd name="T34" fmla="*/ 20 w 144"/>
                  <a:gd name="T35" fmla="*/ 19 h 105"/>
                  <a:gd name="T36" fmla="*/ 22 w 144"/>
                  <a:gd name="T37" fmla="*/ 13 h 105"/>
                  <a:gd name="T38" fmla="*/ 25 w 144"/>
                  <a:gd name="T39" fmla="*/ 7 h 105"/>
                  <a:gd name="T40" fmla="*/ 34 w 144"/>
                  <a:gd name="T41" fmla="*/ 3 h 105"/>
                  <a:gd name="T42" fmla="*/ 43 w 144"/>
                  <a:gd name="T43" fmla="*/ 16 h 105"/>
                  <a:gd name="T44" fmla="*/ 52 w 144"/>
                  <a:gd name="T45" fmla="*/ 16 h 105"/>
                  <a:gd name="T46" fmla="*/ 54 w 144"/>
                  <a:gd name="T47" fmla="*/ 15 h 105"/>
                  <a:gd name="T48" fmla="*/ 66 w 144"/>
                  <a:gd name="T49" fmla="*/ 13 h 105"/>
                  <a:gd name="T50" fmla="*/ 70 w 144"/>
                  <a:gd name="T51" fmla="*/ 21 h 105"/>
                  <a:gd name="T52" fmla="*/ 76 w 144"/>
                  <a:gd name="T53" fmla="*/ 22 h 105"/>
                  <a:gd name="T54" fmla="*/ 81 w 144"/>
                  <a:gd name="T55" fmla="*/ 23 h 105"/>
                  <a:gd name="T56" fmla="*/ 86 w 144"/>
                  <a:gd name="T57" fmla="*/ 23 h 105"/>
                  <a:gd name="T58" fmla="*/ 92 w 144"/>
                  <a:gd name="T59" fmla="*/ 28 h 105"/>
                  <a:gd name="T60" fmla="*/ 94 w 144"/>
                  <a:gd name="T61" fmla="*/ 31 h 105"/>
                  <a:gd name="T62" fmla="*/ 100 w 144"/>
                  <a:gd name="T63" fmla="*/ 29 h 105"/>
                  <a:gd name="T64" fmla="*/ 99 w 144"/>
                  <a:gd name="T65" fmla="*/ 38 h 105"/>
                  <a:gd name="T66" fmla="*/ 104 w 144"/>
                  <a:gd name="T67" fmla="*/ 38 h 105"/>
                  <a:gd name="T68" fmla="*/ 109 w 144"/>
                  <a:gd name="T69" fmla="*/ 40 h 105"/>
                  <a:gd name="T70" fmla="*/ 106 w 144"/>
                  <a:gd name="T71" fmla="*/ 45 h 105"/>
                  <a:gd name="T72" fmla="*/ 118 w 144"/>
                  <a:gd name="T73" fmla="*/ 54 h 105"/>
                  <a:gd name="T74" fmla="*/ 124 w 144"/>
                  <a:gd name="T75" fmla="*/ 55 h 105"/>
                  <a:gd name="T76" fmla="*/ 128 w 144"/>
                  <a:gd name="T77" fmla="*/ 60 h 105"/>
                  <a:gd name="T78" fmla="*/ 141 w 144"/>
                  <a:gd name="T79" fmla="*/ 64 h 105"/>
                  <a:gd name="T80" fmla="*/ 139 w 144"/>
                  <a:gd name="T81" fmla="*/ 69 h 105"/>
                  <a:gd name="T82" fmla="*/ 133 w 144"/>
                  <a:gd name="T83" fmla="*/ 73 h 105"/>
                  <a:gd name="T84" fmla="*/ 128 w 144"/>
                  <a:gd name="T85" fmla="*/ 77 h 105"/>
                  <a:gd name="T86" fmla="*/ 125 w 144"/>
                  <a:gd name="T87" fmla="*/ 74 h 105"/>
                  <a:gd name="T88" fmla="*/ 120 w 144"/>
                  <a:gd name="T89" fmla="*/ 72 h 105"/>
                  <a:gd name="T90" fmla="*/ 113 w 144"/>
                  <a:gd name="T91" fmla="*/ 67 h 105"/>
                  <a:gd name="T92" fmla="*/ 108 w 144"/>
                  <a:gd name="T93" fmla="*/ 70 h 105"/>
                  <a:gd name="T94" fmla="*/ 118 w 144"/>
                  <a:gd name="T95" fmla="*/ 80 h 105"/>
                  <a:gd name="T96" fmla="*/ 123 w 144"/>
                  <a:gd name="T97" fmla="*/ 82 h 105"/>
                  <a:gd name="T98" fmla="*/ 128 w 144"/>
                  <a:gd name="T99" fmla="*/ 93 h 105"/>
                  <a:gd name="T100" fmla="*/ 126 w 144"/>
                  <a:gd name="T101" fmla="*/ 95 h 105"/>
                  <a:gd name="T102" fmla="*/ 118 w 144"/>
                  <a:gd name="T103" fmla="*/ 96 h 105"/>
                  <a:gd name="T104" fmla="*/ 110 w 144"/>
                  <a:gd name="T105" fmla="*/ 93 h 105"/>
                  <a:gd name="T106" fmla="*/ 109 w 144"/>
                  <a:gd name="T107" fmla="*/ 94 h 105"/>
                  <a:gd name="T108" fmla="*/ 103 w 144"/>
                  <a:gd name="T109" fmla="*/ 99 h 105"/>
                  <a:gd name="T110" fmla="*/ 91 w 144"/>
                  <a:gd name="T111" fmla="*/ 90 h 105"/>
                  <a:gd name="T112" fmla="*/ 77 w 144"/>
                  <a:gd name="T113" fmla="*/ 83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4" h="105">
                    <a:moveTo>
                      <a:pt x="77" y="83"/>
                    </a:moveTo>
                    <a:cubicBezTo>
                      <a:pt x="76" y="86"/>
                      <a:pt x="74" y="83"/>
                      <a:pt x="71" y="84"/>
                    </a:cubicBezTo>
                    <a:cubicBezTo>
                      <a:pt x="70" y="84"/>
                      <a:pt x="69" y="85"/>
                      <a:pt x="68" y="86"/>
                    </a:cubicBezTo>
                    <a:cubicBezTo>
                      <a:pt x="66" y="87"/>
                      <a:pt x="65" y="86"/>
                      <a:pt x="63" y="86"/>
                    </a:cubicBezTo>
                    <a:cubicBezTo>
                      <a:pt x="60" y="85"/>
                      <a:pt x="56" y="83"/>
                      <a:pt x="60" y="80"/>
                    </a:cubicBezTo>
                    <a:cubicBezTo>
                      <a:pt x="62" y="78"/>
                      <a:pt x="62" y="76"/>
                      <a:pt x="65" y="76"/>
                    </a:cubicBezTo>
                    <a:cubicBezTo>
                      <a:pt x="68" y="77"/>
                      <a:pt x="71" y="78"/>
                      <a:pt x="75" y="77"/>
                    </a:cubicBezTo>
                    <a:cubicBezTo>
                      <a:pt x="77" y="77"/>
                      <a:pt x="79" y="76"/>
                      <a:pt x="81" y="76"/>
                    </a:cubicBezTo>
                    <a:cubicBezTo>
                      <a:pt x="82" y="76"/>
                      <a:pt x="81" y="75"/>
                      <a:pt x="81" y="74"/>
                    </a:cubicBezTo>
                    <a:cubicBezTo>
                      <a:pt x="78" y="72"/>
                      <a:pt x="77" y="71"/>
                      <a:pt x="80" y="69"/>
                    </a:cubicBezTo>
                    <a:cubicBezTo>
                      <a:pt x="82" y="66"/>
                      <a:pt x="84" y="66"/>
                      <a:pt x="87" y="66"/>
                    </a:cubicBezTo>
                    <a:cubicBezTo>
                      <a:pt x="88" y="66"/>
                      <a:pt x="90" y="66"/>
                      <a:pt x="91" y="67"/>
                    </a:cubicBezTo>
                    <a:cubicBezTo>
                      <a:pt x="93" y="68"/>
                      <a:pt x="93" y="69"/>
                      <a:pt x="93" y="71"/>
                    </a:cubicBezTo>
                    <a:cubicBezTo>
                      <a:pt x="94" y="73"/>
                      <a:pt x="95" y="70"/>
                      <a:pt x="96" y="70"/>
                    </a:cubicBezTo>
                    <a:cubicBezTo>
                      <a:pt x="96" y="69"/>
                      <a:pt x="99" y="70"/>
                      <a:pt x="99" y="70"/>
                    </a:cubicBezTo>
                    <a:cubicBezTo>
                      <a:pt x="100" y="70"/>
                      <a:pt x="103" y="70"/>
                      <a:pt x="103" y="68"/>
                    </a:cubicBezTo>
                    <a:cubicBezTo>
                      <a:pt x="103" y="67"/>
                      <a:pt x="100" y="66"/>
                      <a:pt x="99" y="66"/>
                    </a:cubicBezTo>
                    <a:cubicBezTo>
                      <a:pt x="97" y="65"/>
                      <a:pt x="96" y="64"/>
                      <a:pt x="95" y="63"/>
                    </a:cubicBezTo>
                    <a:cubicBezTo>
                      <a:pt x="94" y="63"/>
                      <a:pt x="93" y="65"/>
                      <a:pt x="93" y="66"/>
                    </a:cubicBezTo>
                    <a:cubicBezTo>
                      <a:pt x="92" y="67"/>
                      <a:pt x="88" y="66"/>
                      <a:pt x="87" y="66"/>
                    </a:cubicBezTo>
                    <a:cubicBezTo>
                      <a:pt x="81" y="65"/>
                      <a:pt x="89" y="63"/>
                      <a:pt x="88" y="61"/>
                    </a:cubicBezTo>
                    <a:cubicBezTo>
                      <a:pt x="87" y="58"/>
                      <a:pt x="86" y="54"/>
                      <a:pt x="84" y="52"/>
                    </a:cubicBezTo>
                    <a:cubicBezTo>
                      <a:pt x="83" y="52"/>
                      <a:pt x="81" y="53"/>
                      <a:pt x="81" y="52"/>
                    </a:cubicBezTo>
                    <a:cubicBezTo>
                      <a:pt x="81" y="51"/>
                      <a:pt x="81" y="49"/>
                      <a:pt x="80" y="48"/>
                    </a:cubicBezTo>
                    <a:cubicBezTo>
                      <a:pt x="79" y="47"/>
                      <a:pt x="78" y="53"/>
                      <a:pt x="79" y="53"/>
                    </a:cubicBezTo>
                    <a:cubicBezTo>
                      <a:pt x="78" y="53"/>
                      <a:pt x="75" y="46"/>
                      <a:pt x="75" y="46"/>
                    </a:cubicBezTo>
                    <a:cubicBezTo>
                      <a:pt x="73" y="46"/>
                      <a:pt x="72" y="47"/>
                      <a:pt x="71" y="48"/>
                    </a:cubicBezTo>
                    <a:cubicBezTo>
                      <a:pt x="70" y="48"/>
                      <a:pt x="67" y="50"/>
                      <a:pt x="67" y="49"/>
                    </a:cubicBezTo>
                    <a:cubicBezTo>
                      <a:pt x="67" y="46"/>
                      <a:pt x="66" y="46"/>
                      <a:pt x="69" y="46"/>
                    </a:cubicBezTo>
                    <a:cubicBezTo>
                      <a:pt x="70" y="46"/>
                      <a:pt x="71" y="45"/>
                      <a:pt x="71" y="44"/>
                    </a:cubicBezTo>
                    <a:cubicBezTo>
                      <a:pt x="72" y="43"/>
                      <a:pt x="69" y="43"/>
                      <a:pt x="69" y="43"/>
                    </a:cubicBezTo>
                    <a:cubicBezTo>
                      <a:pt x="68" y="42"/>
                      <a:pt x="64" y="40"/>
                      <a:pt x="64" y="40"/>
                    </a:cubicBezTo>
                    <a:cubicBezTo>
                      <a:pt x="64" y="37"/>
                      <a:pt x="63" y="39"/>
                      <a:pt x="62" y="39"/>
                    </a:cubicBezTo>
                    <a:cubicBezTo>
                      <a:pt x="61" y="39"/>
                      <a:pt x="62" y="34"/>
                      <a:pt x="60" y="35"/>
                    </a:cubicBezTo>
                    <a:cubicBezTo>
                      <a:pt x="59" y="35"/>
                      <a:pt x="59" y="36"/>
                      <a:pt x="57" y="34"/>
                    </a:cubicBezTo>
                    <a:cubicBezTo>
                      <a:pt x="56" y="34"/>
                      <a:pt x="55" y="32"/>
                      <a:pt x="54" y="32"/>
                    </a:cubicBezTo>
                    <a:cubicBezTo>
                      <a:pt x="54" y="32"/>
                      <a:pt x="55" y="33"/>
                      <a:pt x="55" y="33"/>
                    </a:cubicBezTo>
                    <a:cubicBezTo>
                      <a:pt x="55" y="33"/>
                      <a:pt x="52" y="33"/>
                      <a:pt x="52" y="34"/>
                    </a:cubicBezTo>
                    <a:cubicBezTo>
                      <a:pt x="53" y="35"/>
                      <a:pt x="55" y="34"/>
                      <a:pt x="56" y="36"/>
                    </a:cubicBezTo>
                    <a:cubicBezTo>
                      <a:pt x="56" y="38"/>
                      <a:pt x="54" y="38"/>
                      <a:pt x="53" y="38"/>
                    </a:cubicBezTo>
                    <a:cubicBezTo>
                      <a:pt x="51" y="39"/>
                      <a:pt x="46" y="35"/>
                      <a:pt x="44" y="37"/>
                    </a:cubicBezTo>
                    <a:cubicBezTo>
                      <a:pt x="43" y="37"/>
                      <a:pt x="45" y="38"/>
                      <a:pt x="46" y="39"/>
                    </a:cubicBezTo>
                    <a:cubicBezTo>
                      <a:pt x="46" y="40"/>
                      <a:pt x="47" y="39"/>
                      <a:pt x="48" y="39"/>
                    </a:cubicBezTo>
                    <a:cubicBezTo>
                      <a:pt x="49" y="39"/>
                      <a:pt x="52" y="38"/>
                      <a:pt x="52" y="39"/>
                    </a:cubicBezTo>
                    <a:cubicBezTo>
                      <a:pt x="52" y="40"/>
                      <a:pt x="51" y="41"/>
                      <a:pt x="50" y="42"/>
                    </a:cubicBezTo>
                    <a:cubicBezTo>
                      <a:pt x="50" y="42"/>
                      <a:pt x="39" y="35"/>
                      <a:pt x="37" y="36"/>
                    </a:cubicBezTo>
                    <a:cubicBezTo>
                      <a:pt x="38" y="36"/>
                      <a:pt x="39" y="37"/>
                      <a:pt x="40" y="37"/>
                    </a:cubicBezTo>
                    <a:cubicBezTo>
                      <a:pt x="42" y="39"/>
                      <a:pt x="37" y="38"/>
                      <a:pt x="37" y="38"/>
                    </a:cubicBezTo>
                    <a:cubicBezTo>
                      <a:pt x="34" y="36"/>
                      <a:pt x="30" y="38"/>
                      <a:pt x="27" y="37"/>
                    </a:cubicBezTo>
                    <a:cubicBezTo>
                      <a:pt x="23" y="36"/>
                      <a:pt x="20" y="37"/>
                      <a:pt x="17" y="34"/>
                    </a:cubicBezTo>
                    <a:cubicBezTo>
                      <a:pt x="14" y="32"/>
                      <a:pt x="12" y="35"/>
                      <a:pt x="9" y="34"/>
                    </a:cubicBezTo>
                    <a:cubicBezTo>
                      <a:pt x="8" y="33"/>
                      <a:pt x="6" y="33"/>
                      <a:pt x="5" y="32"/>
                    </a:cubicBezTo>
                    <a:cubicBezTo>
                      <a:pt x="5" y="31"/>
                      <a:pt x="2" y="28"/>
                      <a:pt x="4" y="28"/>
                    </a:cubicBezTo>
                    <a:cubicBezTo>
                      <a:pt x="7" y="28"/>
                      <a:pt x="11" y="31"/>
                      <a:pt x="14" y="29"/>
                    </a:cubicBezTo>
                    <a:cubicBezTo>
                      <a:pt x="15" y="28"/>
                      <a:pt x="13" y="27"/>
                      <a:pt x="13" y="27"/>
                    </a:cubicBezTo>
                    <a:cubicBezTo>
                      <a:pt x="11" y="26"/>
                      <a:pt x="9" y="26"/>
                      <a:pt x="8" y="26"/>
                    </a:cubicBezTo>
                    <a:cubicBezTo>
                      <a:pt x="5" y="26"/>
                      <a:pt x="0" y="26"/>
                      <a:pt x="0" y="23"/>
                    </a:cubicBezTo>
                    <a:cubicBezTo>
                      <a:pt x="0" y="19"/>
                      <a:pt x="0" y="16"/>
                      <a:pt x="2" y="12"/>
                    </a:cubicBezTo>
                    <a:cubicBezTo>
                      <a:pt x="3" y="9"/>
                      <a:pt x="6" y="7"/>
                      <a:pt x="9" y="5"/>
                    </a:cubicBezTo>
                    <a:cubicBezTo>
                      <a:pt x="11" y="3"/>
                      <a:pt x="13" y="3"/>
                      <a:pt x="16" y="2"/>
                    </a:cubicBezTo>
                    <a:cubicBezTo>
                      <a:pt x="18" y="2"/>
                      <a:pt x="24" y="0"/>
                      <a:pt x="25" y="3"/>
                    </a:cubicBezTo>
                    <a:cubicBezTo>
                      <a:pt x="25" y="2"/>
                      <a:pt x="20" y="7"/>
                      <a:pt x="19" y="7"/>
                    </a:cubicBezTo>
                    <a:cubicBezTo>
                      <a:pt x="17" y="9"/>
                      <a:pt x="15" y="11"/>
                      <a:pt x="17" y="13"/>
                    </a:cubicBezTo>
                    <a:cubicBezTo>
                      <a:pt x="19" y="15"/>
                      <a:pt x="17" y="16"/>
                      <a:pt x="18" y="18"/>
                    </a:cubicBezTo>
                    <a:cubicBezTo>
                      <a:pt x="18" y="20"/>
                      <a:pt x="20" y="21"/>
                      <a:pt x="21" y="22"/>
                    </a:cubicBezTo>
                    <a:cubicBezTo>
                      <a:pt x="22" y="23"/>
                      <a:pt x="24" y="24"/>
                      <a:pt x="25" y="25"/>
                    </a:cubicBezTo>
                    <a:cubicBezTo>
                      <a:pt x="26" y="26"/>
                      <a:pt x="22" y="26"/>
                      <a:pt x="22" y="27"/>
                    </a:cubicBezTo>
                    <a:cubicBezTo>
                      <a:pt x="22" y="26"/>
                      <a:pt x="26" y="29"/>
                      <a:pt x="26" y="29"/>
                    </a:cubicBezTo>
                    <a:cubicBezTo>
                      <a:pt x="27" y="28"/>
                      <a:pt x="26" y="26"/>
                      <a:pt x="26" y="25"/>
                    </a:cubicBezTo>
                    <a:cubicBezTo>
                      <a:pt x="26" y="25"/>
                      <a:pt x="28" y="24"/>
                      <a:pt x="27" y="23"/>
                    </a:cubicBezTo>
                    <a:cubicBezTo>
                      <a:pt x="26" y="22"/>
                      <a:pt x="22" y="21"/>
                      <a:pt x="21" y="20"/>
                    </a:cubicBezTo>
                    <a:cubicBezTo>
                      <a:pt x="20" y="20"/>
                      <a:pt x="19" y="19"/>
                      <a:pt x="20" y="19"/>
                    </a:cubicBezTo>
                    <a:cubicBezTo>
                      <a:pt x="22" y="19"/>
                      <a:pt x="22" y="18"/>
                      <a:pt x="23" y="17"/>
                    </a:cubicBezTo>
                    <a:cubicBezTo>
                      <a:pt x="25" y="16"/>
                      <a:pt x="28" y="18"/>
                      <a:pt x="29" y="19"/>
                    </a:cubicBezTo>
                    <a:cubicBezTo>
                      <a:pt x="28" y="18"/>
                      <a:pt x="27" y="17"/>
                      <a:pt x="27" y="16"/>
                    </a:cubicBezTo>
                    <a:cubicBezTo>
                      <a:pt x="27" y="14"/>
                      <a:pt x="22" y="15"/>
                      <a:pt x="22" y="13"/>
                    </a:cubicBezTo>
                    <a:cubicBezTo>
                      <a:pt x="20" y="7"/>
                      <a:pt x="29" y="12"/>
                      <a:pt x="29" y="12"/>
                    </a:cubicBezTo>
                    <a:cubicBezTo>
                      <a:pt x="29" y="11"/>
                      <a:pt x="23" y="9"/>
                      <a:pt x="23" y="9"/>
                    </a:cubicBezTo>
                    <a:cubicBezTo>
                      <a:pt x="23" y="8"/>
                      <a:pt x="28" y="9"/>
                      <a:pt x="28" y="9"/>
                    </a:cubicBezTo>
                    <a:cubicBezTo>
                      <a:pt x="28" y="8"/>
                      <a:pt x="25" y="7"/>
                      <a:pt x="25" y="7"/>
                    </a:cubicBezTo>
                    <a:cubicBezTo>
                      <a:pt x="24" y="6"/>
                      <a:pt x="25" y="6"/>
                      <a:pt x="26" y="6"/>
                    </a:cubicBezTo>
                    <a:cubicBezTo>
                      <a:pt x="27" y="7"/>
                      <a:pt x="27" y="6"/>
                      <a:pt x="28" y="6"/>
                    </a:cubicBezTo>
                    <a:cubicBezTo>
                      <a:pt x="30" y="5"/>
                      <a:pt x="30" y="6"/>
                      <a:pt x="32" y="6"/>
                    </a:cubicBezTo>
                    <a:cubicBezTo>
                      <a:pt x="29" y="5"/>
                      <a:pt x="33" y="3"/>
                      <a:pt x="34" y="3"/>
                    </a:cubicBezTo>
                    <a:cubicBezTo>
                      <a:pt x="36" y="2"/>
                      <a:pt x="42" y="2"/>
                      <a:pt x="43" y="4"/>
                    </a:cubicBezTo>
                    <a:cubicBezTo>
                      <a:pt x="44" y="5"/>
                      <a:pt x="44" y="6"/>
                      <a:pt x="44" y="7"/>
                    </a:cubicBezTo>
                    <a:cubicBezTo>
                      <a:pt x="45" y="8"/>
                      <a:pt x="46" y="9"/>
                      <a:pt x="47" y="10"/>
                    </a:cubicBezTo>
                    <a:cubicBezTo>
                      <a:pt x="48" y="12"/>
                      <a:pt x="43" y="16"/>
                      <a:pt x="43" y="16"/>
                    </a:cubicBezTo>
                    <a:cubicBezTo>
                      <a:pt x="44" y="17"/>
                      <a:pt x="46" y="14"/>
                      <a:pt x="47" y="14"/>
                    </a:cubicBezTo>
                    <a:cubicBezTo>
                      <a:pt x="47" y="14"/>
                      <a:pt x="45" y="20"/>
                      <a:pt x="46" y="19"/>
                    </a:cubicBezTo>
                    <a:cubicBezTo>
                      <a:pt x="47" y="19"/>
                      <a:pt x="47" y="17"/>
                      <a:pt x="48" y="17"/>
                    </a:cubicBezTo>
                    <a:cubicBezTo>
                      <a:pt x="50" y="17"/>
                      <a:pt x="50" y="18"/>
                      <a:pt x="52" y="16"/>
                    </a:cubicBezTo>
                    <a:cubicBezTo>
                      <a:pt x="53" y="15"/>
                      <a:pt x="53" y="16"/>
                      <a:pt x="54" y="17"/>
                    </a:cubicBezTo>
                    <a:cubicBezTo>
                      <a:pt x="55" y="18"/>
                      <a:pt x="54" y="18"/>
                      <a:pt x="54" y="19"/>
                    </a:cubicBezTo>
                    <a:cubicBezTo>
                      <a:pt x="54" y="20"/>
                      <a:pt x="59" y="21"/>
                      <a:pt x="60" y="21"/>
                    </a:cubicBezTo>
                    <a:cubicBezTo>
                      <a:pt x="60" y="21"/>
                      <a:pt x="55" y="16"/>
                      <a:pt x="54" y="15"/>
                    </a:cubicBezTo>
                    <a:cubicBezTo>
                      <a:pt x="54" y="15"/>
                      <a:pt x="63" y="18"/>
                      <a:pt x="63" y="17"/>
                    </a:cubicBezTo>
                    <a:cubicBezTo>
                      <a:pt x="63" y="17"/>
                      <a:pt x="57" y="16"/>
                      <a:pt x="57" y="14"/>
                    </a:cubicBezTo>
                    <a:cubicBezTo>
                      <a:pt x="57" y="13"/>
                      <a:pt x="60" y="12"/>
                      <a:pt x="61" y="12"/>
                    </a:cubicBezTo>
                    <a:cubicBezTo>
                      <a:pt x="63" y="11"/>
                      <a:pt x="64" y="12"/>
                      <a:pt x="66" y="13"/>
                    </a:cubicBezTo>
                    <a:cubicBezTo>
                      <a:pt x="69" y="14"/>
                      <a:pt x="73" y="13"/>
                      <a:pt x="74" y="17"/>
                    </a:cubicBezTo>
                    <a:cubicBezTo>
                      <a:pt x="74" y="17"/>
                      <a:pt x="67" y="17"/>
                      <a:pt x="68" y="20"/>
                    </a:cubicBezTo>
                    <a:cubicBezTo>
                      <a:pt x="68" y="19"/>
                      <a:pt x="71" y="18"/>
                      <a:pt x="71" y="18"/>
                    </a:cubicBezTo>
                    <a:cubicBezTo>
                      <a:pt x="73" y="18"/>
                      <a:pt x="70" y="20"/>
                      <a:pt x="70" y="21"/>
                    </a:cubicBezTo>
                    <a:cubicBezTo>
                      <a:pt x="70" y="21"/>
                      <a:pt x="73" y="19"/>
                      <a:pt x="73" y="19"/>
                    </a:cubicBezTo>
                    <a:cubicBezTo>
                      <a:pt x="73" y="18"/>
                      <a:pt x="77" y="18"/>
                      <a:pt x="78" y="19"/>
                    </a:cubicBezTo>
                    <a:cubicBezTo>
                      <a:pt x="82" y="19"/>
                      <a:pt x="73" y="22"/>
                      <a:pt x="74" y="23"/>
                    </a:cubicBezTo>
                    <a:cubicBezTo>
                      <a:pt x="74" y="23"/>
                      <a:pt x="76" y="21"/>
                      <a:pt x="76" y="22"/>
                    </a:cubicBezTo>
                    <a:cubicBezTo>
                      <a:pt x="76" y="23"/>
                      <a:pt x="74" y="25"/>
                      <a:pt x="75" y="26"/>
                    </a:cubicBezTo>
                    <a:cubicBezTo>
                      <a:pt x="74" y="25"/>
                      <a:pt x="78" y="21"/>
                      <a:pt x="79" y="22"/>
                    </a:cubicBezTo>
                    <a:cubicBezTo>
                      <a:pt x="79" y="24"/>
                      <a:pt x="78" y="26"/>
                      <a:pt x="79" y="27"/>
                    </a:cubicBezTo>
                    <a:cubicBezTo>
                      <a:pt x="79" y="27"/>
                      <a:pt x="79" y="23"/>
                      <a:pt x="81" y="23"/>
                    </a:cubicBezTo>
                    <a:cubicBezTo>
                      <a:pt x="83" y="24"/>
                      <a:pt x="80" y="27"/>
                      <a:pt x="81" y="28"/>
                    </a:cubicBezTo>
                    <a:cubicBezTo>
                      <a:pt x="81" y="28"/>
                      <a:pt x="82" y="25"/>
                      <a:pt x="83" y="25"/>
                    </a:cubicBezTo>
                    <a:cubicBezTo>
                      <a:pt x="83" y="25"/>
                      <a:pt x="82" y="28"/>
                      <a:pt x="83" y="28"/>
                    </a:cubicBezTo>
                    <a:cubicBezTo>
                      <a:pt x="82" y="28"/>
                      <a:pt x="85" y="24"/>
                      <a:pt x="86" y="23"/>
                    </a:cubicBezTo>
                    <a:cubicBezTo>
                      <a:pt x="87" y="22"/>
                      <a:pt x="90" y="23"/>
                      <a:pt x="91" y="24"/>
                    </a:cubicBezTo>
                    <a:cubicBezTo>
                      <a:pt x="93" y="25"/>
                      <a:pt x="94" y="27"/>
                      <a:pt x="91" y="27"/>
                    </a:cubicBezTo>
                    <a:cubicBezTo>
                      <a:pt x="90" y="27"/>
                      <a:pt x="86" y="27"/>
                      <a:pt x="86" y="30"/>
                    </a:cubicBezTo>
                    <a:cubicBezTo>
                      <a:pt x="86" y="29"/>
                      <a:pt x="92" y="27"/>
                      <a:pt x="92" y="28"/>
                    </a:cubicBezTo>
                    <a:cubicBezTo>
                      <a:pt x="92" y="28"/>
                      <a:pt x="88" y="30"/>
                      <a:pt x="88" y="31"/>
                    </a:cubicBezTo>
                    <a:cubicBezTo>
                      <a:pt x="88" y="30"/>
                      <a:pt x="92" y="30"/>
                      <a:pt x="92" y="30"/>
                    </a:cubicBezTo>
                    <a:cubicBezTo>
                      <a:pt x="93" y="29"/>
                      <a:pt x="95" y="26"/>
                      <a:pt x="96" y="27"/>
                    </a:cubicBezTo>
                    <a:cubicBezTo>
                      <a:pt x="97" y="29"/>
                      <a:pt x="96" y="31"/>
                      <a:pt x="94" y="31"/>
                    </a:cubicBezTo>
                    <a:cubicBezTo>
                      <a:pt x="93" y="32"/>
                      <a:pt x="92" y="33"/>
                      <a:pt x="91" y="34"/>
                    </a:cubicBezTo>
                    <a:cubicBezTo>
                      <a:pt x="91" y="34"/>
                      <a:pt x="93" y="32"/>
                      <a:pt x="94" y="32"/>
                    </a:cubicBezTo>
                    <a:cubicBezTo>
                      <a:pt x="94" y="32"/>
                      <a:pt x="93" y="36"/>
                      <a:pt x="93" y="36"/>
                    </a:cubicBezTo>
                    <a:cubicBezTo>
                      <a:pt x="92" y="34"/>
                      <a:pt x="99" y="27"/>
                      <a:pt x="100" y="29"/>
                    </a:cubicBezTo>
                    <a:cubicBezTo>
                      <a:pt x="101" y="30"/>
                      <a:pt x="99" y="31"/>
                      <a:pt x="98" y="31"/>
                    </a:cubicBezTo>
                    <a:cubicBezTo>
                      <a:pt x="99" y="31"/>
                      <a:pt x="102" y="31"/>
                      <a:pt x="103" y="31"/>
                    </a:cubicBezTo>
                    <a:cubicBezTo>
                      <a:pt x="104" y="31"/>
                      <a:pt x="106" y="31"/>
                      <a:pt x="107" y="32"/>
                    </a:cubicBezTo>
                    <a:cubicBezTo>
                      <a:pt x="108" y="35"/>
                      <a:pt x="98" y="35"/>
                      <a:pt x="99" y="38"/>
                    </a:cubicBezTo>
                    <a:cubicBezTo>
                      <a:pt x="99" y="38"/>
                      <a:pt x="102" y="35"/>
                      <a:pt x="103" y="35"/>
                    </a:cubicBezTo>
                    <a:cubicBezTo>
                      <a:pt x="104" y="35"/>
                      <a:pt x="106" y="35"/>
                      <a:pt x="106" y="36"/>
                    </a:cubicBezTo>
                    <a:cubicBezTo>
                      <a:pt x="107" y="37"/>
                      <a:pt x="101" y="39"/>
                      <a:pt x="101" y="39"/>
                    </a:cubicBezTo>
                    <a:cubicBezTo>
                      <a:pt x="101" y="39"/>
                      <a:pt x="104" y="38"/>
                      <a:pt x="104" y="38"/>
                    </a:cubicBezTo>
                    <a:cubicBezTo>
                      <a:pt x="105" y="38"/>
                      <a:pt x="107" y="37"/>
                      <a:pt x="108" y="36"/>
                    </a:cubicBezTo>
                    <a:cubicBezTo>
                      <a:pt x="109" y="36"/>
                      <a:pt x="108" y="35"/>
                      <a:pt x="109" y="34"/>
                    </a:cubicBezTo>
                    <a:cubicBezTo>
                      <a:pt x="110" y="34"/>
                      <a:pt x="112" y="36"/>
                      <a:pt x="112" y="37"/>
                    </a:cubicBezTo>
                    <a:cubicBezTo>
                      <a:pt x="116" y="40"/>
                      <a:pt x="112" y="39"/>
                      <a:pt x="109" y="40"/>
                    </a:cubicBezTo>
                    <a:cubicBezTo>
                      <a:pt x="109" y="40"/>
                      <a:pt x="102" y="42"/>
                      <a:pt x="102" y="41"/>
                    </a:cubicBezTo>
                    <a:cubicBezTo>
                      <a:pt x="102" y="42"/>
                      <a:pt x="118" y="42"/>
                      <a:pt x="117" y="44"/>
                    </a:cubicBezTo>
                    <a:cubicBezTo>
                      <a:pt x="116" y="45"/>
                      <a:pt x="111" y="45"/>
                      <a:pt x="110" y="44"/>
                    </a:cubicBezTo>
                    <a:cubicBezTo>
                      <a:pt x="110" y="44"/>
                      <a:pt x="106" y="45"/>
                      <a:pt x="106" y="45"/>
                    </a:cubicBezTo>
                    <a:cubicBezTo>
                      <a:pt x="107" y="46"/>
                      <a:pt x="110" y="45"/>
                      <a:pt x="110" y="46"/>
                    </a:cubicBezTo>
                    <a:cubicBezTo>
                      <a:pt x="111" y="46"/>
                      <a:pt x="107" y="47"/>
                      <a:pt x="107" y="48"/>
                    </a:cubicBezTo>
                    <a:cubicBezTo>
                      <a:pt x="107" y="50"/>
                      <a:pt x="111" y="51"/>
                      <a:pt x="112" y="51"/>
                    </a:cubicBezTo>
                    <a:cubicBezTo>
                      <a:pt x="114" y="52"/>
                      <a:pt x="117" y="52"/>
                      <a:pt x="118" y="54"/>
                    </a:cubicBezTo>
                    <a:cubicBezTo>
                      <a:pt x="119" y="55"/>
                      <a:pt x="119" y="56"/>
                      <a:pt x="120" y="56"/>
                    </a:cubicBezTo>
                    <a:cubicBezTo>
                      <a:pt x="120" y="56"/>
                      <a:pt x="122" y="55"/>
                      <a:pt x="122" y="55"/>
                    </a:cubicBezTo>
                    <a:cubicBezTo>
                      <a:pt x="122" y="55"/>
                      <a:pt x="122" y="57"/>
                      <a:pt x="123" y="57"/>
                    </a:cubicBezTo>
                    <a:cubicBezTo>
                      <a:pt x="123" y="57"/>
                      <a:pt x="123" y="55"/>
                      <a:pt x="124" y="55"/>
                    </a:cubicBezTo>
                    <a:cubicBezTo>
                      <a:pt x="124" y="55"/>
                      <a:pt x="124" y="57"/>
                      <a:pt x="124" y="57"/>
                    </a:cubicBezTo>
                    <a:cubicBezTo>
                      <a:pt x="124" y="58"/>
                      <a:pt x="126" y="57"/>
                      <a:pt x="127" y="57"/>
                    </a:cubicBezTo>
                    <a:cubicBezTo>
                      <a:pt x="127" y="57"/>
                      <a:pt x="129" y="58"/>
                      <a:pt x="129" y="59"/>
                    </a:cubicBezTo>
                    <a:cubicBezTo>
                      <a:pt x="129" y="60"/>
                      <a:pt x="128" y="59"/>
                      <a:pt x="128" y="60"/>
                    </a:cubicBezTo>
                    <a:cubicBezTo>
                      <a:pt x="129" y="59"/>
                      <a:pt x="138" y="62"/>
                      <a:pt x="138" y="62"/>
                    </a:cubicBezTo>
                    <a:cubicBezTo>
                      <a:pt x="137" y="63"/>
                      <a:pt x="137" y="63"/>
                      <a:pt x="137" y="63"/>
                    </a:cubicBezTo>
                    <a:cubicBezTo>
                      <a:pt x="137" y="64"/>
                      <a:pt x="139" y="63"/>
                      <a:pt x="139" y="63"/>
                    </a:cubicBezTo>
                    <a:cubicBezTo>
                      <a:pt x="140" y="62"/>
                      <a:pt x="140" y="63"/>
                      <a:pt x="141" y="64"/>
                    </a:cubicBezTo>
                    <a:cubicBezTo>
                      <a:pt x="142" y="64"/>
                      <a:pt x="144" y="66"/>
                      <a:pt x="143" y="67"/>
                    </a:cubicBezTo>
                    <a:cubicBezTo>
                      <a:pt x="143" y="67"/>
                      <a:pt x="141" y="67"/>
                      <a:pt x="141" y="67"/>
                    </a:cubicBezTo>
                    <a:cubicBezTo>
                      <a:pt x="141" y="68"/>
                      <a:pt x="143" y="68"/>
                      <a:pt x="142" y="69"/>
                    </a:cubicBezTo>
                    <a:cubicBezTo>
                      <a:pt x="142" y="69"/>
                      <a:pt x="139" y="69"/>
                      <a:pt x="139" y="69"/>
                    </a:cubicBezTo>
                    <a:cubicBezTo>
                      <a:pt x="137" y="70"/>
                      <a:pt x="139" y="70"/>
                      <a:pt x="139" y="71"/>
                    </a:cubicBezTo>
                    <a:cubicBezTo>
                      <a:pt x="140" y="73"/>
                      <a:pt x="136" y="71"/>
                      <a:pt x="135" y="71"/>
                    </a:cubicBezTo>
                    <a:cubicBezTo>
                      <a:pt x="136" y="72"/>
                      <a:pt x="138" y="73"/>
                      <a:pt x="137" y="74"/>
                    </a:cubicBezTo>
                    <a:cubicBezTo>
                      <a:pt x="136" y="74"/>
                      <a:pt x="132" y="74"/>
                      <a:pt x="133" y="73"/>
                    </a:cubicBezTo>
                    <a:cubicBezTo>
                      <a:pt x="132" y="74"/>
                      <a:pt x="135" y="76"/>
                      <a:pt x="134" y="77"/>
                    </a:cubicBezTo>
                    <a:cubicBezTo>
                      <a:pt x="133" y="77"/>
                      <a:pt x="133" y="75"/>
                      <a:pt x="132" y="76"/>
                    </a:cubicBezTo>
                    <a:cubicBezTo>
                      <a:pt x="131" y="77"/>
                      <a:pt x="135" y="82"/>
                      <a:pt x="131" y="79"/>
                    </a:cubicBezTo>
                    <a:cubicBezTo>
                      <a:pt x="131" y="79"/>
                      <a:pt x="128" y="77"/>
                      <a:pt x="128" y="77"/>
                    </a:cubicBezTo>
                    <a:cubicBezTo>
                      <a:pt x="127" y="78"/>
                      <a:pt x="127" y="79"/>
                      <a:pt x="126" y="79"/>
                    </a:cubicBezTo>
                    <a:cubicBezTo>
                      <a:pt x="126" y="78"/>
                      <a:pt x="127" y="77"/>
                      <a:pt x="127" y="76"/>
                    </a:cubicBezTo>
                    <a:cubicBezTo>
                      <a:pt x="127" y="77"/>
                      <a:pt x="125" y="77"/>
                      <a:pt x="125" y="77"/>
                    </a:cubicBezTo>
                    <a:cubicBezTo>
                      <a:pt x="124" y="76"/>
                      <a:pt x="126" y="75"/>
                      <a:pt x="125" y="74"/>
                    </a:cubicBezTo>
                    <a:cubicBezTo>
                      <a:pt x="125" y="74"/>
                      <a:pt x="123" y="75"/>
                      <a:pt x="123" y="75"/>
                    </a:cubicBezTo>
                    <a:cubicBezTo>
                      <a:pt x="122" y="74"/>
                      <a:pt x="123" y="72"/>
                      <a:pt x="123" y="72"/>
                    </a:cubicBezTo>
                    <a:cubicBezTo>
                      <a:pt x="124" y="72"/>
                      <a:pt x="128" y="70"/>
                      <a:pt x="127" y="70"/>
                    </a:cubicBezTo>
                    <a:cubicBezTo>
                      <a:pt x="126" y="69"/>
                      <a:pt x="122" y="73"/>
                      <a:pt x="120" y="72"/>
                    </a:cubicBezTo>
                    <a:cubicBezTo>
                      <a:pt x="120" y="72"/>
                      <a:pt x="123" y="69"/>
                      <a:pt x="122" y="69"/>
                    </a:cubicBezTo>
                    <a:cubicBezTo>
                      <a:pt x="121" y="69"/>
                      <a:pt x="120" y="71"/>
                      <a:pt x="119" y="70"/>
                    </a:cubicBezTo>
                    <a:cubicBezTo>
                      <a:pt x="118" y="69"/>
                      <a:pt x="117" y="69"/>
                      <a:pt x="116" y="68"/>
                    </a:cubicBezTo>
                    <a:cubicBezTo>
                      <a:pt x="115" y="67"/>
                      <a:pt x="114" y="66"/>
                      <a:pt x="113" y="67"/>
                    </a:cubicBezTo>
                    <a:cubicBezTo>
                      <a:pt x="113" y="68"/>
                      <a:pt x="113" y="68"/>
                      <a:pt x="113" y="69"/>
                    </a:cubicBezTo>
                    <a:cubicBezTo>
                      <a:pt x="113" y="69"/>
                      <a:pt x="112" y="69"/>
                      <a:pt x="112" y="69"/>
                    </a:cubicBezTo>
                    <a:cubicBezTo>
                      <a:pt x="112" y="70"/>
                      <a:pt x="116" y="72"/>
                      <a:pt x="112" y="72"/>
                    </a:cubicBezTo>
                    <a:cubicBezTo>
                      <a:pt x="111" y="72"/>
                      <a:pt x="107" y="71"/>
                      <a:pt x="108" y="70"/>
                    </a:cubicBezTo>
                    <a:cubicBezTo>
                      <a:pt x="107" y="72"/>
                      <a:pt x="111" y="74"/>
                      <a:pt x="112" y="75"/>
                    </a:cubicBezTo>
                    <a:cubicBezTo>
                      <a:pt x="114" y="75"/>
                      <a:pt x="114" y="78"/>
                      <a:pt x="115" y="79"/>
                    </a:cubicBezTo>
                    <a:cubicBezTo>
                      <a:pt x="116" y="80"/>
                      <a:pt x="116" y="81"/>
                      <a:pt x="117" y="81"/>
                    </a:cubicBezTo>
                    <a:cubicBezTo>
                      <a:pt x="118" y="81"/>
                      <a:pt x="117" y="80"/>
                      <a:pt x="118" y="80"/>
                    </a:cubicBezTo>
                    <a:cubicBezTo>
                      <a:pt x="118" y="80"/>
                      <a:pt x="119" y="81"/>
                      <a:pt x="119" y="82"/>
                    </a:cubicBezTo>
                    <a:cubicBezTo>
                      <a:pt x="120" y="83"/>
                      <a:pt x="120" y="82"/>
                      <a:pt x="121" y="81"/>
                    </a:cubicBezTo>
                    <a:cubicBezTo>
                      <a:pt x="122" y="81"/>
                      <a:pt x="121" y="85"/>
                      <a:pt x="122" y="84"/>
                    </a:cubicBezTo>
                    <a:cubicBezTo>
                      <a:pt x="123" y="84"/>
                      <a:pt x="122" y="83"/>
                      <a:pt x="123" y="82"/>
                    </a:cubicBezTo>
                    <a:cubicBezTo>
                      <a:pt x="123" y="82"/>
                      <a:pt x="123" y="84"/>
                      <a:pt x="123" y="85"/>
                    </a:cubicBezTo>
                    <a:cubicBezTo>
                      <a:pt x="123" y="86"/>
                      <a:pt x="123" y="86"/>
                      <a:pt x="124" y="87"/>
                    </a:cubicBezTo>
                    <a:cubicBezTo>
                      <a:pt x="125" y="87"/>
                      <a:pt x="126" y="88"/>
                      <a:pt x="126" y="89"/>
                    </a:cubicBezTo>
                    <a:cubicBezTo>
                      <a:pt x="127" y="89"/>
                      <a:pt x="128" y="93"/>
                      <a:pt x="128" y="93"/>
                    </a:cubicBezTo>
                    <a:cubicBezTo>
                      <a:pt x="127" y="92"/>
                      <a:pt x="127" y="91"/>
                      <a:pt x="127" y="91"/>
                    </a:cubicBezTo>
                    <a:cubicBezTo>
                      <a:pt x="126" y="91"/>
                      <a:pt x="127" y="95"/>
                      <a:pt x="127" y="95"/>
                    </a:cubicBezTo>
                    <a:cubicBezTo>
                      <a:pt x="127" y="95"/>
                      <a:pt x="125" y="91"/>
                      <a:pt x="124" y="90"/>
                    </a:cubicBezTo>
                    <a:cubicBezTo>
                      <a:pt x="124" y="90"/>
                      <a:pt x="125" y="94"/>
                      <a:pt x="126" y="95"/>
                    </a:cubicBezTo>
                    <a:cubicBezTo>
                      <a:pt x="126" y="98"/>
                      <a:pt x="124" y="95"/>
                      <a:pt x="124" y="96"/>
                    </a:cubicBezTo>
                    <a:cubicBezTo>
                      <a:pt x="123" y="97"/>
                      <a:pt x="128" y="99"/>
                      <a:pt x="128" y="100"/>
                    </a:cubicBezTo>
                    <a:cubicBezTo>
                      <a:pt x="128" y="101"/>
                      <a:pt x="119" y="95"/>
                      <a:pt x="118" y="95"/>
                    </a:cubicBezTo>
                    <a:cubicBezTo>
                      <a:pt x="118" y="95"/>
                      <a:pt x="118" y="96"/>
                      <a:pt x="118" y="96"/>
                    </a:cubicBezTo>
                    <a:cubicBezTo>
                      <a:pt x="118" y="97"/>
                      <a:pt x="116" y="93"/>
                      <a:pt x="115" y="93"/>
                    </a:cubicBezTo>
                    <a:cubicBezTo>
                      <a:pt x="115" y="93"/>
                      <a:pt x="116" y="95"/>
                      <a:pt x="116" y="95"/>
                    </a:cubicBezTo>
                    <a:cubicBezTo>
                      <a:pt x="115" y="96"/>
                      <a:pt x="113" y="92"/>
                      <a:pt x="112" y="91"/>
                    </a:cubicBezTo>
                    <a:cubicBezTo>
                      <a:pt x="111" y="90"/>
                      <a:pt x="111" y="92"/>
                      <a:pt x="110" y="93"/>
                    </a:cubicBezTo>
                    <a:cubicBezTo>
                      <a:pt x="110" y="94"/>
                      <a:pt x="108" y="90"/>
                      <a:pt x="108" y="90"/>
                    </a:cubicBezTo>
                    <a:cubicBezTo>
                      <a:pt x="108" y="90"/>
                      <a:pt x="105" y="90"/>
                      <a:pt x="105" y="90"/>
                    </a:cubicBezTo>
                    <a:cubicBezTo>
                      <a:pt x="105" y="91"/>
                      <a:pt x="106" y="92"/>
                      <a:pt x="107" y="92"/>
                    </a:cubicBezTo>
                    <a:cubicBezTo>
                      <a:pt x="108" y="93"/>
                      <a:pt x="108" y="93"/>
                      <a:pt x="109" y="94"/>
                    </a:cubicBezTo>
                    <a:cubicBezTo>
                      <a:pt x="110" y="95"/>
                      <a:pt x="112" y="96"/>
                      <a:pt x="114" y="97"/>
                    </a:cubicBezTo>
                    <a:cubicBezTo>
                      <a:pt x="116" y="99"/>
                      <a:pt x="117" y="100"/>
                      <a:pt x="118" y="102"/>
                    </a:cubicBezTo>
                    <a:cubicBezTo>
                      <a:pt x="120" y="105"/>
                      <a:pt x="120" y="105"/>
                      <a:pt x="117" y="104"/>
                    </a:cubicBezTo>
                    <a:cubicBezTo>
                      <a:pt x="113" y="102"/>
                      <a:pt x="106" y="103"/>
                      <a:pt x="103" y="99"/>
                    </a:cubicBezTo>
                    <a:cubicBezTo>
                      <a:pt x="102" y="97"/>
                      <a:pt x="99" y="99"/>
                      <a:pt x="97" y="97"/>
                    </a:cubicBezTo>
                    <a:cubicBezTo>
                      <a:pt x="96" y="96"/>
                      <a:pt x="90" y="94"/>
                      <a:pt x="90" y="93"/>
                    </a:cubicBezTo>
                    <a:cubicBezTo>
                      <a:pt x="90" y="92"/>
                      <a:pt x="93" y="93"/>
                      <a:pt x="93" y="92"/>
                    </a:cubicBezTo>
                    <a:cubicBezTo>
                      <a:pt x="94" y="91"/>
                      <a:pt x="91" y="90"/>
                      <a:pt x="91" y="90"/>
                    </a:cubicBezTo>
                    <a:cubicBezTo>
                      <a:pt x="88" y="89"/>
                      <a:pt x="86" y="87"/>
                      <a:pt x="84" y="86"/>
                    </a:cubicBezTo>
                    <a:cubicBezTo>
                      <a:pt x="83" y="85"/>
                      <a:pt x="84" y="84"/>
                      <a:pt x="82" y="84"/>
                    </a:cubicBezTo>
                    <a:cubicBezTo>
                      <a:pt x="82" y="83"/>
                      <a:pt x="77" y="83"/>
                      <a:pt x="77" y="83"/>
                    </a:cubicBezTo>
                    <a:cubicBezTo>
                      <a:pt x="77" y="84"/>
                      <a:pt x="78" y="82"/>
                      <a:pt x="77" y="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6" name="Freeform 549">
                <a:extLst>
                  <a:ext uri="{FF2B5EF4-FFF2-40B4-BE49-F238E27FC236}">
                    <a16:creationId xmlns:a16="http://schemas.microsoft.com/office/drawing/2014/main" id="{322B1744-470F-4CF3-96FB-B2806CC9F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174" y="2818640"/>
                <a:ext cx="28669" cy="9557"/>
              </a:xfrm>
              <a:custGeom>
                <a:avLst/>
                <a:gdLst>
                  <a:gd name="T0" fmla="*/ 5 w 6"/>
                  <a:gd name="T1" fmla="*/ 1 h 2"/>
                  <a:gd name="T2" fmla="*/ 1 w 6"/>
                  <a:gd name="T3" fmla="*/ 0 h 2"/>
                  <a:gd name="T4" fmla="*/ 5 w 6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">
                    <a:moveTo>
                      <a:pt x="5" y="1"/>
                    </a:moveTo>
                    <a:cubicBezTo>
                      <a:pt x="5" y="2"/>
                      <a:pt x="0" y="0"/>
                      <a:pt x="1" y="0"/>
                    </a:cubicBezTo>
                    <a:cubicBezTo>
                      <a:pt x="3" y="0"/>
                      <a:pt x="6" y="0"/>
                      <a:pt x="5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7" name="Freeform 550">
                <a:extLst>
                  <a:ext uri="{FF2B5EF4-FFF2-40B4-BE49-F238E27FC236}">
                    <a16:creationId xmlns:a16="http://schemas.microsoft.com/office/drawing/2014/main" id="{08A7A76F-6CA0-487A-96CC-66D2467802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2757" y="2613172"/>
                <a:ext cx="38227" cy="9557"/>
              </a:xfrm>
              <a:custGeom>
                <a:avLst/>
                <a:gdLst>
                  <a:gd name="T0" fmla="*/ 7 w 8"/>
                  <a:gd name="T1" fmla="*/ 1 h 2"/>
                  <a:gd name="T2" fmla="*/ 2 w 8"/>
                  <a:gd name="T3" fmla="*/ 2 h 2"/>
                  <a:gd name="T4" fmla="*/ 3 w 8"/>
                  <a:gd name="T5" fmla="*/ 0 h 2"/>
                  <a:gd name="T6" fmla="*/ 7 w 8"/>
                  <a:gd name="T7" fmla="*/ 1 h 2"/>
                  <a:gd name="T8" fmla="*/ 7 w 8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7" y="1"/>
                    </a:moveTo>
                    <a:cubicBezTo>
                      <a:pt x="8" y="2"/>
                      <a:pt x="3" y="2"/>
                      <a:pt x="2" y="2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5" y="0"/>
                      <a:pt x="7" y="0"/>
                      <a:pt x="7" y="1"/>
                    </a:cubicBezTo>
                    <a:cubicBezTo>
                      <a:pt x="8" y="2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8" name="Freeform 551">
                <a:extLst>
                  <a:ext uri="{FF2B5EF4-FFF2-40B4-BE49-F238E27FC236}">
                    <a16:creationId xmlns:a16="http://schemas.microsoft.com/office/drawing/2014/main" id="{878E032A-F0CA-4A15-861C-D39D5D594C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7011" y="2603615"/>
                <a:ext cx="55747" cy="46190"/>
              </a:xfrm>
              <a:custGeom>
                <a:avLst/>
                <a:gdLst>
                  <a:gd name="T0" fmla="*/ 10 w 12"/>
                  <a:gd name="T1" fmla="*/ 7 h 10"/>
                  <a:gd name="T2" fmla="*/ 3 w 12"/>
                  <a:gd name="T3" fmla="*/ 9 h 10"/>
                  <a:gd name="T4" fmla="*/ 2 w 12"/>
                  <a:gd name="T5" fmla="*/ 2 h 10"/>
                  <a:gd name="T6" fmla="*/ 9 w 12"/>
                  <a:gd name="T7" fmla="*/ 0 h 10"/>
                  <a:gd name="T8" fmla="*/ 10 w 12"/>
                  <a:gd name="T9" fmla="*/ 7 h 10"/>
                  <a:gd name="T10" fmla="*/ 10 w 12"/>
                  <a:gd name="T11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0">
                    <a:moveTo>
                      <a:pt x="10" y="7"/>
                    </a:moveTo>
                    <a:cubicBezTo>
                      <a:pt x="8" y="8"/>
                      <a:pt x="6" y="10"/>
                      <a:pt x="3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3" y="0"/>
                      <a:pt x="7" y="0"/>
                      <a:pt x="9" y="0"/>
                    </a:cubicBezTo>
                    <a:cubicBezTo>
                      <a:pt x="11" y="0"/>
                      <a:pt x="12" y="5"/>
                      <a:pt x="10" y="7"/>
                    </a:cubicBezTo>
                    <a:cubicBezTo>
                      <a:pt x="9" y="8"/>
                      <a:pt x="12" y="6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9" name="Freeform 553">
                <a:extLst>
                  <a:ext uri="{FF2B5EF4-FFF2-40B4-BE49-F238E27FC236}">
                    <a16:creationId xmlns:a16="http://schemas.microsoft.com/office/drawing/2014/main" id="{0D922593-B6E8-4955-9BD1-E224CAA0E6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2232" y="2557424"/>
                <a:ext cx="28669" cy="14335"/>
              </a:xfrm>
              <a:custGeom>
                <a:avLst/>
                <a:gdLst>
                  <a:gd name="T0" fmla="*/ 2 w 6"/>
                  <a:gd name="T1" fmla="*/ 3 h 3"/>
                  <a:gd name="T2" fmla="*/ 2 w 6"/>
                  <a:gd name="T3" fmla="*/ 1 h 3"/>
                  <a:gd name="T4" fmla="*/ 2 w 6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3">
                    <a:moveTo>
                      <a:pt x="2" y="3"/>
                    </a:moveTo>
                    <a:cubicBezTo>
                      <a:pt x="2" y="3"/>
                      <a:pt x="0" y="1"/>
                      <a:pt x="2" y="1"/>
                    </a:cubicBezTo>
                    <a:cubicBezTo>
                      <a:pt x="3" y="0"/>
                      <a:pt x="6" y="3"/>
                      <a:pt x="2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0" name="Freeform 555">
                <a:extLst>
                  <a:ext uri="{FF2B5EF4-FFF2-40B4-BE49-F238E27FC236}">
                    <a16:creationId xmlns:a16="http://schemas.microsoft.com/office/drawing/2014/main" id="{89275834-EBDF-40ED-93D2-A3B5287BFB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7816" y="2369477"/>
                <a:ext cx="122643" cy="52562"/>
              </a:xfrm>
              <a:custGeom>
                <a:avLst/>
                <a:gdLst>
                  <a:gd name="T0" fmla="*/ 25 w 26"/>
                  <a:gd name="T1" fmla="*/ 9 h 11"/>
                  <a:gd name="T2" fmla="*/ 18 w 26"/>
                  <a:gd name="T3" fmla="*/ 8 h 11"/>
                  <a:gd name="T4" fmla="*/ 10 w 26"/>
                  <a:gd name="T5" fmla="*/ 10 h 11"/>
                  <a:gd name="T6" fmla="*/ 3 w 26"/>
                  <a:gd name="T7" fmla="*/ 6 h 11"/>
                  <a:gd name="T8" fmla="*/ 2 w 26"/>
                  <a:gd name="T9" fmla="*/ 1 h 11"/>
                  <a:gd name="T10" fmla="*/ 8 w 26"/>
                  <a:gd name="T11" fmla="*/ 2 h 11"/>
                  <a:gd name="T12" fmla="*/ 17 w 26"/>
                  <a:gd name="T13" fmla="*/ 2 h 11"/>
                  <a:gd name="T14" fmla="*/ 22 w 26"/>
                  <a:gd name="T15" fmla="*/ 5 h 11"/>
                  <a:gd name="T16" fmla="*/ 25 w 26"/>
                  <a:gd name="T17" fmla="*/ 9 h 11"/>
                  <a:gd name="T18" fmla="*/ 25 w 26"/>
                  <a:gd name="T19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11">
                    <a:moveTo>
                      <a:pt x="25" y="9"/>
                    </a:moveTo>
                    <a:cubicBezTo>
                      <a:pt x="22" y="9"/>
                      <a:pt x="20" y="8"/>
                      <a:pt x="18" y="8"/>
                    </a:cubicBezTo>
                    <a:cubicBezTo>
                      <a:pt x="15" y="8"/>
                      <a:pt x="13" y="10"/>
                      <a:pt x="10" y="10"/>
                    </a:cubicBezTo>
                    <a:cubicBezTo>
                      <a:pt x="7" y="11"/>
                      <a:pt x="6" y="7"/>
                      <a:pt x="3" y="6"/>
                    </a:cubicBezTo>
                    <a:cubicBezTo>
                      <a:pt x="2" y="5"/>
                      <a:pt x="0" y="3"/>
                      <a:pt x="2" y="1"/>
                    </a:cubicBezTo>
                    <a:cubicBezTo>
                      <a:pt x="3" y="0"/>
                      <a:pt x="7" y="2"/>
                      <a:pt x="8" y="2"/>
                    </a:cubicBezTo>
                    <a:cubicBezTo>
                      <a:pt x="11" y="3"/>
                      <a:pt x="14" y="1"/>
                      <a:pt x="17" y="2"/>
                    </a:cubicBezTo>
                    <a:cubicBezTo>
                      <a:pt x="19" y="2"/>
                      <a:pt x="20" y="4"/>
                      <a:pt x="22" y="5"/>
                    </a:cubicBezTo>
                    <a:cubicBezTo>
                      <a:pt x="22" y="6"/>
                      <a:pt x="25" y="9"/>
                      <a:pt x="25" y="9"/>
                    </a:cubicBezTo>
                    <a:cubicBezTo>
                      <a:pt x="23" y="9"/>
                      <a:pt x="26" y="9"/>
                      <a:pt x="25" y="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1" name="Freeform 602">
                <a:extLst>
                  <a:ext uri="{FF2B5EF4-FFF2-40B4-BE49-F238E27FC236}">
                    <a16:creationId xmlns:a16="http://schemas.microsoft.com/office/drawing/2014/main" id="{9877A642-ED56-4B5A-BD96-A00363199A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934" y="1883683"/>
                <a:ext cx="727898" cy="379079"/>
              </a:xfrm>
              <a:custGeom>
                <a:avLst/>
                <a:gdLst>
                  <a:gd name="T0" fmla="*/ 15 w 156"/>
                  <a:gd name="T1" fmla="*/ 77 h 81"/>
                  <a:gd name="T2" fmla="*/ 27 w 156"/>
                  <a:gd name="T3" fmla="*/ 76 h 81"/>
                  <a:gd name="T4" fmla="*/ 37 w 156"/>
                  <a:gd name="T5" fmla="*/ 78 h 81"/>
                  <a:gd name="T6" fmla="*/ 48 w 156"/>
                  <a:gd name="T7" fmla="*/ 77 h 81"/>
                  <a:gd name="T8" fmla="*/ 65 w 156"/>
                  <a:gd name="T9" fmla="*/ 76 h 81"/>
                  <a:gd name="T10" fmla="*/ 59 w 156"/>
                  <a:gd name="T11" fmla="*/ 70 h 81"/>
                  <a:gd name="T12" fmla="*/ 50 w 156"/>
                  <a:gd name="T13" fmla="*/ 65 h 81"/>
                  <a:gd name="T14" fmla="*/ 73 w 156"/>
                  <a:gd name="T15" fmla="*/ 61 h 81"/>
                  <a:gd name="T16" fmla="*/ 76 w 156"/>
                  <a:gd name="T17" fmla="*/ 55 h 81"/>
                  <a:gd name="T18" fmla="*/ 71 w 156"/>
                  <a:gd name="T19" fmla="*/ 50 h 81"/>
                  <a:gd name="T20" fmla="*/ 72 w 156"/>
                  <a:gd name="T21" fmla="*/ 48 h 81"/>
                  <a:gd name="T22" fmla="*/ 78 w 156"/>
                  <a:gd name="T23" fmla="*/ 45 h 81"/>
                  <a:gd name="T24" fmla="*/ 90 w 156"/>
                  <a:gd name="T25" fmla="*/ 44 h 81"/>
                  <a:gd name="T26" fmla="*/ 105 w 156"/>
                  <a:gd name="T27" fmla="*/ 37 h 81"/>
                  <a:gd name="T28" fmla="*/ 105 w 156"/>
                  <a:gd name="T29" fmla="*/ 32 h 81"/>
                  <a:gd name="T30" fmla="*/ 136 w 156"/>
                  <a:gd name="T31" fmla="*/ 21 h 81"/>
                  <a:gd name="T32" fmla="*/ 115 w 156"/>
                  <a:gd name="T33" fmla="*/ 23 h 81"/>
                  <a:gd name="T34" fmla="*/ 134 w 156"/>
                  <a:gd name="T35" fmla="*/ 18 h 81"/>
                  <a:gd name="T36" fmla="*/ 146 w 156"/>
                  <a:gd name="T37" fmla="*/ 10 h 81"/>
                  <a:gd name="T38" fmla="*/ 133 w 156"/>
                  <a:gd name="T39" fmla="*/ 5 h 81"/>
                  <a:gd name="T40" fmla="*/ 121 w 156"/>
                  <a:gd name="T41" fmla="*/ 5 h 81"/>
                  <a:gd name="T42" fmla="*/ 100 w 156"/>
                  <a:gd name="T43" fmla="*/ 2 h 81"/>
                  <a:gd name="T44" fmla="*/ 91 w 156"/>
                  <a:gd name="T45" fmla="*/ 5 h 81"/>
                  <a:gd name="T46" fmla="*/ 80 w 156"/>
                  <a:gd name="T47" fmla="*/ 8 h 81"/>
                  <a:gd name="T48" fmla="*/ 58 w 156"/>
                  <a:gd name="T49" fmla="*/ 4 h 81"/>
                  <a:gd name="T50" fmla="*/ 52 w 156"/>
                  <a:gd name="T51" fmla="*/ 5 h 81"/>
                  <a:gd name="T52" fmla="*/ 46 w 156"/>
                  <a:gd name="T53" fmla="*/ 10 h 81"/>
                  <a:gd name="T54" fmla="*/ 45 w 156"/>
                  <a:gd name="T55" fmla="*/ 12 h 81"/>
                  <a:gd name="T56" fmla="*/ 31 w 156"/>
                  <a:gd name="T57" fmla="*/ 10 h 81"/>
                  <a:gd name="T58" fmla="*/ 34 w 156"/>
                  <a:gd name="T59" fmla="*/ 16 h 81"/>
                  <a:gd name="T60" fmla="*/ 23 w 156"/>
                  <a:gd name="T61" fmla="*/ 16 h 81"/>
                  <a:gd name="T62" fmla="*/ 5 w 156"/>
                  <a:gd name="T63" fmla="*/ 17 h 81"/>
                  <a:gd name="T64" fmla="*/ 11 w 156"/>
                  <a:gd name="T65" fmla="*/ 21 h 81"/>
                  <a:gd name="T66" fmla="*/ 13 w 156"/>
                  <a:gd name="T67" fmla="*/ 26 h 81"/>
                  <a:gd name="T68" fmla="*/ 23 w 156"/>
                  <a:gd name="T69" fmla="*/ 27 h 81"/>
                  <a:gd name="T70" fmla="*/ 20 w 156"/>
                  <a:gd name="T71" fmla="*/ 31 h 81"/>
                  <a:gd name="T72" fmla="*/ 26 w 156"/>
                  <a:gd name="T73" fmla="*/ 30 h 81"/>
                  <a:gd name="T74" fmla="*/ 42 w 156"/>
                  <a:gd name="T75" fmla="*/ 30 h 81"/>
                  <a:gd name="T76" fmla="*/ 52 w 156"/>
                  <a:gd name="T77" fmla="*/ 31 h 81"/>
                  <a:gd name="T78" fmla="*/ 73 w 156"/>
                  <a:gd name="T79" fmla="*/ 21 h 81"/>
                  <a:gd name="T80" fmla="*/ 60 w 156"/>
                  <a:gd name="T81" fmla="*/ 31 h 81"/>
                  <a:gd name="T82" fmla="*/ 44 w 156"/>
                  <a:gd name="T83" fmla="*/ 35 h 81"/>
                  <a:gd name="T84" fmla="*/ 58 w 156"/>
                  <a:gd name="T85" fmla="*/ 42 h 81"/>
                  <a:gd name="T86" fmla="*/ 32 w 156"/>
                  <a:gd name="T87" fmla="*/ 39 h 81"/>
                  <a:gd name="T88" fmla="*/ 42 w 156"/>
                  <a:gd name="T89" fmla="*/ 50 h 81"/>
                  <a:gd name="T90" fmla="*/ 44 w 156"/>
                  <a:gd name="T91" fmla="*/ 52 h 81"/>
                  <a:gd name="T92" fmla="*/ 30 w 156"/>
                  <a:gd name="T93" fmla="*/ 52 h 81"/>
                  <a:gd name="T94" fmla="*/ 27 w 156"/>
                  <a:gd name="T95" fmla="*/ 59 h 81"/>
                  <a:gd name="T96" fmla="*/ 36 w 156"/>
                  <a:gd name="T97" fmla="*/ 57 h 81"/>
                  <a:gd name="T98" fmla="*/ 34 w 156"/>
                  <a:gd name="T99" fmla="*/ 60 h 81"/>
                  <a:gd name="T100" fmla="*/ 37 w 156"/>
                  <a:gd name="T101" fmla="*/ 65 h 81"/>
                  <a:gd name="T102" fmla="*/ 38 w 156"/>
                  <a:gd name="T103" fmla="*/ 68 h 81"/>
                  <a:gd name="T104" fmla="*/ 19 w 156"/>
                  <a:gd name="T105" fmla="*/ 6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6" h="81">
                    <a:moveTo>
                      <a:pt x="26" y="70"/>
                    </a:moveTo>
                    <a:cubicBezTo>
                      <a:pt x="22" y="70"/>
                      <a:pt x="17" y="70"/>
                      <a:pt x="13" y="71"/>
                    </a:cubicBezTo>
                    <a:cubicBezTo>
                      <a:pt x="11" y="72"/>
                      <a:pt x="11" y="75"/>
                      <a:pt x="12" y="76"/>
                    </a:cubicBezTo>
                    <a:cubicBezTo>
                      <a:pt x="13" y="77"/>
                      <a:pt x="15" y="78"/>
                      <a:pt x="15" y="77"/>
                    </a:cubicBezTo>
                    <a:cubicBezTo>
                      <a:pt x="17" y="77"/>
                      <a:pt x="16" y="76"/>
                      <a:pt x="17" y="75"/>
                    </a:cubicBezTo>
                    <a:cubicBezTo>
                      <a:pt x="17" y="75"/>
                      <a:pt x="17" y="78"/>
                      <a:pt x="17" y="78"/>
                    </a:cubicBezTo>
                    <a:cubicBezTo>
                      <a:pt x="19" y="78"/>
                      <a:pt x="22" y="78"/>
                      <a:pt x="24" y="78"/>
                    </a:cubicBezTo>
                    <a:cubicBezTo>
                      <a:pt x="26" y="78"/>
                      <a:pt x="26" y="76"/>
                      <a:pt x="27" y="76"/>
                    </a:cubicBezTo>
                    <a:cubicBezTo>
                      <a:pt x="29" y="76"/>
                      <a:pt x="27" y="78"/>
                      <a:pt x="27" y="78"/>
                    </a:cubicBezTo>
                    <a:cubicBezTo>
                      <a:pt x="27" y="78"/>
                      <a:pt x="37" y="79"/>
                      <a:pt x="37" y="78"/>
                    </a:cubicBezTo>
                    <a:cubicBezTo>
                      <a:pt x="37" y="78"/>
                      <a:pt x="35" y="77"/>
                      <a:pt x="34" y="76"/>
                    </a:cubicBezTo>
                    <a:cubicBezTo>
                      <a:pt x="34" y="76"/>
                      <a:pt x="38" y="77"/>
                      <a:pt x="37" y="78"/>
                    </a:cubicBezTo>
                    <a:cubicBezTo>
                      <a:pt x="38" y="77"/>
                      <a:pt x="37" y="76"/>
                      <a:pt x="38" y="76"/>
                    </a:cubicBezTo>
                    <a:cubicBezTo>
                      <a:pt x="38" y="76"/>
                      <a:pt x="40" y="77"/>
                      <a:pt x="41" y="77"/>
                    </a:cubicBezTo>
                    <a:cubicBezTo>
                      <a:pt x="43" y="79"/>
                      <a:pt x="41" y="76"/>
                      <a:pt x="42" y="75"/>
                    </a:cubicBezTo>
                    <a:cubicBezTo>
                      <a:pt x="42" y="75"/>
                      <a:pt x="48" y="78"/>
                      <a:pt x="48" y="77"/>
                    </a:cubicBezTo>
                    <a:cubicBezTo>
                      <a:pt x="48" y="76"/>
                      <a:pt x="46" y="76"/>
                      <a:pt x="46" y="75"/>
                    </a:cubicBezTo>
                    <a:cubicBezTo>
                      <a:pt x="46" y="75"/>
                      <a:pt x="53" y="76"/>
                      <a:pt x="53" y="76"/>
                    </a:cubicBezTo>
                    <a:cubicBezTo>
                      <a:pt x="57" y="76"/>
                      <a:pt x="52" y="79"/>
                      <a:pt x="52" y="80"/>
                    </a:cubicBezTo>
                    <a:cubicBezTo>
                      <a:pt x="52" y="81"/>
                      <a:pt x="64" y="76"/>
                      <a:pt x="65" y="76"/>
                    </a:cubicBezTo>
                    <a:cubicBezTo>
                      <a:pt x="67" y="76"/>
                      <a:pt x="72" y="73"/>
                      <a:pt x="68" y="72"/>
                    </a:cubicBezTo>
                    <a:cubicBezTo>
                      <a:pt x="66" y="71"/>
                      <a:pt x="63" y="73"/>
                      <a:pt x="61" y="72"/>
                    </a:cubicBezTo>
                    <a:cubicBezTo>
                      <a:pt x="61" y="72"/>
                      <a:pt x="63" y="70"/>
                      <a:pt x="63" y="70"/>
                    </a:cubicBezTo>
                    <a:cubicBezTo>
                      <a:pt x="63" y="69"/>
                      <a:pt x="60" y="70"/>
                      <a:pt x="59" y="70"/>
                    </a:cubicBezTo>
                    <a:cubicBezTo>
                      <a:pt x="57" y="70"/>
                      <a:pt x="56" y="68"/>
                      <a:pt x="54" y="68"/>
                    </a:cubicBezTo>
                    <a:cubicBezTo>
                      <a:pt x="53" y="69"/>
                      <a:pt x="50" y="70"/>
                      <a:pt x="48" y="69"/>
                    </a:cubicBezTo>
                    <a:cubicBezTo>
                      <a:pt x="49" y="69"/>
                      <a:pt x="50" y="69"/>
                      <a:pt x="51" y="69"/>
                    </a:cubicBezTo>
                    <a:cubicBezTo>
                      <a:pt x="52" y="68"/>
                      <a:pt x="50" y="66"/>
                      <a:pt x="50" y="65"/>
                    </a:cubicBezTo>
                    <a:cubicBezTo>
                      <a:pt x="50" y="67"/>
                      <a:pt x="59" y="68"/>
                      <a:pt x="60" y="68"/>
                    </a:cubicBezTo>
                    <a:cubicBezTo>
                      <a:pt x="61" y="68"/>
                      <a:pt x="63" y="68"/>
                      <a:pt x="65" y="68"/>
                    </a:cubicBezTo>
                    <a:cubicBezTo>
                      <a:pt x="67" y="68"/>
                      <a:pt x="69" y="65"/>
                      <a:pt x="68" y="64"/>
                    </a:cubicBezTo>
                    <a:cubicBezTo>
                      <a:pt x="65" y="61"/>
                      <a:pt x="71" y="61"/>
                      <a:pt x="73" y="61"/>
                    </a:cubicBezTo>
                    <a:cubicBezTo>
                      <a:pt x="74" y="61"/>
                      <a:pt x="79" y="61"/>
                      <a:pt x="80" y="60"/>
                    </a:cubicBezTo>
                    <a:cubicBezTo>
                      <a:pt x="80" y="60"/>
                      <a:pt x="75" y="58"/>
                      <a:pt x="75" y="58"/>
                    </a:cubicBezTo>
                    <a:cubicBezTo>
                      <a:pt x="77" y="57"/>
                      <a:pt x="81" y="59"/>
                      <a:pt x="82" y="57"/>
                    </a:cubicBezTo>
                    <a:cubicBezTo>
                      <a:pt x="83" y="56"/>
                      <a:pt x="77" y="55"/>
                      <a:pt x="76" y="55"/>
                    </a:cubicBezTo>
                    <a:cubicBezTo>
                      <a:pt x="77" y="55"/>
                      <a:pt x="84" y="54"/>
                      <a:pt x="85" y="53"/>
                    </a:cubicBezTo>
                    <a:cubicBezTo>
                      <a:pt x="87" y="52"/>
                      <a:pt x="77" y="50"/>
                      <a:pt x="77" y="51"/>
                    </a:cubicBezTo>
                    <a:cubicBezTo>
                      <a:pt x="77" y="50"/>
                      <a:pt x="79" y="50"/>
                      <a:pt x="79" y="50"/>
                    </a:cubicBezTo>
                    <a:cubicBezTo>
                      <a:pt x="79" y="49"/>
                      <a:pt x="72" y="50"/>
                      <a:pt x="71" y="50"/>
                    </a:cubicBezTo>
                    <a:cubicBezTo>
                      <a:pt x="69" y="50"/>
                      <a:pt x="68" y="51"/>
                      <a:pt x="66" y="52"/>
                    </a:cubicBezTo>
                    <a:cubicBezTo>
                      <a:pt x="67" y="52"/>
                      <a:pt x="70" y="49"/>
                      <a:pt x="68" y="49"/>
                    </a:cubicBezTo>
                    <a:cubicBezTo>
                      <a:pt x="68" y="49"/>
                      <a:pt x="64" y="49"/>
                      <a:pt x="64" y="48"/>
                    </a:cubicBezTo>
                    <a:cubicBezTo>
                      <a:pt x="64" y="48"/>
                      <a:pt x="71" y="48"/>
                      <a:pt x="72" y="48"/>
                    </a:cubicBezTo>
                    <a:cubicBezTo>
                      <a:pt x="71" y="48"/>
                      <a:pt x="68" y="47"/>
                      <a:pt x="68" y="47"/>
                    </a:cubicBezTo>
                    <a:cubicBezTo>
                      <a:pt x="69" y="46"/>
                      <a:pt x="72" y="48"/>
                      <a:pt x="74" y="47"/>
                    </a:cubicBezTo>
                    <a:cubicBezTo>
                      <a:pt x="73" y="47"/>
                      <a:pt x="69" y="46"/>
                      <a:pt x="69" y="46"/>
                    </a:cubicBezTo>
                    <a:cubicBezTo>
                      <a:pt x="69" y="45"/>
                      <a:pt x="77" y="46"/>
                      <a:pt x="78" y="45"/>
                    </a:cubicBezTo>
                    <a:cubicBezTo>
                      <a:pt x="78" y="45"/>
                      <a:pt x="75" y="44"/>
                      <a:pt x="75" y="44"/>
                    </a:cubicBezTo>
                    <a:cubicBezTo>
                      <a:pt x="74" y="44"/>
                      <a:pt x="77" y="44"/>
                      <a:pt x="77" y="44"/>
                    </a:cubicBezTo>
                    <a:cubicBezTo>
                      <a:pt x="79" y="45"/>
                      <a:pt x="80" y="46"/>
                      <a:pt x="82" y="46"/>
                    </a:cubicBezTo>
                    <a:cubicBezTo>
                      <a:pt x="84" y="46"/>
                      <a:pt x="87" y="45"/>
                      <a:pt x="90" y="44"/>
                    </a:cubicBezTo>
                    <a:cubicBezTo>
                      <a:pt x="98" y="43"/>
                      <a:pt x="85" y="42"/>
                      <a:pt x="84" y="40"/>
                    </a:cubicBezTo>
                    <a:cubicBezTo>
                      <a:pt x="84" y="39"/>
                      <a:pt x="93" y="40"/>
                      <a:pt x="94" y="41"/>
                    </a:cubicBezTo>
                    <a:cubicBezTo>
                      <a:pt x="96" y="42"/>
                      <a:pt x="97" y="42"/>
                      <a:pt x="100" y="41"/>
                    </a:cubicBezTo>
                    <a:cubicBezTo>
                      <a:pt x="101" y="41"/>
                      <a:pt x="106" y="39"/>
                      <a:pt x="105" y="37"/>
                    </a:cubicBezTo>
                    <a:cubicBezTo>
                      <a:pt x="105" y="36"/>
                      <a:pt x="94" y="41"/>
                      <a:pt x="97" y="36"/>
                    </a:cubicBezTo>
                    <a:cubicBezTo>
                      <a:pt x="96" y="37"/>
                      <a:pt x="101" y="37"/>
                      <a:pt x="101" y="37"/>
                    </a:cubicBezTo>
                    <a:cubicBezTo>
                      <a:pt x="104" y="37"/>
                      <a:pt x="106" y="36"/>
                      <a:pt x="108" y="36"/>
                    </a:cubicBezTo>
                    <a:cubicBezTo>
                      <a:pt x="108" y="35"/>
                      <a:pt x="105" y="32"/>
                      <a:pt x="105" y="32"/>
                    </a:cubicBezTo>
                    <a:cubicBezTo>
                      <a:pt x="106" y="32"/>
                      <a:pt x="107" y="33"/>
                      <a:pt x="107" y="34"/>
                    </a:cubicBezTo>
                    <a:cubicBezTo>
                      <a:pt x="108" y="35"/>
                      <a:pt x="110" y="34"/>
                      <a:pt x="111" y="34"/>
                    </a:cubicBezTo>
                    <a:cubicBezTo>
                      <a:pt x="114" y="32"/>
                      <a:pt x="116" y="30"/>
                      <a:pt x="119" y="29"/>
                    </a:cubicBezTo>
                    <a:cubicBezTo>
                      <a:pt x="121" y="28"/>
                      <a:pt x="136" y="22"/>
                      <a:pt x="136" y="21"/>
                    </a:cubicBezTo>
                    <a:cubicBezTo>
                      <a:pt x="136" y="20"/>
                      <a:pt x="123" y="23"/>
                      <a:pt x="122" y="23"/>
                    </a:cubicBezTo>
                    <a:cubicBezTo>
                      <a:pt x="119" y="24"/>
                      <a:pt x="116" y="24"/>
                      <a:pt x="112" y="25"/>
                    </a:cubicBezTo>
                    <a:cubicBezTo>
                      <a:pt x="112" y="25"/>
                      <a:pt x="108" y="25"/>
                      <a:pt x="108" y="25"/>
                    </a:cubicBezTo>
                    <a:cubicBezTo>
                      <a:pt x="108" y="24"/>
                      <a:pt x="114" y="24"/>
                      <a:pt x="115" y="23"/>
                    </a:cubicBezTo>
                    <a:cubicBezTo>
                      <a:pt x="116" y="23"/>
                      <a:pt x="123" y="22"/>
                      <a:pt x="123" y="21"/>
                    </a:cubicBezTo>
                    <a:cubicBezTo>
                      <a:pt x="123" y="22"/>
                      <a:pt x="113" y="20"/>
                      <a:pt x="114" y="19"/>
                    </a:cubicBezTo>
                    <a:cubicBezTo>
                      <a:pt x="114" y="19"/>
                      <a:pt x="126" y="20"/>
                      <a:pt x="127" y="19"/>
                    </a:cubicBezTo>
                    <a:cubicBezTo>
                      <a:pt x="129" y="19"/>
                      <a:pt x="132" y="18"/>
                      <a:pt x="134" y="18"/>
                    </a:cubicBezTo>
                    <a:cubicBezTo>
                      <a:pt x="135" y="18"/>
                      <a:pt x="137" y="18"/>
                      <a:pt x="138" y="18"/>
                    </a:cubicBezTo>
                    <a:cubicBezTo>
                      <a:pt x="142" y="17"/>
                      <a:pt x="146" y="16"/>
                      <a:pt x="149" y="15"/>
                    </a:cubicBezTo>
                    <a:cubicBezTo>
                      <a:pt x="149" y="15"/>
                      <a:pt x="156" y="11"/>
                      <a:pt x="153" y="10"/>
                    </a:cubicBezTo>
                    <a:cubicBezTo>
                      <a:pt x="151" y="10"/>
                      <a:pt x="148" y="10"/>
                      <a:pt x="146" y="10"/>
                    </a:cubicBezTo>
                    <a:cubicBezTo>
                      <a:pt x="145" y="9"/>
                      <a:pt x="143" y="10"/>
                      <a:pt x="143" y="9"/>
                    </a:cubicBezTo>
                    <a:cubicBezTo>
                      <a:pt x="143" y="7"/>
                      <a:pt x="141" y="7"/>
                      <a:pt x="141" y="5"/>
                    </a:cubicBezTo>
                    <a:cubicBezTo>
                      <a:pt x="141" y="5"/>
                      <a:pt x="137" y="6"/>
                      <a:pt x="136" y="6"/>
                    </a:cubicBezTo>
                    <a:cubicBezTo>
                      <a:pt x="135" y="5"/>
                      <a:pt x="134" y="3"/>
                      <a:pt x="133" y="5"/>
                    </a:cubicBezTo>
                    <a:cubicBezTo>
                      <a:pt x="133" y="5"/>
                      <a:pt x="127" y="6"/>
                      <a:pt x="126" y="6"/>
                    </a:cubicBezTo>
                    <a:cubicBezTo>
                      <a:pt x="124" y="7"/>
                      <a:pt x="122" y="7"/>
                      <a:pt x="120" y="7"/>
                    </a:cubicBezTo>
                    <a:cubicBezTo>
                      <a:pt x="120" y="7"/>
                      <a:pt x="116" y="7"/>
                      <a:pt x="116" y="7"/>
                    </a:cubicBezTo>
                    <a:cubicBezTo>
                      <a:pt x="116" y="6"/>
                      <a:pt x="120" y="6"/>
                      <a:pt x="121" y="5"/>
                    </a:cubicBezTo>
                    <a:cubicBezTo>
                      <a:pt x="123" y="5"/>
                      <a:pt x="125" y="4"/>
                      <a:pt x="126" y="3"/>
                    </a:cubicBezTo>
                    <a:cubicBezTo>
                      <a:pt x="124" y="6"/>
                      <a:pt x="103" y="0"/>
                      <a:pt x="102" y="2"/>
                    </a:cubicBezTo>
                    <a:cubicBezTo>
                      <a:pt x="102" y="3"/>
                      <a:pt x="104" y="3"/>
                      <a:pt x="105" y="4"/>
                    </a:cubicBezTo>
                    <a:cubicBezTo>
                      <a:pt x="105" y="5"/>
                      <a:pt x="100" y="2"/>
                      <a:pt x="100" y="2"/>
                    </a:cubicBezTo>
                    <a:cubicBezTo>
                      <a:pt x="98" y="1"/>
                      <a:pt x="95" y="2"/>
                      <a:pt x="94" y="2"/>
                    </a:cubicBezTo>
                    <a:cubicBezTo>
                      <a:pt x="93" y="2"/>
                      <a:pt x="90" y="2"/>
                      <a:pt x="91" y="3"/>
                    </a:cubicBezTo>
                    <a:cubicBezTo>
                      <a:pt x="92" y="4"/>
                      <a:pt x="94" y="7"/>
                      <a:pt x="95" y="6"/>
                    </a:cubicBezTo>
                    <a:cubicBezTo>
                      <a:pt x="95" y="7"/>
                      <a:pt x="91" y="6"/>
                      <a:pt x="91" y="5"/>
                    </a:cubicBezTo>
                    <a:cubicBezTo>
                      <a:pt x="88" y="5"/>
                      <a:pt x="87" y="2"/>
                      <a:pt x="85" y="2"/>
                    </a:cubicBezTo>
                    <a:cubicBezTo>
                      <a:pt x="81" y="2"/>
                      <a:pt x="78" y="2"/>
                      <a:pt x="75" y="2"/>
                    </a:cubicBezTo>
                    <a:cubicBezTo>
                      <a:pt x="70" y="3"/>
                      <a:pt x="73" y="4"/>
                      <a:pt x="76" y="5"/>
                    </a:cubicBezTo>
                    <a:cubicBezTo>
                      <a:pt x="77" y="6"/>
                      <a:pt x="79" y="7"/>
                      <a:pt x="80" y="8"/>
                    </a:cubicBezTo>
                    <a:cubicBezTo>
                      <a:pt x="80" y="8"/>
                      <a:pt x="77" y="10"/>
                      <a:pt x="77" y="10"/>
                    </a:cubicBezTo>
                    <a:cubicBezTo>
                      <a:pt x="76" y="10"/>
                      <a:pt x="78" y="9"/>
                      <a:pt x="78" y="9"/>
                    </a:cubicBezTo>
                    <a:cubicBezTo>
                      <a:pt x="78" y="8"/>
                      <a:pt x="71" y="4"/>
                      <a:pt x="70" y="4"/>
                    </a:cubicBezTo>
                    <a:cubicBezTo>
                      <a:pt x="66" y="4"/>
                      <a:pt x="62" y="3"/>
                      <a:pt x="58" y="4"/>
                    </a:cubicBezTo>
                    <a:cubicBezTo>
                      <a:pt x="58" y="4"/>
                      <a:pt x="60" y="6"/>
                      <a:pt x="61" y="6"/>
                    </a:cubicBezTo>
                    <a:cubicBezTo>
                      <a:pt x="62" y="6"/>
                      <a:pt x="64" y="7"/>
                      <a:pt x="66" y="6"/>
                    </a:cubicBezTo>
                    <a:cubicBezTo>
                      <a:pt x="64" y="7"/>
                      <a:pt x="61" y="8"/>
                      <a:pt x="59" y="7"/>
                    </a:cubicBezTo>
                    <a:cubicBezTo>
                      <a:pt x="58" y="7"/>
                      <a:pt x="51" y="4"/>
                      <a:pt x="52" y="5"/>
                    </a:cubicBezTo>
                    <a:cubicBezTo>
                      <a:pt x="52" y="4"/>
                      <a:pt x="57" y="10"/>
                      <a:pt x="53" y="9"/>
                    </a:cubicBezTo>
                    <a:cubicBezTo>
                      <a:pt x="52" y="8"/>
                      <a:pt x="49" y="7"/>
                      <a:pt x="47" y="8"/>
                    </a:cubicBezTo>
                    <a:cubicBezTo>
                      <a:pt x="48" y="8"/>
                      <a:pt x="51" y="9"/>
                      <a:pt x="51" y="9"/>
                    </a:cubicBezTo>
                    <a:cubicBezTo>
                      <a:pt x="50" y="10"/>
                      <a:pt x="46" y="8"/>
                      <a:pt x="46" y="10"/>
                    </a:cubicBezTo>
                    <a:cubicBezTo>
                      <a:pt x="46" y="11"/>
                      <a:pt x="50" y="12"/>
                      <a:pt x="51" y="13"/>
                    </a:cubicBezTo>
                    <a:cubicBezTo>
                      <a:pt x="54" y="13"/>
                      <a:pt x="61" y="14"/>
                      <a:pt x="61" y="17"/>
                    </a:cubicBezTo>
                    <a:cubicBezTo>
                      <a:pt x="61" y="16"/>
                      <a:pt x="54" y="15"/>
                      <a:pt x="52" y="14"/>
                    </a:cubicBezTo>
                    <a:cubicBezTo>
                      <a:pt x="50" y="14"/>
                      <a:pt x="47" y="11"/>
                      <a:pt x="45" y="12"/>
                    </a:cubicBezTo>
                    <a:cubicBezTo>
                      <a:pt x="45" y="12"/>
                      <a:pt x="48" y="14"/>
                      <a:pt x="48" y="14"/>
                    </a:cubicBezTo>
                    <a:cubicBezTo>
                      <a:pt x="48" y="14"/>
                      <a:pt x="45" y="15"/>
                      <a:pt x="45" y="14"/>
                    </a:cubicBezTo>
                    <a:cubicBezTo>
                      <a:pt x="43" y="13"/>
                      <a:pt x="42" y="12"/>
                      <a:pt x="40" y="11"/>
                    </a:cubicBezTo>
                    <a:cubicBezTo>
                      <a:pt x="39" y="10"/>
                      <a:pt x="31" y="10"/>
                      <a:pt x="31" y="10"/>
                    </a:cubicBezTo>
                    <a:cubicBezTo>
                      <a:pt x="31" y="11"/>
                      <a:pt x="34" y="11"/>
                      <a:pt x="31" y="12"/>
                    </a:cubicBezTo>
                    <a:cubicBezTo>
                      <a:pt x="30" y="12"/>
                      <a:pt x="25" y="14"/>
                      <a:pt x="25" y="14"/>
                    </a:cubicBezTo>
                    <a:cubicBezTo>
                      <a:pt x="26" y="14"/>
                      <a:pt x="29" y="13"/>
                      <a:pt x="29" y="13"/>
                    </a:cubicBezTo>
                    <a:cubicBezTo>
                      <a:pt x="30" y="14"/>
                      <a:pt x="34" y="16"/>
                      <a:pt x="34" y="16"/>
                    </a:cubicBezTo>
                    <a:cubicBezTo>
                      <a:pt x="34" y="16"/>
                      <a:pt x="31" y="15"/>
                      <a:pt x="31" y="16"/>
                    </a:cubicBezTo>
                    <a:cubicBezTo>
                      <a:pt x="31" y="16"/>
                      <a:pt x="32" y="19"/>
                      <a:pt x="30" y="17"/>
                    </a:cubicBezTo>
                    <a:cubicBezTo>
                      <a:pt x="29" y="16"/>
                      <a:pt x="28" y="14"/>
                      <a:pt x="26" y="15"/>
                    </a:cubicBezTo>
                    <a:cubicBezTo>
                      <a:pt x="25" y="15"/>
                      <a:pt x="24" y="17"/>
                      <a:pt x="23" y="16"/>
                    </a:cubicBezTo>
                    <a:cubicBezTo>
                      <a:pt x="22" y="15"/>
                      <a:pt x="21" y="14"/>
                      <a:pt x="19" y="14"/>
                    </a:cubicBezTo>
                    <a:cubicBezTo>
                      <a:pt x="18" y="14"/>
                      <a:pt x="15" y="15"/>
                      <a:pt x="14" y="16"/>
                    </a:cubicBezTo>
                    <a:cubicBezTo>
                      <a:pt x="12" y="17"/>
                      <a:pt x="13" y="18"/>
                      <a:pt x="10" y="17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8"/>
                      <a:pt x="0" y="18"/>
                      <a:pt x="0" y="19"/>
                    </a:cubicBezTo>
                    <a:cubicBezTo>
                      <a:pt x="0" y="21"/>
                      <a:pt x="9" y="19"/>
                      <a:pt x="9" y="20"/>
                    </a:cubicBezTo>
                    <a:cubicBezTo>
                      <a:pt x="9" y="21"/>
                      <a:pt x="6" y="21"/>
                      <a:pt x="5" y="22"/>
                    </a:cubicBezTo>
                    <a:cubicBezTo>
                      <a:pt x="5" y="21"/>
                      <a:pt x="10" y="21"/>
                      <a:pt x="11" y="21"/>
                    </a:cubicBezTo>
                    <a:cubicBezTo>
                      <a:pt x="12" y="21"/>
                      <a:pt x="17" y="21"/>
                      <a:pt x="17" y="21"/>
                    </a:cubicBezTo>
                    <a:cubicBezTo>
                      <a:pt x="17" y="21"/>
                      <a:pt x="15" y="22"/>
                      <a:pt x="14" y="22"/>
                    </a:cubicBezTo>
                    <a:cubicBezTo>
                      <a:pt x="12" y="22"/>
                      <a:pt x="11" y="22"/>
                      <a:pt x="9" y="24"/>
                    </a:cubicBezTo>
                    <a:cubicBezTo>
                      <a:pt x="5" y="26"/>
                      <a:pt x="12" y="26"/>
                      <a:pt x="13" y="26"/>
                    </a:cubicBezTo>
                    <a:cubicBezTo>
                      <a:pt x="17" y="27"/>
                      <a:pt x="20" y="27"/>
                      <a:pt x="24" y="26"/>
                    </a:cubicBezTo>
                    <a:cubicBezTo>
                      <a:pt x="26" y="25"/>
                      <a:pt x="31" y="22"/>
                      <a:pt x="34" y="24"/>
                    </a:cubicBezTo>
                    <a:cubicBezTo>
                      <a:pt x="34" y="24"/>
                      <a:pt x="29" y="26"/>
                      <a:pt x="29" y="26"/>
                    </a:cubicBezTo>
                    <a:cubicBezTo>
                      <a:pt x="27" y="26"/>
                      <a:pt x="25" y="26"/>
                      <a:pt x="23" y="27"/>
                    </a:cubicBezTo>
                    <a:cubicBezTo>
                      <a:pt x="22" y="27"/>
                      <a:pt x="20" y="27"/>
                      <a:pt x="18" y="27"/>
                    </a:cubicBezTo>
                    <a:cubicBezTo>
                      <a:pt x="16" y="28"/>
                      <a:pt x="14" y="27"/>
                      <a:pt x="12" y="28"/>
                    </a:cubicBezTo>
                    <a:cubicBezTo>
                      <a:pt x="13" y="28"/>
                      <a:pt x="16" y="29"/>
                      <a:pt x="16" y="29"/>
                    </a:cubicBezTo>
                    <a:cubicBezTo>
                      <a:pt x="17" y="30"/>
                      <a:pt x="18" y="31"/>
                      <a:pt x="20" y="31"/>
                    </a:cubicBezTo>
                    <a:cubicBezTo>
                      <a:pt x="24" y="31"/>
                      <a:pt x="26" y="28"/>
                      <a:pt x="30" y="27"/>
                    </a:cubicBezTo>
                    <a:cubicBezTo>
                      <a:pt x="31" y="27"/>
                      <a:pt x="44" y="26"/>
                      <a:pt x="44" y="25"/>
                    </a:cubicBezTo>
                    <a:cubicBezTo>
                      <a:pt x="44" y="26"/>
                      <a:pt x="38" y="26"/>
                      <a:pt x="37" y="26"/>
                    </a:cubicBezTo>
                    <a:cubicBezTo>
                      <a:pt x="34" y="27"/>
                      <a:pt x="29" y="28"/>
                      <a:pt x="26" y="30"/>
                    </a:cubicBezTo>
                    <a:cubicBezTo>
                      <a:pt x="23" y="33"/>
                      <a:pt x="32" y="32"/>
                      <a:pt x="33" y="32"/>
                    </a:cubicBezTo>
                    <a:cubicBezTo>
                      <a:pt x="35" y="32"/>
                      <a:pt x="37" y="33"/>
                      <a:pt x="39" y="31"/>
                    </a:cubicBezTo>
                    <a:cubicBezTo>
                      <a:pt x="40" y="31"/>
                      <a:pt x="40" y="30"/>
                      <a:pt x="40" y="29"/>
                    </a:cubicBezTo>
                    <a:cubicBezTo>
                      <a:pt x="41" y="29"/>
                      <a:pt x="42" y="29"/>
                      <a:pt x="42" y="30"/>
                    </a:cubicBezTo>
                    <a:cubicBezTo>
                      <a:pt x="42" y="30"/>
                      <a:pt x="42" y="30"/>
                      <a:pt x="41" y="30"/>
                    </a:cubicBezTo>
                    <a:cubicBezTo>
                      <a:pt x="43" y="30"/>
                      <a:pt x="48" y="28"/>
                      <a:pt x="50" y="29"/>
                    </a:cubicBezTo>
                    <a:cubicBezTo>
                      <a:pt x="49" y="28"/>
                      <a:pt x="44" y="32"/>
                      <a:pt x="43" y="32"/>
                    </a:cubicBezTo>
                    <a:cubicBezTo>
                      <a:pt x="44" y="33"/>
                      <a:pt x="50" y="31"/>
                      <a:pt x="52" y="31"/>
                    </a:cubicBezTo>
                    <a:cubicBezTo>
                      <a:pt x="55" y="31"/>
                      <a:pt x="58" y="30"/>
                      <a:pt x="61" y="28"/>
                    </a:cubicBezTo>
                    <a:cubicBezTo>
                      <a:pt x="62" y="27"/>
                      <a:pt x="62" y="25"/>
                      <a:pt x="62" y="25"/>
                    </a:cubicBezTo>
                    <a:cubicBezTo>
                      <a:pt x="64" y="25"/>
                      <a:pt x="64" y="25"/>
                      <a:pt x="65" y="24"/>
                    </a:cubicBezTo>
                    <a:cubicBezTo>
                      <a:pt x="66" y="24"/>
                      <a:pt x="73" y="20"/>
                      <a:pt x="73" y="21"/>
                    </a:cubicBezTo>
                    <a:cubicBezTo>
                      <a:pt x="73" y="21"/>
                      <a:pt x="69" y="24"/>
                      <a:pt x="69" y="24"/>
                    </a:cubicBezTo>
                    <a:cubicBezTo>
                      <a:pt x="68" y="25"/>
                      <a:pt x="64" y="27"/>
                      <a:pt x="64" y="28"/>
                    </a:cubicBezTo>
                    <a:cubicBezTo>
                      <a:pt x="64" y="29"/>
                      <a:pt x="75" y="28"/>
                      <a:pt x="75" y="29"/>
                    </a:cubicBezTo>
                    <a:cubicBezTo>
                      <a:pt x="75" y="28"/>
                      <a:pt x="60" y="32"/>
                      <a:pt x="60" y="31"/>
                    </a:cubicBezTo>
                    <a:cubicBezTo>
                      <a:pt x="60" y="31"/>
                      <a:pt x="69" y="32"/>
                      <a:pt x="68" y="32"/>
                    </a:cubicBezTo>
                    <a:cubicBezTo>
                      <a:pt x="68" y="33"/>
                      <a:pt x="64" y="33"/>
                      <a:pt x="63" y="33"/>
                    </a:cubicBezTo>
                    <a:cubicBezTo>
                      <a:pt x="61" y="33"/>
                      <a:pt x="58" y="33"/>
                      <a:pt x="56" y="34"/>
                    </a:cubicBezTo>
                    <a:cubicBezTo>
                      <a:pt x="52" y="34"/>
                      <a:pt x="48" y="34"/>
                      <a:pt x="44" y="35"/>
                    </a:cubicBezTo>
                    <a:cubicBezTo>
                      <a:pt x="43" y="35"/>
                      <a:pt x="43" y="36"/>
                      <a:pt x="45" y="36"/>
                    </a:cubicBezTo>
                    <a:cubicBezTo>
                      <a:pt x="46" y="37"/>
                      <a:pt x="49" y="38"/>
                      <a:pt x="50" y="39"/>
                    </a:cubicBezTo>
                    <a:cubicBezTo>
                      <a:pt x="52" y="41"/>
                      <a:pt x="50" y="43"/>
                      <a:pt x="53" y="43"/>
                    </a:cubicBezTo>
                    <a:cubicBezTo>
                      <a:pt x="54" y="42"/>
                      <a:pt x="57" y="43"/>
                      <a:pt x="58" y="42"/>
                    </a:cubicBezTo>
                    <a:cubicBezTo>
                      <a:pt x="49" y="47"/>
                      <a:pt x="44" y="36"/>
                      <a:pt x="37" y="36"/>
                    </a:cubicBezTo>
                    <a:cubicBezTo>
                      <a:pt x="35" y="36"/>
                      <a:pt x="26" y="34"/>
                      <a:pt x="26" y="36"/>
                    </a:cubicBezTo>
                    <a:cubicBezTo>
                      <a:pt x="26" y="36"/>
                      <a:pt x="25" y="38"/>
                      <a:pt x="25" y="38"/>
                    </a:cubicBezTo>
                    <a:cubicBezTo>
                      <a:pt x="26" y="38"/>
                      <a:pt x="32" y="38"/>
                      <a:pt x="32" y="39"/>
                    </a:cubicBezTo>
                    <a:cubicBezTo>
                      <a:pt x="32" y="39"/>
                      <a:pt x="26" y="39"/>
                      <a:pt x="26" y="41"/>
                    </a:cubicBezTo>
                    <a:cubicBezTo>
                      <a:pt x="26" y="42"/>
                      <a:pt x="32" y="42"/>
                      <a:pt x="34" y="43"/>
                    </a:cubicBezTo>
                    <a:cubicBezTo>
                      <a:pt x="35" y="44"/>
                      <a:pt x="36" y="45"/>
                      <a:pt x="37" y="46"/>
                    </a:cubicBezTo>
                    <a:cubicBezTo>
                      <a:pt x="38" y="48"/>
                      <a:pt x="40" y="49"/>
                      <a:pt x="42" y="50"/>
                    </a:cubicBezTo>
                    <a:cubicBezTo>
                      <a:pt x="44" y="51"/>
                      <a:pt x="45" y="51"/>
                      <a:pt x="47" y="50"/>
                    </a:cubicBezTo>
                    <a:cubicBezTo>
                      <a:pt x="48" y="50"/>
                      <a:pt x="50" y="49"/>
                      <a:pt x="51" y="50"/>
                    </a:cubicBezTo>
                    <a:cubicBezTo>
                      <a:pt x="51" y="50"/>
                      <a:pt x="50" y="52"/>
                      <a:pt x="50" y="52"/>
                    </a:cubicBezTo>
                    <a:cubicBezTo>
                      <a:pt x="48" y="52"/>
                      <a:pt x="45" y="51"/>
                      <a:pt x="44" y="52"/>
                    </a:cubicBezTo>
                    <a:cubicBezTo>
                      <a:pt x="44" y="51"/>
                      <a:pt x="48" y="54"/>
                      <a:pt x="48" y="54"/>
                    </a:cubicBezTo>
                    <a:cubicBezTo>
                      <a:pt x="48" y="55"/>
                      <a:pt x="43" y="53"/>
                      <a:pt x="43" y="53"/>
                    </a:cubicBezTo>
                    <a:cubicBezTo>
                      <a:pt x="40" y="51"/>
                      <a:pt x="38" y="51"/>
                      <a:pt x="35" y="51"/>
                    </a:cubicBezTo>
                    <a:cubicBezTo>
                      <a:pt x="33" y="51"/>
                      <a:pt x="32" y="51"/>
                      <a:pt x="30" y="52"/>
                    </a:cubicBezTo>
                    <a:cubicBezTo>
                      <a:pt x="28" y="53"/>
                      <a:pt x="27" y="52"/>
                      <a:pt x="26" y="53"/>
                    </a:cubicBezTo>
                    <a:cubicBezTo>
                      <a:pt x="25" y="54"/>
                      <a:pt x="25" y="55"/>
                      <a:pt x="23" y="55"/>
                    </a:cubicBezTo>
                    <a:cubicBezTo>
                      <a:pt x="22" y="56"/>
                      <a:pt x="21" y="59"/>
                      <a:pt x="23" y="59"/>
                    </a:cubicBezTo>
                    <a:cubicBezTo>
                      <a:pt x="25" y="59"/>
                      <a:pt x="27" y="58"/>
                      <a:pt x="27" y="59"/>
                    </a:cubicBezTo>
                    <a:cubicBezTo>
                      <a:pt x="28" y="61"/>
                      <a:pt x="32" y="60"/>
                      <a:pt x="32" y="59"/>
                    </a:cubicBezTo>
                    <a:cubicBezTo>
                      <a:pt x="33" y="59"/>
                      <a:pt x="35" y="56"/>
                      <a:pt x="35" y="55"/>
                    </a:cubicBezTo>
                    <a:cubicBezTo>
                      <a:pt x="35" y="56"/>
                      <a:pt x="35" y="56"/>
                      <a:pt x="35" y="57"/>
                    </a:cubicBezTo>
                    <a:cubicBezTo>
                      <a:pt x="35" y="57"/>
                      <a:pt x="36" y="57"/>
                      <a:pt x="36" y="57"/>
                    </a:cubicBezTo>
                    <a:cubicBezTo>
                      <a:pt x="36" y="57"/>
                      <a:pt x="35" y="58"/>
                      <a:pt x="35" y="59"/>
                    </a:cubicBezTo>
                    <a:cubicBezTo>
                      <a:pt x="35" y="59"/>
                      <a:pt x="35" y="59"/>
                      <a:pt x="36" y="59"/>
                    </a:cubicBezTo>
                    <a:cubicBezTo>
                      <a:pt x="36" y="59"/>
                      <a:pt x="33" y="60"/>
                      <a:pt x="34" y="60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4" y="61"/>
                      <a:pt x="31" y="60"/>
                      <a:pt x="30" y="61"/>
                    </a:cubicBezTo>
                    <a:cubicBezTo>
                      <a:pt x="31" y="61"/>
                      <a:pt x="35" y="61"/>
                      <a:pt x="36" y="62"/>
                    </a:cubicBezTo>
                    <a:cubicBezTo>
                      <a:pt x="36" y="62"/>
                      <a:pt x="31" y="65"/>
                      <a:pt x="32" y="65"/>
                    </a:cubicBezTo>
                    <a:cubicBezTo>
                      <a:pt x="32" y="66"/>
                      <a:pt x="37" y="65"/>
                      <a:pt x="37" y="65"/>
                    </a:cubicBezTo>
                    <a:cubicBezTo>
                      <a:pt x="37" y="65"/>
                      <a:pt x="36" y="65"/>
                      <a:pt x="36" y="65"/>
                    </a:cubicBezTo>
                    <a:cubicBezTo>
                      <a:pt x="36" y="66"/>
                      <a:pt x="41" y="65"/>
                      <a:pt x="42" y="64"/>
                    </a:cubicBezTo>
                    <a:cubicBezTo>
                      <a:pt x="42" y="64"/>
                      <a:pt x="46" y="59"/>
                      <a:pt x="47" y="60"/>
                    </a:cubicBezTo>
                    <a:cubicBezTo>
                      <a:pt x="48" y="61"/>
                      <a:pt x="40" y="67"/>
                      <a:pt x="38" y="68"/>
                    </a:cubicBezTo>
                    <a:cubicBezTo>
                      <a:pt x="35" y="68"/>
                      <a:pt x="33" y="68"/>
                      <a:pt x="30" y="66"/>
                    </a:cubicBezTo>
                    <a:cubicBezTo>
                      <a:pt x="28" y="65"/>
                      <a:pt x="28" y="63"/>
                      <a:pt x="26" y="63"/>
                    </a:cubicBezTo>
                    <a:cubicBezTo>
                      <a:pt x="24" y="62"/>
                      <a:pt x="22" y="62"/>
                      <a:pt x="20" y="62"/>
                    </a:cubicBezTo>
                    <a:cubicBezTo>
                      <a:pt x="17" y="62"/>
                      <a:pt x="17" y="63"/>
                      <a:pt x="19" y="65"/>
                    </a:cubicBezTo>
                    <a:cubicBezTo>
                      <a:pt x="20" y="66"/>
                      <a:pt x="20" y="67"/>
                      <a:pt x="22" y="67"/>
                    </a:cubicBezTo>
                    <a:cubicBezTo>
                      <a:pt x="25" y="67"/>
                      <a:pt x="22" y="67"/>
                      <a:pt x="22" y="68"/>
                    </a:cubicBezTo>
                    <a:cubicBezTo>
                      <a:pt x="22" y="68"/>
                      <a:pt x="26" y="70"/>
                      <a:pt x="26" y="7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2" name="Freeform 610">
                <a:extLst>
                  <a:ext uri="{FF2B5EF4-FFF2-40B4-BE49-F238E27FC236}">
                    <a16:creationId xmlns:a16="http://schemas.microsoft.com/office/drawing/2014/main" id="{B3EE7095-D297-40C6-A14D-D7B1BCE2B7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3291" y="4569095"/>
                <a:ext cx="9557" cy="4780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0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1"/>
                      <a:pt x="0" y="0"/>
                      <a:pt x="0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3" name="Freeform 611">
                <a:extLst>
                  <a:ext uri="{FF2B5EF4-FFF2-40B4-BE49-F238E27FC236}">
                    <a16:creationId xmlns:a16="http://schemas.microsoft.com/office/drawing/2014/main" id="{8215778A-FED3-43D6-9BFD-E5AA4E668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2768" y="4559538"/>
                <a:ext cx="9557" cy="9557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1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1"/>
                      <a:pt x="0" y="2"/>
                      <a:pt x="0" y="1"/>
                    </a:cubicBezTo>
                    <a:cubicBezTo>
                      <a:pt x="0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4" name="Freeform 612">
                <a:extLst>
                  <a:ext uri="{FF2B5EF4-FFF2-40B4-BE49-F238E27FC236}">
                    <a16:creationId xmlns:a16="http://schemas.microsoft.com/office/drawing/2014/main" id="{DFFA7EE3-6A7B-455F-A17F-9EF3291C0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83014" y="5392558"/>
                <a:ext cx="31856" cy="23893"/>
              </a:xfrm>
              <a:custGeom>
                <a:avLst/>
                <a:gdLst>
                  <a:gd name="T0" fmla="*/ 6 w 7"/>
                  <a:gd name="T1" fmla="*/ 2 h 5"/>
                  <a:gd name="T2" fmla="*/ 1 w 7"/>
                  <a:gd name="T3" fmla="*/ 2 h 5"/>
                  <a:gd name="T4" fmla="*/ 6 w 7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6" y="2"/>
                    </a:moveTo>
                    <a:cubicBezTo>
                      <a:pt x="7" y="0"/>
                      <a:pt x="0" y="1"/>
                      <a:pt x="1" y="2"/>
                    </a:cubicBezTo>
                    <a:cubicBezTo>
                      <a:pt x="1" y="3"/>
                      <a:pt x="5" y="5"/>
                      <a:pt x="6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5" name="Rectangle 613">
                <a:extLst>
                  <a:ext uri="{FF2B5EF4-FFF2-40B4-BE49-F238E27FC236}">
                    <a16:creationId xmlns:a16="http://schemas.microsoft.com/office/drawing/2014/main" id="{87203641-038D-4D6C-95BF-B3119509CA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7517" y="2598837"/>
                <a:ext cx="1594" cy="1594"/>
              </a:xfrm>
              <a:prstGeom prst="rect">
                <a:avLst/>
              </a:pr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6" name="Freeform 614">
                <a:extLst>
                  <a:ext uri="{FF2B5EF4-FFF2-40B4-BE49-F238E27FC236}">
                    <a16:creationId xmlns:a16="http://schemas.microsoft.com/office/drawing/2014/main" id="{FFD5F910-2AF8-4E6D-8795-78626C62E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9964" y="5252395"/>
                <a:ext cx="47783" cy="41414"/>
              </a:xfrm>
              <a:custGeom>
                <a:avLst/>
                <a:gdLst>
                  <a:gd name="T0" fmla="*/ 4 w 10"/>
                  <a:gd name="T1" fmla="*/ 4 h 9"/>
                  <a:gd name="T2" fmla="*/ 0 w 10"/>
                  <a:gd name="T3" fmla="*/ 8 h 9"/>
                  <a:gd name="T4" fmla="*/ 2 w 10"/>
                  <a:gd name="T5" fmla="*/ 8 h 9"/>
                  <a:gd name="T6" fmla="*/ 5 w 10"/>
                  <a:gd name="T7" fmla="*/ 5 h 9"/>
                  <a:gd name="T8" fmla="*/ 8 w 10"/>
                  <a:gd name="T9" fmla="*/ 0 h 9"/>
                  <a:gd name="T10" fmla="*/ 4 w 10"/>
                  <a:gd name="T11" fmla="*/ 4 h 9"/>
                  <a:gd name="T12" fmla="*/ 4 w 10"/>
                  <a:gd name="T13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9">
                    <a:moveTo>
                      <a:pt x="4" y="4"/>
                    </a:moveTo>
                    <a:cubicBezTo>
                      <a:pt x="4" y="5"/>
                      <a:pt x="1" y="7"/>
                      <a:pt x="0" y="8"/>
                    </a:cubicBezTo>
                    <a:cubicBezTo>
                      <a:pt x="0" y="9"/>
                      <a:pt x="2" y="8"/>
                      <a:pt x="2" y="8"/>
                    </a:cubicBezTo>
                    <a:cubicBezTo>
                      <a:pt x="3" y="7"/>
                      <a:pt x="4" y="6"/>
                      <a:pt x="5" y="5"/>
                    </a:cubicBezTo>
                    <a:cubicBezTo>
                      <a:pt x="6" y="4"/>
                      <a:pt x="10" y="0"/>
                      <a:pt x="8" y="0"/>
                    </a:cubicBezTo>
                    <a:cubicBezTo>
                      <a:pt x="7" y="0"/>
                      <a:pt x="4" y="3"/>
                      <a:pt x="4" y="4"/>
                    </a:cubicBezTo>
                    <a:cubicBezTo>
                      <a:pt x="4" y="5"/>
                      <a:pt x="4" y="3"/>
                      <a:pt x="4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7" name="Freeform 615">
                <a:extLst>
                  <a:ext uri="{FF2B5EF4-FFF2-40B4-BE49-F238E27FC236}">
                    <a16:creationId xmlns:a16="http://schemas.microsoft.com/office/drawing/2014/main" id="{DCD3F9C3-B584-47BC-A7B2-2A458314A8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1625" y="3366552"/>
                <a:ext cx="33448" cy="14336"/>
              </a:xfrm>
              <a:custGeom>
                <a:avLst/>
                <a:gdLst>
                  <a:gd name="T0" fmla="*/ 7 w 7"/>
                  <a:gd name="T1" fmla="*/ 1 h 3"/>
                  <a:gd name="T2" fmla="*/ 1 w 7"/>
                  <a:gd name="T3" fmla="*/ 0 h 3"/>
                  <a:gd name="T4" fmla="*/ 7 w 7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0"/>
                      <a:pt x="0" y="0"/>
                      <a:pt x="1" y="0"/>
                    </a:cubicBezTo>
                    <a:cubicBezTo>
                      <a:pt x="2" y="0"/>
                      <a:pt x="6" y="3"/>
                      <a:pt x="7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8" name="Freeform 618">
                <a:extLst>
                  <a:ext uri="{FF2B5EF4-FFF2-40B4-BE49-F238E27FC236}">
                    <a16:creationId xmlns:a16="http://schemas.microsoft.com/office/drawing/2014/main" id="{315377F9-D8AF-4FB5-A9B5-B651C47A88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1427" y="4250540"/>
                <a:ext cx="355189" cy="258029"/>
              </a:xfrm>
              <a:custGeom>
                <a:avLst/>
                <a:gdLst>
                  <a:gd name="T0" fmla="*/ 63 w 76"/>
                  <a:gd name="T1" fmla="*/ 28 h 55"/>
                  <a:gd name="T2" fmla="*/ 66 w 76"/>
                  <a:gd name="T3" fmla="*/ 24 h 55"/>
                  <a:gd name="T4" fmla="*/ 67 w 76"/>
                  <a:gd name="T5" fmla="*/ 22 h 55"/>
                  <a:gd name="T6" fmla="*/ 67 w 76"/>
                  <a:gd name="T7" fmla="*/ 18 h 55"/>
                  <a:gd name="T8" fmla="*/ 61 w 76"/>
                  <a:gd name="T9" fmla="*/ 15 h 55"/>
                  <a:gd name="T10" fmla="*/ 63 w 76"/>
                  <a:gd name="T11" fmla="*/ 14 h 55"/>
                  <a:gd name="T12" fmla="*/ 64 w 76"/>
                  <a:gd name="T13" fmla="*/ 11 h 55"/>
                  <a:gd name="T14" fmla="*/ 60 w 76"/>
                  <a:gd name="T15" fmla="*/ 9 h 55"/>
                  <a:gd name="T16" fmla="*/ 59 w 76"/>
                  <a:gd name="T17" fmla="*/ 8 h 55"/>
                  <a:gd name="T18" fmla="*/ 57 w 76"/>
                  <a:gd name="T19" fmla="*/ 9 h 55"/>
                  <a:gd name="T20" fmla="*/ 57 w 76"/>
                  <a:gd name="T21" fmla="*/ 7 h 55"/>
                  <a:gd name="T22" fmla="*/ 54 w 76"/>
                  <a:gd name="T23" fmla="*/ 8 h 55"/>
                  <a:gd name="T24" fmla="*/ 54 w 76"/>
                  <a:gd name="T25" fmla="*/ 6 h 55"/>
                  <a:gd name="T26" fmla="*/ 58 w 76"/>
                  <a:gd name="T27" fmla="*/ 5 h 55"/>
                  <a:gd name="T28" fmla="*/ 55 w 76"/>
                  <a:gd name="T29" fmla="*/ 4 h 55"/>
                  <a:gd name="T30" fmla="*/ 49 w 76"/>
                  <a:gd name="T31" fmla="*/ 4 h 55"/>
                  <a:gd name="T32" fmla="*/ 44 w 76"/>
                  <a:gd name="T33" fmla="*/ 7 h 55"/>
                  <a:gd name="T34" fmla="*/ 38 w 76"/>
                  <a:gd name="T35" fmla="*/ 5 h 55"/>
                  <a:gd name="T36" fmla="*/ 29 w 76"/>
                  <a:gd name="T37" fmla="*/ 5 h 55"/>
                  <a:gd name="T38" fmla="*/ 26 w 76"/>
                  <a:gd name="T39" fmla="*/ 2 h 55"/>
                  <a:gd name="T40" fmla="*/ 20 w 76"/>
                  <a:gd name="T41" fmla="*/ 0 h 55"/>
                  <a:gd name="T42" fmla="*/ 11 w 76"/>
                  <a:gd name="T43" fmla="*/ 4 h 55"/>
                  <a:gd name="T44" fmla="*/ 13 w 76"/>
                  <a:gd name="T45" fmla="*/ 12 h 55"/>
                  <a:gd name="T46" fmla="*/ 8 w 76"/>
                  <a:gd name="T47" fmla="*/ 8 h 55"/>
                  <a:gd name="T48" fmla="*/ 10 w 76"/>
                  <a:gd name="T49" fmla="*/ 5 h 55"/>
                  <a:gd name="T50" fmla="*/ 8 w 76"/>
                  <a:gd name="T51" fmla="*/ 1 h 55"/>
                  <a:gd name="T52" fmla="*/ 4 w 76"/>
                  <a:gd name="T53" fmla="*/ 7 h 55"/>
                  <a:gd name="T54" fmla="*/ 3 w 76"/>
                  <a:gd name="T55" fmla="*/ 12 h 55"/>
                  <a:gd name="T56" fmla="*/ 5 w 76"/>
                  <a:gd name="T57" fmla="*/ 13 h 55"/>
                  <a:gd name="T58" fmla="*/ 7 w 76"/>
                  <a:gd name="T59" fmla="*/ 16 h 55"/>
                  <a:gd name="T60" fmla="*/ 10 w 76"/>
                  <a:gd name="T61" fmla="*/ 23 h 55"/>
                  <a:gd name="T62" fmla="*/ 13 w 76"/>
                  <a:gd name="T63" fmla="*/ 23 h 55"/>
                  <a:gd name="T64" fmla="*/ 15 w 76"/>
                  <a:gd name="T65" fmla="*/ 22 h 55"/>
                  <a:gd name="T66" fmla="*/ 21 w 76"/>
                  <a:gd name="T67" fmla="*/ 27 h 55"/>
                  <a:gd name="T68" fmla="*/ 23 w 76"/>
                  <a:gd name="T69" fmla="*/ 27 h 55"/>
                  <a:gd name="T70" fmla="*/ 26 w 76"/>
                  <a:gd name="T71" fmla="*/ 27 h 55"/>
                  <a:gd name="T72" fmla="*/ 31 w 76"/>
                  <a:gd name="T73" fmla="*/ 29 h 55"/>
                  <a:gd name="T74" fmla="*/ 31 w 76"/>
                  <a:gd name="T75" fmla="*/ 38 h 55"/>
                  <a:gd name="T76" fmla="*/ 32 w 76"/>
                  <a:gd name="T77" fmla="*/ 41 h 55"/>
                  <a:gd name="T78" fmla="*/ 30 w 76"/>
                  <a:gd name="T79" fmla="*/ 44 h 55"/>
                  <a:gd name="T80" fmla="*/ 40 w 76"/>
                  <a:gd name="T81" fmla="*/ 53 h 55"/>
                  <a:gd name="T82" fmla="*/ 42 w 76"/>
                  <a:gd name="T83" fmla="*/ 54 h 55"/>
                  <a:gd name="T84" fmla="*/ 45 w 76"/>
                  <a:gd name="T85" fmla="*/ 52 h 55"/>
                  <a:gd name="T86" fmla="*/ 51 w 76"/>
                  <a:gd name="T87" fmla="*/ 47 h 55"/>
                  <a:gd name="T88" fmla="*/ 49 w 76"/>
                  <a:gd name="T89" fmla="*/ 44 h 55"/>
                  <a:gd name="T90" fmla="*/ 48 w 76"/>
                  <a:gd name="T91" fmla="*/ 41 h 55"/>
                  <a:gd name="T92" fmla="*/ 45 w 76"/>
                  <a:gd name="T93" fmla="*/ 38 h 55"/>
                  <a:gd name="T94" fmla="*/ 52 w 76"/>
                  <a:gd name="T95" fmla="*/ 38 h 55"/>
                  <a:gd name="T96" fmla="*/ 54 w 76"/>
                  <a:gd name="T97" fmla="*/ 40 h 55"/>
                  <a:gd name="T98" fmla="*/ 56 w 76"/>
                  <a:gd name="T99" fmla="*/ 38 h 55"/>
                  <a:gd name="T100" fmla="*/ 62 w 76"/>
                  <a:gd name="T101" fmla="*/ 36 h 55"/>
                  <a:gd name="T102" fmla="*/ 67 w 76"/>
                  <a:gd name="T103" fmla="*/ 33 h 55"/>
                  <a:gd name="T104" fmla="*/ 63 w 76"/>
                  <a:gd name="T105" fmla="*/ 2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6" h="55">
                    <a:moveTo>
                      <a:pt x="63" y="28"/>
                    </a:moveTo>
                    <a:cubicBezTo>
                      <a:pt x="63" y="26"/>
                      <a:pt x="63" y="25"/>
                      <a:pt x="66" y="24"/>
                    </a:cubicBezTo>
                    <a:cubicBezTo>
                      <a:pt x="66" y="23"/>
                      <a:pt x="68" y="23"/>
                      <a:pt x="67" y="22"/>
                    </a:cubicBezTo>
                    <a:cubicBezTo>
                      <a:pt x="66" y="21"/>
                      <a:pt x="65" y="19"/>
                      <a:pt x="67" y="18"/>
                    </a:cubicBezTo>
                    <a:cubicBezTo>
                      <a:pt x="76" y="14"/>
                      <a:pt x="61" y="15"/>
                      <a:pt x="61" y="15"/>
                    </a:cubicBezTo>
                    <a:cubicBezTo>
                      <a:pt x="61" y="14"/>
                      <a:pt x="62" y="14"/>
                      <a:pt x="63" y="14"/>
                    </a:cubicBezTo>
                    <a:cubicBezTo>
                      <a:pt x="64" y="14"/>
                      <a:pt x="64" y="12"/>
                      <a:pt x="64" y="11"/>
                    </a:cubicBezTo>
                    <a:cubicBezTo>
                      <a:pt x="64" y="10"/>
                      <a:pt x="60" y="8"/>
                      <a:pt x="60" y="9"/>
                    </a:cubicBezTo>
                    <a:cubicBezTo>
                      <a:pt x="60" y="10"/>
                      <a:pt x="59" y="8"/>
                      <a:pt x="59" y="8"/>
                    </a:cubicBezTo>
                    <a:cubicBezTo>
                      <a:pt x="58" y="8"/>
                      <a:pt x="58" y="10"/>
                      <a:pt x="57" y="9"/>
                    </a:cubicBezTo>
                    <a:cubicBezTo>
                      <a:pt x="57" y="9"/>
                      <a:pt x="57" y="8"/>
                      <a:pt x="57" y="7"/>
                    </a:cubicBezTo>
                    <a:cubicBezTo>
                      <a:pt x="56" y="6"/>
                      <a:pt x="55" y="8"/>
                      <a:pt x="54" y="8"/>
                    </a:cubicBezTo>
                    <a:cubicBezTo>
                      <a:pt x="54" y="8"/>
                      <a:pt x="54" y="6"/>
                      <a:pt x="54" y="6"/>
                    </a:cubicBezTo>
                    <a:cubicBezTo>
                      <a:pt x="54" y="4"/>
                      <a:pt x="57" y="5"/>
                      <a:pt x="58" y="5"/>
                    </a:cubicBezTo>
                    <a:cubicBezTo>
                      <a:pt x="59" y="4"/>
                      <a:pt x="55" y="4"/>
                      <a:pt x="55" y="4"/>
                    </a:cubicBezTo>
                    <a:cubicBezTo>
                      <a:pt x="53" y="4"/>
                      <a:pt x="51" y="3"/>
                      <a:pt x="49" y="4"/>
                    </a:cubicBezTo>
                    <a:cubicBezTo>
                      <a:pt x="47" y="5"/>
                      <a:pt x="46" y="8"/>
                      <a:pt x="44" y="7"/>
                    </a:cubicBezTo>
                    <a:cubicBezTo>
                      <a:pt x="41" y="7"/>
                      <a:pt x="40" y="7"/>
                      <a:pt x="38" y="5"/>
                    </a:cubicBezTo>
                    <a:cubicBezTo>
                      <a:pt x="36" y="3"/>
                      <a:pt x="32" y="5"/>
                      <a:pt x="29" y="5"/>
                    </a:cubicBezTo>
                    <a:cubicBezTo>
                      <a:pt x="27" y="5"/>
                      <a:pt x="27" y="4"/>
                      <a:pt x="26" y="2"/>
                    </a:cubicBezTo>
                    <a:cubicBezTo>
                      <a:pt x="25" y="0"/>
                      <a:pt x="23" y="0"/>
                      <a:pt x="20" y="0"/>
                    </a:cubicBezTo>
                    <a:cubicBezTo>
                      <a:pt x="19" y="0"/>
                      <a:pt x="11" y="1"/>
                      <a:pt x="11" y="4"/>
                    </a:cubicBezTo>
                    <a:cubicBezTo>
                      <a:pt x="11" y="7"/>
                      <a:pt x="15" y="8"/>
                      <a:pt x="13" y="12"/>
                    </a:cubicBezTo>
                    <a:cubicBezTo>
                      <a:pt x="11" y="14"/>
                      <a:pt x="7" y="10"/>
                      <a:pt x="8" y="8"/>
                    </a:cubicBezTo>
                    <a:cubicBezTo>
                      <a:pt x="8" y="7"/>
                      <a:pt x="10" y="6"/>
                      <a:pt x="10" y="5"/>
                    </a:cubicBezTo>
                    <a:cubicBezTo>
                      <a:pt x="11" y="3"/>
                      <a:pt x="8" y="2"/>
                      <a:pt x="8" y="1"/>
                    </a:cubicBezTo>
                    <a:cubicBezTo>
                      <a:pt x="5" y="3"/>
                      <a:pt x="4" y="4"/>
                      <a:pt x="4" y="7"/>
                    </a:cubicBezTo>
                    <a:cubicBezTo>
                      <a:pt x="3" y="8"/>
                      <a:pt x="0" y="12"/>
                      <a:pt x="3" y="12"/>
                    </a:cubicBezTo>
                    <a:cubicBezTo>
                      <a:pt x="3" y="12"/>
                      <a:pt x="4" y="12"/>
                      <a:pt x="5" y="13"/>
                    </a:cubicBezTo>
                    <a:cubicBezTo>
                      <a:pt x="5" y="14"/>
                      <a:pt x="6" y="15"/>
                      <a:pt x="7" y="16"/>
                    </a:cubicBezTo>
                    <a:cubicBezTo>
                      <a:pt x="9" y="18"/>
                      <a:pt x="5" y="22"/>
                      <a:pt x="10" y="23"/>
                    </a:cubicBezTo>
                    <a:cubicBezTo>
                      <a:pt x="10" y="23"/>
                      <a:pt x="12" y="23"/>
                      <a:pt x="13" y="23"/>
                    </a:cubicBezTo>
                    <a:cubicBezTo>
                      <a:pt x="14" y="23"/>
                      <a:pt x="14" y="22"/>
                      <a:pt x="15" y="22"/>
                    </a:cubicBezTo>
                    <a:cubicBezTo>
                      <a:pt x="18" y="22"/>
                      <a:pt x="19" y="25"/>
                      <a:pt x="21" y="27"/>
                    </a:cubicBezTo>
                    <a:cubicBezTo>
                      <a:pt x="21" y="27"/>
                      <a:pt x="22" y="28"/>
                      <a:pt x="23" y="27"/>
                    </a:cubicBezTo>
                    <a:cubicBezTo>
                      <a:pt x="23" y="26"/>
                      <a:pt x="24" y="27"/>
                      <a:pt x="26" y="27"/>
                    </a:cubicBezTo>
                    <a:cubicBezTo>
                      <a:pt x="28" y="28"/>
                      <a:pt x="33" y="25"/>
                      <a:pt x="31" y="29"/>
                    </a:cubicBezTo>
                    <a:cubicBezTo>
                      <a:pt x="29" y="32"/>
                      <a:pt x="29" y="35"/>
                      <a:pt x="31" y="38"/>
                    </a:cubicBezTo>
                    <a:cubicBezTo>
                      <a:pt x="31" y="39"/>
                      <a:pt x="32" y="40"/>
                      <a:pt x="32" y="41"/>
                    </a:cubicBezTo>
                    <a:cubicBezTo>
                      <a:pt x="32" y="42"/>
                      <a:pt x="29" y="43"/>
                      <a:pt x="30" y="44"/>
                    </a:cubicBezTo>
                    <a:cubicBezTo>
                      <a:pt x="33" y="47"/>
                      <a:pt x="34" y="55"/>
                      <a:pt x="40" y="53"/>
                    </a:cubicBezTo>
                    <a:cubicBezTo>
                      <a:pt x="41" y="53"/>
                      <a:pt x="41" y="54"/>
                      <a:pt x="42" y="54"/>
                    </a:cubicBezTo>
                    <a:cubicBezTo>
                      <a:pt x="43" y="54"/>
                      <a:pt x="44" y="53"/>
                      <a:pt x="45" y="52"/>
                    </a:cubicBezTo>
                    <a:cubicBezTo>
                      <a:pt x="47" y="51"/>
                      <a:pt x="48" y="49"/>
                      <a:pt x="51" y="47"/>
                    </a:cubicBezTo>
                    <a:cubicBezTo>
                      <a:pt x="53" y="46"/>
                      <a:pt x="49" y="46"/>
                      <a:pt x="49" y="44"/>
                    </a:cubicBezTo>
                    <a:cubicBezTo>
                      <a:pt x="49" y="43"/>
                      <a:pt x="48" y="42"/>
                      <a:pt x="48" y="41"/>
                    </a:cubicBezTo>
                    <a:cubicBezTo>
                      <a:pt x="48" y="40"/>
                      <a:pt x="45" y="39"/>
                      <a:pt x="45" y="38"/>
                    </a:cubicBezTo>
                    <a:cubicBezTo>
                      <a:pt x="45" y="37"/>
                      <a:pt x="51" y="38"/>
                      <a:pt x="52" y="38"/>
                    </a:cubicBezTo>
                    <a:cubicBezTo>
                      <a:pt x="54" y="38"/>
                      <a:pt x="53" y="39"/>
                      <a:pt x="54" y="40"/>
                    </a:cubicBezTo>
                    <a:cubicBezTo>
                      <a:pt x="55" y="40"/>
                      <a:pt x="55" y="38"/>
                      <a:pt x="56" y="38"/>
                    </a:cubicBezTo>
                    <a:cubicBezTo>
                      <a:pt x="57" y="37"/>
                      <a:pt x="60" y="37"/>
                      <a:pt x="62" y="36"/>
                    </a:cubicBezTo>
                    <a:cubicBezTo>
                      <a:pt x="63" y="35"/>
                      <a:pt x="65" y="34"/>
                      <a:pt x="67" y="33"/>
                    </a:cubicBezTo>
                    <a:cubicBezTo>
                      <a:pt x="66" y="31"/>
                      <a:pt x="63" y="30"/>
                      <a:pt x="63" y="2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9" name="Freeform 619">
                <a:extLst>
                  <a:ext uri="{FF2B5EF4-FFF2-40B4-BE49-F238E27FC236}">
                    <a16:creationId xmlns:a16="http://schemas.microsoft.com/office/drawing/2014/main" id="{8BCCF175-938B-4E77-B007-DB07C037B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6533" y="4320624"/>
                <a:ext cx="121050" cy="178390"/>
              </a:xfrm>
              <a:custGeom>
                <a:avLst/>
                <a:gdLst>
                  <a:gd name="T0" fmla="*/ 22 w 26"/>
                  <a:gd name="T1" fmla="*/ 29 h 38"/>
                  <a:gd name="T2" fmla="*/ 18 w 26"/>
                  <a:gd name="T3" fmla="*/ 21 h 38"/>
                  <a:gd name="T4" fmla="*/ 20 w 26"/>
                  <a:gd name="T5" fmla="*/ 18 h 38"/>
                  <a:gd name="T6" fmla="*/ 22 w 26"/>
                  <a:gd name="T7" fmla="*/ 15 h 38"/>
                  <a:gd name="T8" fmla="*/ 22 w 26"/>
                  <a:gd name="T9" fmla="*/ 13 h 38"/>
                  <a:gd name="T10" fmla="*/ 20 w 26"/>
                  <a:gd name="T11" fmla="*/ 11 h 38"/>
                  <a:gd name="T12" fmla="*/ 16 w 26"/>
                  <a:gd name="T13" fmla="*/ 7 h 38"/>
                  <a:gd name="T14" fmla="*/ 9 w 26"/>
                  <a:gd name="T15" fmla="*/ 0 h 38"/>
                  <a:gd name="T16" fmla="*/ 5 w 26"/>
                  <a:gd name="T17" fmla="*/ 5 h 38"/>
                  <a:gd name="T18" fmla="*/ 6 w 26"/>
                  <a:gd name="T19" fmla="*/ 8 h 38"/>
                  <a:gd name="T20" fmla="*/ 3 w 26"/>
                  <a:gd name="T21" fmla="*/ 10 h 38"/>
                  <a:gd name="T22" fmla="*/ 4 w 26"/>
                  <a:gd name="T23" fmla="*/ 16 h 38"/>
                  <a:gd name="T24" fmla="*/ 7 w 26"/>
                  <a:gd name="T25" fmla="*/ 18 h 38"/>
                  <a:gd name="T26" fmla="*/ 8 w 26"/>
                  <a:gd name="T27" fmla="*/ 20 h 38"/>
                  <a:gd name="T28" fmla="*/ 8 w 26"/>
                  <a:gd name="T29" fmla="*/ 27 h 38"/>
                  <a:gd name="T30" fmla="*/ 11 w 26"/>
                  <a:gd name="T31" fmla="*/ 35 h 38"/>
                  <a:gd name="T32" fmla="*/ 17 w 26"/>
                  <a:gd name="T33" fmla="*/ 35 h 38"/>
                  <a:gd name="T34" fmla="*/ 21 w 26"/>
                  <a:gd name="T35" fmla="*/ 34 h 38"/>
                  <a:gd name="T36" fmla="*/ 26 w 26"/>
                  <a:gd name="T37" fmla="*/ 34 h 38"/>
                  <a:gd name="T38" fmla="*/ 22 w 26"/>
                  <a:gd name="T39" fmla="*/ 29 h 38"/>
                  <a:gd name="T40" fmla="*/ 22 w 26"/>
                  <a:gd name="T41" fmla="*/ 2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38">
                    <a:moveTo>
                      <a:pt x="22" y="29"/>
                    </a:moveTo>
                    <a:cubicBezTo>
                      <a:pt x="22" y="28"/>
                      <a:pt x="17" y="22"/>
                      <a:pt x="18" y="21"/>
                    </a:cubicBezTo>
                    <a:cubicBezTo>
                      <a:pt x="19" y="20"/>
                      <a:pt x="18" y="19"/>
                      <a:pt x="20" y="18"/>
                    </a:cubicBezTo>
                    <a:cubicBezTo>
                      <a:pt x="23" y="18"/>
                      <a:pt x="22" y="16"/>
                      <a:pt x="22" y="15"/>
                    </a:cubicBezTo>
                    <a:cubicBezTo>
                      <a:pt x="22" y="14"/>
                      <a:pt x="22" y="13"/>
                      <a:pt x="22" y="13"/>
                    </a:cubicBezTo>
                    <a:cubicBezTo>
                      <a:pt x="22" y="12"/>
                      <a:pt x="21" y="12"/>
                      <a:pt x="20" y="11"/>
                    </a:cubicBezTo>
                    <a:cubicBezTo>
                      <a:pt x="19" y="9"/>
                      <a:pt x="16" y="9"/>
                      <a:pt x="16" y="7"/>
                    </a:cubicBezTo>
                    <a:cubicBezTo>
                      <a:pt x="15" y="4"/>
                      <a:pt x="11" y="1"/>
                      <a:pt x="9" y="0"/>
                    </a:cubicBezTo>
                    <a:cubicBezTo>
                      <a:pt x="9" y="3"/>
                      <a:pt x="4" y="3"/>
                      <a:pt x="5" y="5"/>
                    </a:cubicBezTo>
                    <a:cubicBezTo>
                      <a:pt x="5" y="6"/>
                      <a:pt x="7" y="7"/>
                      <a:pt x="6" y="8"/>
                    </a:cubicBezTo>
                    <a:cubicBezTo>
                      <a:pt x="5" y="8"/>
                      <a:pt x="3" y="9"/>
                      <a:pt x="3" y="10"/>
                    </a:cubicBezTo>
                    <a:cubicBezTo>
                      <a:pt x="0" y="11"/>
                      <a:pt x="2" y="14"/>
                      <a:pt x="4" y="16"/>
                    </a:cubicBezTo>
                    <a:cubicBezTo>
                      <a:pt x="5" y="17"/>
                      <a:pt x="5" y="18"/>
                      <a:pt x="7" y="18"/>
                    </a:cubicBezTo>
                    <a:cubicBezTo>
                      <a:pt x="8" y="18"/>
                      <a:pt x="7" y="19"/>
                      <a:pt x="8" y="20"/>
                    </a:cubicBezTo>
                    <a:cubicBezTo>
                      <a:pt x="10" y="23"/>
                      <a:pt x="9" y="24"/>
                      <a:pt x="8" y="27"/>
                    </a:cubicBezTo>
                    <a:cubicBezTo>
                      <a:pt x="8" y="30"/>
                      <a:pt x="10" y="33"/>
                      <a:pt x="11" y="35"/>
                    </a:cubicBezTo>
                    <a:cubicBezTo>
                      <a:pt x="14" y="38"/>
                      <a:pt x="15" y="35"/>
                      <a:pt x="17" y="35"/>
                    </a:cubicBezTo>
                    <a:cubicBezTo>
                      <a:pt x="19" y="35"/>
                      <a:pt x="20" y="34"/>
                      <a:pt x="21" y="34"/>
                    </a:cubicBezTo>
                    <a:cubicBezTo>
                      <a:pt x="23" y="33"/>
                      <a:pt x="24" y="33"/>
                      <a:pt x="26" y="34"/>
                    </a:cubicBezTo>
                    <a:cubicBezTo>
                      <a:pt x="25" y="32"/>
                      <a:pt x="24" y="30"/>
                      <a:pt x="22" y="29"/>
                    </a:cubicBezTo>
                    <a:cubicBezTo>
                      <a:pt x="21" y="27"/>
                      <a:pt x="23" y="29"/>
                      <a:pt x="22" y="2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0" name="Freeform 620">
                <a:extLst>
                  <a:ext uri="{FF2B5EF4-FFF2-40B4-BE49-F238E27FC236}">
                    <a16:creationId xmlns:a16="http://schemas.microsoft.com/office/drawing/2014/main" id="{56765C38-03D9-4494-8EA0-D164494F4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580" y="4376370"/>
                <a:ext cx="103530" cy="108309"/>
              </a:xfrm>
              <a:custGeom>
                <a:avLst/>
                <a:gdLst>
                  <a:gd name="T0" fmla="*/ 19 w 22"/>
                  <a:gd name="T1" fmla="*/ 7 h 23"/>
                  <a:gd name="T2" fmla="*/ 22 w 22"/>
                  <a:gd name="T3" fmla="*/ 2 h 23"/>
                  <a:gd name="T4" fmla="*/ 12 w 22"/>
                  <a:gd name="T5" fmla="*/ 2 h 23"/>
                  <a:gd name="T6" fmla="*/ 9 w 22"/>
                  <a:gd name="T7" fmla="*/ 0 h 23"/>
                  <a:gd name="T8" fmla="*/ 5 w 22"/>
                  <a:gd name="T9" fmla="*/ 1 h 23"/>
                  <a:gd name="T10" fmla="*/ 4 w 22"/>
                  <a:gd name="T11" fmla="*/ 6 h 23"/>
                  <a:gd name="T12" fmla="*/ 1 w 22"/>
                  <a:gd name="T13" fmla="*/ 10 h 23"/>
                  <a:gd name="T14" fmla="*/ 4 w 22"/>
                  <a:gd name="T15" fmla="*/ 15 h 23"/>
                  <a:gd name="T16" fmla="*/ 9 w 22"/>
                  <a:gd name="T17" fmla="*/ 22 h 23"/>
                  <a:gd name="T18" fmla="*/ 12 w 22"/>
                  <a:gd name="T19" fmla="*/ 19 h 23"/>
                  <a:gd name="T20" fmla="*/ 16 w 22"/>
                  <a:gd name="T21" fmla="*/ 18 h 23"/>
                  <a:gd name="T22" fmla="*/ 19 w 22"/>
                  <a:gd name="T23" fmla="*/ 19 h 23"/>
                  <a:gd name="T24" fmla="*/ 20 w 22"/>
                  <a:gd name="T25" fmla="*/ 14 h 23"/>
                  <a:gd name="T26" fmla="*/ 19 w 22"/>
                  <a:gd name="T27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23">
                    <a:moveTo>
                      <a:pt x="19" y="7"/>
                    </a:moveTo>
                    <a:cubicBezTo>
                      <a:pt x="19" y="5"/>
                      <a:pt x="21" y="3"/>
                      <a:pt x="22" y="2"/>
                    </a:cubicBezTo>
                    <a:cubicBezTo>
                      <a:pt x="19" y="1"/>
                      <a:pt x="14" y="0"/>
                      <a:pt x="12" y="2"/>
                    </a:cubicBezTo>
                    <a:cubicBezTo>
                      <a:pt x="10" y="3"/>
                      <a:pt x="9" y="1"/>
                      <a:pt x="9" y="0"/>
                    </a:cubicBezTo>
                    <a:cubicBezTo>
                      <a:pt x="8" y="0"/>
                      <a:pt x="7" y="2"/>
                      <a:pt x="5" y="1"/>
                    </a:cubicBezTo>
                    <a:cubicBezTo>
                      <a:pt x="5" y="2"/>
                      <a:pt x="7" y="6"/>
                      <a:pt x="4" y="6"/>
                    </a:cubicBezTo>
                    <a:cubicBezTo>
                      <a:pt x="2" y="7"/>
                      <a:pt x="0" y="8"/>
                      <a:pt x="1" y="10"/>
                    </a:cubicBezTo>
                    <a:cubicBezTo>
                      <a:pt x="2" y="12"/>
                      <a:pt x="3" y="13"/>
                      <a:pt x="4" y="15"/>
                    </a:cubicBezTo>
                    <a:cubicBezTo>
                      <a:pt x="5" y="17"/>
                      <a:pt x="7" y="19"/>
                      <a:pt x="9" y="22"/>
                    </a:cubicBezTo>
                    <a:cubicBezTo>
                      <a:pt x="12" y="23"/>
                      <a:pt x="10" y="19"/>
                      <a:pt x="12" y="19"/>
                    </a:cubicBezTo>
                    <a:cubicBezTo>
                      <a:pt x="14" y="19"/>
                      <a:pt x="15" y="19"/>
                      <a:pt x="16" y="18"/>
                    </a:cubicBezTo>
                    <a:cubicBezTo>
                      <a:pt x="17" y="18"/>
                      <a:pt x="17" y="20"/>
                      <a:pt x="19" y="19"/>
                    </a:cubicBezTo>
                    <a:cubicBezTo>
                      <a:pt x="20" y="17"/>
                      <a:pt x="21" y="16"/>
                      <a:pt x="20" y="14"/>
                    </a:cubicBezTo>
                    <a:cubicBezTo>
                      <a:pt x="20" y="12"/>
                      <a:pt x="19" y="9"/>
                      <a:pt x="19" y="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1" name="Freeform 621">
                <a:extLst>
                  <a:ext uri="{FF2B5EF4-FFF2-40B4-BE49-F238E27FC236}">
                    <a16:creationId xmlns:a16="http://schemas.microsoft.com/office/drawing/2014/main" id="{6C3F4801-C8F1-4FED-971A-B1C75C27A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8996" y="4385928"/>
                <a:ext cx="74861" cy="84419"/>
              </a:xfrm>
              <a:custGeom>
                <a:avLst/>
                <a:gdLst>
                  <a:gd name="T0" fmla="*/ 12 w 16"/>
                  <a:gd name="T1" fmla="*/ 5 h 18"/>
                  <a:gd name="T2" fmla="*/ 5 w 16"/>
                  <a:gd name="T3" fmla="*/ 1 h 18"/>
                  <a:gd name="T4" fmla="*/ 1 w 16"/>
                  <a:gd name="T5" fmla="*/ 6 h 18"/>
                  <a:gd name="T6" fmla="*/ 2 w 16"/>
                  <a:gd name="T7" fmla="*/ 12 h 18"/>
                  <a:gd name="T8" fmla="*/ 0 w 16"/>
                  <a:gd name="T9" fmla="*/ 17 h 18"/>
                  <a:gd name="T10" fmla="*/ 4 w 16"/>
                  <a:gd name="T11" fmla="*/ 17 h 18"/>
                  <a:gd name="T12" fmla="*/ 9 w 16"/>
                  <a:gd name="T13" fmla="*/ 17 h 18"/>
                  <a:gd name="T14" fmla="*/ 16 w 16"/>
                  <a:gd name="T15" fmla="*/ 8 h 18"/>
                  <a:gd name="T16" fmla="*/ 12 w 16"/>
                  <a:gd name="T17" fmla="*/ 5 h 18"/>
                  <a:gd name="T18" fmla="*/ 12 w 16"/>
                  <a:gd name="T19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8">
                    <a:moveTo>
                      <a:pt x="12" y="5"/>
                    </a:moveTo>
                    <a:cubicBezTo>
                      <a:pt x="10" y="3"/>
                      <a:pt x="8" y="1"/>
                      <a:pt x="5" y="1"/>
                    </a:cubicBezTo>
                    <a:cubicBezTo>
                      <a:pt x="3" y="0"/>
                      <a:pt x="0" y="4"/>
                      <a:pt x="1" y="6"/>
                    </a:cubicBezTo>
                    <a:cubicBezTo>
                      <a:pt x="1" y="8"/>
                      <a:pt x="2" y="10"/>
                      <a:pt x="2" y="12"/>
                    </a:cubicBezTo>
                    <a:cubicBezTo>
                      <a:pt x="3" y="14"/>
                      <a:pt x="1" y="16"/>
                      <a:pt x="0" y="17"/>
                    </a:cubicBezTo>
                    <a:cubicBezTo>
                      <a:pt x="1" y="18"/>
                      <a:pt x="3" y="17"/>
                      <a:pt x="4" y="17"/>
                    </a:cubicBezTo>
                    <a:cubicBezTo>
                      <a:pt x="6" y="17"/>
                      <a:pt x="7" y="18"/>
                      <a:pt x="9" y="17"/>
                    </a:cubicBezTo>
                    <a:cubicBezTo>
                      <a:pt x="12" y="16"/>
                      <a:pt x="13" y="10"/>
                      <a:pt x="16" y="8"/>
                    </a:cubicBezTo>
                    <a:cubicBezTo>
                      <a:pt x="14" y="7"/>
                      <a:pt x="13" y="6"/>
                      <a:pt x="12" y="5"/>
                    </a:cubicBezTo>
                    <a:cubicBezTo>
                      <a:pt x="10" y="4"/>
                      <a:pt x="13" y="6"/>
                      <a:pt x="12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2" name="Freeform 622">
                <a:extLst>
                  <a:ext uri="{FF2B5EF4-FFF2-40B4-BE49-F238E27FC236}">
                    <a16:creationId xmlns:a16="http://schemas.microsoft.com/office/drawing/2014/main" id="{E637B4C7-A3AC-490E-BA04-7A4F5BF166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1625" y="4226650"/>
                <a:ext cx="377488" cy="393414"/>
              </a:xfrm>
              <a:custGeom>
                <a:avLst/>
                <a:gdLst>
                  <a:gd name="T0" fmla="*/ 76 w 81"/>
                  <a:gd name="T1" fmla="*/ 39 h 84"/>
                  <a:gd name="T2" fmla="*/ 74 w 81"/>
                  <a:gd name="T3" fmla="*/ 32 h 84"/>
                  <a:gd name="T4" fmla="*/ 69 w 81"/>
                  <a:gd name="T5" fmla="*/ 33 h 84"/>
                  <a:gd name="T6" fmla="*/ 58 w 81"/>
                  <a:gd name="T7" fmla="*/ 28 h 84"/>
                  <a:gd name="T8" fmla="*/ 53 w 81"/>
                  <a:gd name="T9" fmla="*/ 20 h 84"/>
                  <a:gd name="T10" fmla="*/ 50 w 81"/>
                  <a:gd name="T11" fmla="*/ 15 h 84"/>
                  <a:gd name="T12" fmla="*/ 56 w 81"/>
                  <a:gd name="T13" fmla="*/ 5 h 84"/>
                  <a:gd name="T14" fmla="*/ 56 w 81"/>
                  <a:gd name="T15" fmla="*/ 1 h 84"/>
                  <a:gd name="T16" fmla="*/ 44 w 81"/>
                  <a:gd name="T17" fmla="*/ 8 h 84"/>
                  <a:gd name="T18" fmla="*/ 36 w 81"/>
                  <a:gd name="T19" fmla="*/ 16 h 84"/>
                  <a:gd name="T20" fmla="*/ 31 w 81"/>
                  <a:gd name="T21" fmla="*/ 23 h 84"/>
                  <a:gd name="T22" fmla="*/ 25 w 81"/>
                  <a:gd name="T23" fmla="*/ 17 h 84"/>
                  <a:gd name="T24" fmla="*/ 7 w 81"/>
                  <a:gd name="T25" fmla="*/ 18 h 84"/>
                  <a:gd name="T26" fmla="*/ 1 w 81"/>
                  <a:gd name="T27" fmla="*/ 16 h 84"/>
                  <a:gd name="T28" fmla="*/ 1 w 81"/>
                  <a:gd name="T29" fmla="*/ 21 h 84"/>
                  <a:gd name="T30" fmla="*/ 8 w 81"/>
                  <a:gd name="T31" fmla="*/ 24 h 84"/>
                  <a:gd name="T32" fmla="*/ 11 w 81"/>
                  <a:gd name="T33" fmla="*/ 26 h 84"/>
                  <a:gd name="T34" fmla="*/ 13 w 81"/>
                  <a:gd name="T35" fmla="*/ 23 h 84"/>
                  <a:gd name="T36" fmla="*/ 20 w 81"/>
                  <a:gd name="T37" fmla="*/ 18 h 84"/>
                  <a:gd name="T38" fmla="*/ 24 w 81"/>
                  <a:gd name="T39" fmla="*/ 20 h 84"/>
                  <a:gd name="T40" fmla="*/ 25 w 81"/>
                  <a:gd name="T41" fmla="*/ 26 h 84"/>
                  <a:gd name="T42" fmla="*/ 28 w 81"/>
                  <a:gd name="T43" fmla="*/ 42 h 84"/>
                  <a:gd name="T44" fmla="*/ 28 w 81"/>
                  <a:gd name="T45" fmla="*/ 47 h 84"/>
                  <a:gd name="T46" fmla="*/ 22 w 81"/>
                  <a:gd name="T47" fmla="*/ 53 h 84"/>
                  <a:gd name="T48" fmla="*/ 26 w 81"/>
                  <a:gd name="T49" fmla="*/ 58 h 84"/>
                  <a:gd name="T50" fmla="*/ 34 w 81"/>
                  <a:gd name="T51" fmla="*/ 61 h 84"/>
                  <a:gd name="T52" fmla="*/ 41 w 81"/>
                  <a:gd name="T53" fmla="*/ 64 h 84"/>
                  <a:gd name="T54" fmla="*/ 54 w 81"/>
                  <a:gd name="T55" fmla="*/ 76 h 84"/>
                  <a:gd name="T56" fmla="*/ 60 w 81"/>
                  <a:gd name="T57" fmla="*/ 75 h 84"/>
                  <a:gd name="T58" fmla="*/ 64 w 81"/>
                  <a:gd name="T59" fmla="*/ 80 h 84"/>
                  <a:gd name="T60" fmla="*/ 65 w 81"/>
                  <a:gd name="T61" fmla="*/ 84 h 84"/>
                  <a:gd name="T62" fmla="*/ 65 w 81"/>
                  <a:gd name="T63" fmla="*/ 63 h 84"/>
                  <a:gd name="T64" fmla="*/ 70 w 81"/>
                  <a:gd name="T65" fmla="*/ 58 h 84"/>
                  <a:gd name="T66" fmla="*/ 66 w 81"/>
                  <a:gd name="T67" fmla="*/ 55 h 84"/>
                  <a:gd name="T68" fmla="*/ 79 w 81"/>
                  <a:gd name="T69" fmla="*/ 53 h 84"/>
                  <a:gd name="T70" fmla="*/ 77 w 81"/>
                  <a:gd name="T71" fmla="*/ 48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84">
                    <a:moveTo>
                      <a:pt x="77" y="48"/>
                    </a:moveTo>
                    <a:cubicBezTo>
                      <a:pt x="81" y="45"/>
                      <a:pt x="76" y="42"/>
                      <a:pt x="76" y="39"/>
                    </a:cubicBezTo>
                    <a:cubicBezTo>
                      <a:pt x="76" y="37"/>
                      <a:pt x="78" y="35"/>
                      <a:pt x="78" y="33"/>
                    </a:cubicBezTo>
                    <a:cubicBezTo>
                      <a:pt x="79" y="30"/>
                      <a:pt x="75" y="32"/>
                      <a:pt x="74" y="32"/>
                    </a:cubicBezTo>
                    <a:cubicBezTo>
                      <a:pt x="73" y="32"/>
                      <a:pt x="72" y="32"/>
                      <a:pt x="71" y="32"/>
                    </a:cubicBezTo>
                    <a:cubicBezTo>
                      <a:pt x="70" y="32"/>
                      <a:pt x="70" y="33"/>
                      <a:pt x="69" y="33"/>
                    </a:cubicBezTo>
                    <a:cubicBezTo>
                      <a:pt x="68" y="33"/>
                      <a:pt x="67" y="30"/>
                      <a:pt x="66" y="30"/>
                    </a:cubicBezTo>
                    <a:cubicBezTo>
                      <a:pt x="64" y="26"/>
                      <a:pt x="62" y="28"/>
                      <a:pt x="58" y="28"/>
                    </a:cubicBezTo>
                    <a:cubicBezTo>
                      <a:pt x="56" y="28"/>
                      <a:pt x="55" y="28"/>
                      <a:pt x="54" y="26"/>
                    </a:cubicBezTo>
                    <a:cubicBezTo>
                      <a:pt x="53" y="24"/>
                      <a:pt x="56" y="22"/>
                      <a:pt x="53" y="20"/>
                    </a:cubicBezTo>
                    <a:cubicBezTo>
                      <a:pt x="52" y="19"/>
                      <a:pt x="52" y="17"/>
                      <a:pt x="50" y="17"/>
                    </a:cubicBezTo>
                    <a:cubicBezTo>
                      <a:pt x="48" y="17"/>
                      <a:pt x="49" y="17"/>
                      <a:pt x="50" y="15"/>
                    </a:cubicBezTo>
                    <a:cubicBezTo>
                      <a:pt x="51" y="13"/>
                      <a:pt x="50" y="11"/>
                      <a:pt x="51" y="9"/>
                    </a:cubicBezTo>
                    <a:cubicBezTo>
                      <a:pt x="52" y="7"/>
                      <a:pt x="54" y="6"/>
                      <a:pt x="56" y="5"/>
                    </a:cubicBezTo>
                    <a:cubicBezTo>
                      <a:pt x="57" y="4"/>
                      <a:pt x="59" y="4"/>
                      <a:pt x="60" y="2"/>
                    </a:cubicBezTo>
                    <a:cubicBezTo>
                      <a:pt x="60" y="0"/>
                      <a:pt x="56" y="0"/>
                      <a:pt x="56" y="1"/>
                    </a:cubicBezTo>
                    <a:cubicBezTo>
                      <a:pt x="54" y="3"/>
                      <a:pt x="51" y="6"/>
                      <a:pt x="48" y="6"/>
                    </a:cubicBezTo>
                    <a:cubicBezTo>
                      <a:pt x="45" y="6"/>
                      <a:pt x="45" y="6"/>
                      <a:pt x="44" y="8"/>
                    </a:cubicBezTo>
                    <a:cubicBezTo>
                      <a:pt x="43" y="10"/>
                      <a:pt x="43" y="7"/>
                      <a:pt x="41" y="7"/>
                    </a:cubicBezTo>
                    <a:cubicBezTo>
                      <a:pt x="37" y="8"/>
                      <a:pt x="39" y="14"/>
                      <a:pt x="36" y="16"/>
                    </a:cubicBezTo>
                    <a:cubicBezTo>
                      <a:pt x="35" y="17"/>
                      <a:pt x="33" y="18"/>
                      <a:pt x="32" y="20"/>
                    </a:cubicBezTo>
                    <a:cubicBezTo>
                      <a:pt x="32" y="20"/>
                      <a:pt x="32" y="23"/>
                      <a:pt x="31" y="23"/>
                    </a:cubicBezTo>
                    <a:cubicBezTo>
                      <a:pt x="30" y="21"/>
                      <a:pt x="29" y="20"/>
                      <a:pt x="28" y="19"/>
                    </a:cubicBezTo>
                    <a:cubicBezTo>
                      <a:pt x="27" y="17"/>
                      <a:pt x="26" y="17"/>
                      <a:pt x="25" y="17"/>
                    </a:cubicBezTo>
                    <a:cubicBezTo>
                      <a:pt x="21" y="16"/>
                      <a:pt x="19" y="13"/>
                      <a:pt x="15" y="16"/>
                    </a:cubicBezTo>
                    <a:cubicBezTo>
                      <a:pt x="13" y="17"/>
                      <a:pt x="9" y="20"/>
                      <a:pt x="7" y="18"/>
                    </a:cubicBezTo>
                    <a:cubicBezTo>
                      <a:pt x="6" y="17"/>
                      <a:pt x="5" y="17"/>
                      <a:pt x="4" y="16"/>
                    </a:cubicBezTo>
                    <a:cubicBezTo>
                      <a:pt x="2" y="16"/>
                      <a:pt x="3" y="14"/>
                      <a:pt x="1" y="16"/>
                    </a:cubicBezTo>
                    <a:cubicBezTo>
                      <a:pt x="0" y="17"/>
                      <a:pt x="1" y="17"/>
                      <a:pt x="2" y="18"/>
                    </a:cubicBezTo>
                    <a:cubicBezTo>
                      <a:pt x="2" y="19"/>
                      <a:pt x="1" y="20"/>
                      <a:pt x="1" y="21"/>
                    </a:cubicBezTo>
                    <a:cubicBezTo>
                      <a:pt x="3" y="21"/>
                      <a:pt x="5" y="22"/>
                      <a:pt x="6" y="22"/>
                    </a:cubicBezTo>
                    <a:cubicBezTo>
                      <a:pt x="7" y="23"/>
                      <a:pt x="8" y="23"/>
                      <a:pt x="8" y="24"/>
                    </a:cubicBezTo>
                    <a:cubicBezTo>
                      <a:pt x="9" y="25"/>
                      <a:pt x="9" y="24"/>
                      <a:pt x="10" y="24"/>
                    </a:cubicBezTo>
                    <a:cubicBezTo>
                      <a:pt x="10" y="23"/>
                      <a:pt x="10" y="26"/>
                      <a:pt x="11" y="26"/>
                    </a:cubicBezTo>
                    <a:cubicBezTo>
                      <a:pt x="12" y="27"/>
                      <a:pt x="13" y="26"/>
                      <a:pt x="15" y="25"/>
                    </a:cubicBezTo>
                    <a:cubicBezTo>
                      <a:pt x="16" y="25"/>
                      <a:pt x="13" y="23"/>
                      <a:pt x="13" y="23"/>
                    </a:cubicBezTo>
                    <a:cubicBezTo>
                      <a:pt x="13" y="22"/>
                      <a:pt x="16" y="20"/>
                      <a:pt x="16" y="19"/>
                    </a:cubicBezTo>
                    <a:cubicBezTo>
                      <a:pt x="17" y="18"/>
                      <a:pt x="19" y="17"/>
                      <a:pt x="20" y="18"/>
                    </a:cubicBezTo>
                    <a:cubicBezTo>
                      <a:pt x="21" y="18"/>
                      <a:pt x="23" y="19"/>
                      <a:pt x="23" y="19"/>
                    </a:cubicBezTo>
                    <a:cubicBezTo>
                      <a:pt x="23" y="20"/>
                      <a:pt x="23" y="20"/>
                      <a:pt x="24" y="20"/>
                    </a:cubicBezTo>
                    <a:cubicBezTo>
                      <a:pt x="24" y="21"/>
                      <a:pt x="23" y="22"/>
                      <a:pt x="23" y="22"/>
                    </a:cubicBezTo>
                    <a:cubicBezTo>
                      <a:pt x="23" y="23"/>
                      <a:pt x="25" y="25"/>
                      <a:pt x="25" y="26"/>
                    </a:cubicBezTo>
                    <a:cubicBezTo>
                      <a:pt x="27" y="29"/>
                      <a:pt x="29" y="29"/>
                      <a:pt x="29" y="33"/>
                    </a:cubicBezTo>
                    <a:cubicBezTo>
                      <a:pt x="29" y="36"/>
                      <a:pt x="29" y="39"/>
                      <a:pt x="28" y="42"/>
                    </a:cubicBezTo>
                    <a:cubicBezTo>
                      <a:pt x="28" y="43"/>
                      <a:pt x="30" y="43"/>
                      <a:pt x="30" y="44"/>
                    </a:cubicBezTo>
                    <a:cubicBezTo>
                      <a:pt x="29" y="45"/>
                      <a:pt x="28" y="46"/>
                      <a:pt x="28" y="47"/>
                    </a:cubicBezTo>
                    <a:cubicBezTo>
                      <a:pt x="27" y="48"/>
                      <a:pt x="27" y="50"/>
                      <a:pt x="26" y="50"/>
                    </a:cubicBezTo>
                    <a:cubicBezTo>
                      <a:pt x="24" y="51"/>
                      <a:pt x="22" y="50"/>
                      <a:pt x="22" y="53"/>
                    </a:cubicBezTo>
                    <a:cubicBezTo>
                      <a:pt x="22" y="55"/>
                      <a:pt x="19" y="55"/>
                      <a:pt x="22" y="56"/>
                    </a:cubicBezTo>
                    <a:cubicBezTo>
                      <a:pt x="23" y="57"/>
                      <a:pt x="24" y="57"/>
                      <a:pt x="26" y="58"/>
                    </a:cubicBezTo>
                    <a:cubicBezTo>
                      <a:pt x="27" y="59"/>
                      <a:pt x="28" y="60"/>
                      <a:pt x="29" y="61"/>
                    </a:cubicBezTo>
                    <a:cubicBezTo>
                      <a:pt x="31" y="62"/>
                      <a:pt x="32" y="61"/>
                      <a:pt x="34" y="61"/>
                    </a:cubicBezTo>
                    <a:cubicBezTo>
                      <a:pt x="35" y="61"/>
                      <a:pt x="36" y="62"/>
                      <a:pt x="38" y="63"/>
                    </a:cubicBezTo>
                    <a:cubicBezTo>
                      <a:pt x="39" y="63"/>
                      <a:pt x="40" y="63"/>
                      <a:pt x="41" y="64"/>
                    </a:cubicBezTo>
                    <a:cubicBezTo>
                      <a:pt x="44" y="66"/>
                      <a:pt x="46" y="68"/>
                      <a:pt x="48" y="71"/>
                    </a:cubicBezTo>
                    <a:cubicBezTo>
                      <a:pt x="49" y="74"/>
                      <a:pt x="50" y="75"/>
                      <a:pt x="54" y="76"/>
                    </a:cubicBezTo>
                    <a:cubicBezTo>
                      <a:pt x="55" y="76"/>
                      <a:pt x="56" y="75"/>
                      <a:pt x="57" y="74"/>
                    </a:cubicBezTo>
                    <a:cubicBezTo>
                      <a:pt x="58" y="74"/>
                      <a:pt x="59" y="76"/>
                      <a:pt x="60" y="75"/>
                    </a:cubicBezTo>
                    <a:cubicBezTo>
                      <a:pt x="62" y="74"/>
                      <a:pt x="64" y="75"/>
                      <a:pt x="65" y="76"/>
                    </a:cubicBezTo>
                    <a:cubicBezTo>
                      <a:pt x="65" y="77"/>
                      <a:pt x="64" y="79"/>
                      <a:pt x="64" y="80"/>
                    </a:cubicBezTo>
                    <a:cubicBezTo>
                      <a:pt x="63" y="81"/>
                      <a:pt x="62" y="81"/>
                      <a:pt x="64" y="82"/>
                    </a:cubicBezTo>
                    <a:cubicBezTo>
                      <a:pt x="64" y="82"/>
                      <a:pt x="66" y="84"/>
                      <a:pt x="65" y="84"/>
                    </a:cubicBezTo>
                    <a:cubicBezTo>
                      <a:pt x="67" y="84"/>
                      <a:pt x="68" y="73"/>
                      <a:pt x="69" y="71"/>
                    </a:cubicBezTo>
                    <a:cubicBezTo>
                      <a:pt x="69" y="67"/>
                      <a:pt x="66" y="66"/>
                      <a:pt x="65" y="63"/>
                    </a:cubicBezTo>
                    <a:cubicBezTo>
                      <a:pt x="65" y="61"/>
                      <a:pt x="65" y="60"/>
                      <a:pt x="66" y="60"/>
                    </a:cubicBezTo>
                    <a:cubicBezTo>
                      <a:pt x="67" y="60"/>
                      <a:pt x="70" y="59"/>
                      <a:pt x="70" y="58"/>
                    </a:cubicBezTo>
                    <a:cubicBezTo>
                      <a:pt x="69" y="58"/>
                      <a:pt x="67" y="58"/>
                      <a:pt x="67" y="57"/>
                    </a:cubicBezTo>
                    <a:cubicBezTo>
                      <a:pt x="66" y="57"/>
                      <a:pt x="66" y="55"/>
                      <a:pt x="66" y="55"/>
                    </a:cubicBezTo>
                    <a:cubicBezTo>
                      <a:pt x="68" y="55"/>
                      <a:pt x="70" y="55"/>
                      <a:pt x="72" y="55"/>
                    </a:cubicBezTo>
                    <a:cubicBezTo>
                      <a:pt x="73" y="55"/>
                      <a:pt x="79" y="52"/>
                      <a:pt x="79" y="53"/>
                    </a:cubicBezTo>
                    <a:cubicBezTo>
                      <a:pt x="79" y="51"/>
                      <a:pt x="76" y="48"/>
                      <a:pt x="77" y="48"/>
                    </a:cubicBezTo>
                    <a:cubicBezTo>
                      <a:pt x="78" y="47"/>
                      <a:pt x="76" y="48"/>
                      <a:pt x="77" y="4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3" name="Freeform 623">
                <a:extLst>
                  <a:ext uri="{FF2B5EF4-FFF2-40B4-BE49-F238E27FC236}">
                    <a16:creationId xmlns:a16="http://schemas.microsoft.com/office/drawing/2014/main" id="{6F52FC8E-EE62-468C-99DC-1E2D48348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2593" y="4489457"/>
                <a:ext cx="130606" cy="154500"/>
              </a:xfrm>
              <a:custGeom>
                <a:avLst/>
                <a:gdLst>
                  <a:gd name="T0" fmla="*/ 20 w 28"/>
                  <a:gd name="T1" fmla="*/ 6 h 33"/>
                  <a:gd name="T2" fmla="*/ 15 w 28"/>
                  <a:gd name="T3" fmla="*/ 3 h 33"/>
                  <a:gd name="T4" fmla="*/ 10 w 28"/>
                  <a:gd name="T5" fmla="*/ 0 h 33"/>
                  <a:gd name="T6" fmla="*/ 4 w 28"/>
                  <a:gd name="T7" fmla="*/ 4 h 33"/>
                  <a:gd name="T8" fmla="*/ 3 w 28"/>
                  <a:gd name="T9" fmla="*/ 7 h 33"/>
                  <a:gd name="T10" fmla="*/ 2 w 28"/>
                  <a:gd name="T11" fmla="*/ 10 h 33"/>
                  <a:gd name="T12" fmla="*/ 0 w 28"/>
                  <a:gd name="T13" fmla="*/ 13 h 33"/>
                  <a:gd name="T14" fmla="*/ 0 w 28"/>
                  <a:gd name="T15" fmla="*/ 15 h 33"/>
                  <a:gd name="T16" fmla="*/ 0 w 28"/>
                  <a:gd name="T17" fmla="*/ 18 h 33"/>
                  <a:gd name="T18" fmla="*/ 2 w 28"/>
                  <a:gd name="T19" fmla="*/ 20 h 33"/>
                  <a:gd name="T20" fmla="*/ 5 w 28"/>
                  <a:gd name="T21" fmla="*/ 18 h 33"/>
                  <a:gd name="T22" fmla="*/ 5 w 28"/>
                  <a:gd name="T23" fmla="*/ 20 h 33"/>
                  <a:gd name="T24" fmla="*/ 3 w 28"/>
                  <a:gd name="T25" fmla="*/ 24 h 33"/>
                  <a:gd name="T26" fmla="*/ 3 w 28"/>
                  <a:gd name="T27" fmla="*/ 26 h 33"/>
                  <a:gd name="T28" fmla="*/ 3 w 28"/>
                  <a:gd name="T29" fmla="*/ 28 h 33"/>
                  <a:gd name="T30" fmla="*/ 8 w 28"/>
                  <a:gd name="T31" fmla="*/ 32 h 33"/>
                  <a:gd name="T32" fmla="*/ 11 w 28"/>
                  <a:gd name="T33" fmla="*/ 29 h 33"/>
                  <a:gd name="T34" fmla="*/ 16 w 28"/>
                  <a:gd name="T35" fmla="*/ 22 h 33"/>
                  <a:gd name="T36" fmla="*/ 22 w 28"/>
                  <a:gd name="T37" fmla="*/ 19 h 33"/>
                  <a:gd name="T38" fmla="*/ 27 w 28"/>
                  <a:gd name="T39" fmla="*/ 13 h 33"/>
                  <a:gd name="T40" fmla="*/ 27 w 28"/>
                  <a:gd name="T41" fmla="*/ 8 h 33"/>
                  <a:gd name="T42" fmla="*/ 24 w 28"/>
                  <a:gd name="T43" fmla="*/ 5 h 33"/>
                  <a:gd name="T44" fmla="*/ 20 w 28"/>
                  <a:gd name="T45" fmla="*/ 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8" h="33">
                    <a:moveTo>
                      <a:pt x="20" y="6"/>
                    </a:moveTo>
                    <a:cubicBezTo>
                      <a:pt x="18" y="6"/>
                      <a:pt x="17" y="4"/>
                      <a:pt x="15" y="3"/>
                    </a:cubicBezTo>
                    <a:cubicBezTo>
                      <a:pt x="14" y="2"/>
                      <a:pt x="12" y="0"/>
                      <a:pt x="10" y="0"/>
                    </a:cubicBezTo>
                    <a:cubicBezTo>
                      <a:pt x="10" y="3"/>
                      <a:pt x="4" y="1"/>
                      <a:pt x="4" y="4"/>
                    </a:cubicBezTo>
                    <a:cubicBezTo>
                      <a:pt x="4" y="6"/>
                      <a:pt x="4" y="6"/>
                      <a:pt x="3" y="7"/>
                    </a:cubicBezTo>
                    <a:cubicBezTo>
                      <a:pt x="1" y="8"/>
                      <a:pt x="2" y="9"/>
                      <a:pt x="2" y="10"/>
                    </a:cubicBezTo>
                    <a:cubicBezTo>
                      <a:pt x="2" y="11"/>
                      <a:pt x="1" y="12"/>
                      <a:pt x="0" y="13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1" y="16"/>
                      <a:pt x="0" y="17"/>
                      <a:pt x="0" y="18"/>
                    </a:cubicBezTo>
                    <a:cubicBezTo>
                      <a:pt x="0" y="18"/>
                      <a:pt x="1" y="21"/>
                      <a:pt x="2" y="20"/>
                    </a:cubicBezTo>
                    <a:cubicBezTo>
                      <a:pt x="4" y="20"/>
                      <a:pt x="4" y="18"/>
                      <a:pt x="5" y="18"/>
                    </a:cubicBezTo>
                    <a:cubicBezTo>
                      <a:pt x="4" y="18"/>
                      <a:pt x="6" y="20"/>
                      <a:pt x="5" y="20"/>
                    </a:cubicBezTo>
                    <a:cubicBezTo>
                      <a:pt x="5" y="22"/>
                      <a:pt x="5" y="23"/>
                      <a:pt x="3" y="24"/>
                    </a:cubicBezTo>
                    <a:cubicBezTo>
                      <a:pt x="3" y="24"/>
                      <a:pt x="4" y="26"/>
                      <a:pt x="3" y="26"/>
                    </a:cubicBezTo>
                    <a:cubicBezTo>
                      <a:pt x="3" y="27"/>
                      <a:pt x="2" y="27"/>
                      <a:pt x="3" y="28"/>
                    </a:cubicBezTo>
                    <a:cubicBezTo>
                      <a:pt x="5" y="29"/>
                      <a:pt x="6" y="29"/>
                      <a:pt x="8" y="32"/>
                    </a:cubicBezTo>
                    <a:cubicBezTo>
                      <a:pt x="9" y="33"/>
                      <a:pt x="10" y="29"/>
                      <a:pt x="11" y="29"/>
                    </a:cubicBezTo>
                    <a:cubicBezTo>
                      <a:pt x="12" y="26"/>
                      <a:pt x="13" y="23"/>
                      <a:pt x="16" y="22"/>
                    </a:cubicBezTo>
                    <a:cubicBezTo>
                      <a:pt x="18" y="21"/>
                      <a:pt x="20" y="21"/>
                      <a:pt x="22" y="19"/>
                    </a:cubicBezTo>
                    <a:cubicBezTo>
                      <a:pt x="24" y="18"/>
                      <a:pt x="26" y="16"/>
                      <a:pt x="27" y="13"/>
                    </a:cubicBezTo>
                    <a:cubicBezTo>
                      <a:pt x="27" y="11"/>
                      <a:pt x="28" y="10"/>
                      <a:pt x="27" y="8"/>
                    </a:cubicBezTo>
                    <a:cubicBezTo>
                      <a:pt x="26" y="7"/>
                      <a:pt x="25" y="6"/>
                      <a:pt x="24" y="5"/>
                    </a:cubicBezTo>
                    <a:cubicBezTo>
                      <a:pt x="23" y="5"/>
                      <a:pt x="21" y="6"/>
                      <a:pt x="20" y="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4" name="Freeform 624">
                <a:extLst>
                  <a:ext uri="{FF2B5EF4-FFF2-40B4-BE49-F238E27FC236}">
                    <a16:creationId xmlns:a16="http://schemas.microsoft.com/office/drawing/2014/main" id="{6FCE156F-791A-48DC-9DC3-8FB97C7E5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8259" y="4518127"/>
                <a:ext cx="299441" cy="444384"/>
              </a:xfrm>
              <a:custGeom>
                <a:avLst/>
                <a:gdLst>
                  <a:gd name="T0" fmla="*/ 57 w 64"/>
                  <a:gd name="T1" fmla="*/ 21 h 95"/>
                  <a:gd name="T2" fmla="*/ 56 w 64"/>
                  <a:gd name="T3" fmla="*/ 14 h 95"/>
                  <a:gd name="T4" fmla="*/ 50 w 64"/>
                  <a:gd name="T5" fmla="*/ 13 h 95"/>
                  <a:gd name="T6" fmla="*/ 46 w 64"/>
                  <a:gd name="T7" fmla="*/ 14 h 95"/>
                  <a:gd name="T8" fmla="*/ 41 w 64"/>
                  <a:gd name="T9" fmla="*/ 11 h 95"/>
                  <a:gd name="T10" fmla="*/ 38 w 64"/>
                  <a:gd name="T11" fmla="*/ 6 h 95"/>
                  <a:gd name="T12" fmla="*/ 33 w 64"/>
                  <a:gd name="T13" fmla="*/ 2 h 95"/>
                  <a:gd name="T14" fmla="*/ 28 w 64"/>
                  <a:gd name="T15" fmla="*/ 0 h 95"/>
                  <a:gd name="T16" fmla="*/ 31 w 64"/>
                  <a:gd name="T17" fmla="*/ 5 h 95"/>
                  <a:gd name="T18" fmla="*/ 28 w 64"/>
                  <a:gd name="T19" fmla="*/ 10 h 95"/>
                  <a:gd name="T20" fmla="*/ 23 w 64"/>
                  <a:gd name="T21" fmla="*/ 14 h 95"/>
                  <a:gd name="T22" fmla="*/ 17 w 64"/>
                  <a:gd name="T23" fmla="*/ 17 h 95"/>
                  <a:gd name="T24" fmla="*/ 11 w 64"/>
                  <a:gd name="T25" fmla="*/ 26 h 95"/>
                  <a:gd name="T26" fmla="*/ 6 w 64"/>
                  <a:gd name="T27" fmla="*/ 22 h 95"/>
                  <a:gd name="T28" fmla="*/ 6 w 64"/>
                  <a:gd name="T29" fmla="*/ 21 h 95"/>
                  <a:gd name="T30" fmla="*/ 6 w 64"/>
                  <a:gd name="T31" fmla="*/ 18 h 95"/>
                  <a:gd name="T32" fmla="*/ 2 w 64"/>
                  <a:gd name="T33" fmla="*/ 26 h 95"/>
                  <a:gd name="T34" fmla="*/ 3 w 64"/>
                  <a:gd name="T35" fmla="*/ 30 h 95"/>
                  <a:gd name="T36" fmla="*/ 3 w 64"/>
                  <a:gd name="T37" fmla="*/ 32 h 95"/>
                  <a:gd name="T38" fmla="*/ 14 w 64"/>
                  <a:gd name="T39" fmla="*/ 47 h 95"/>
                  <a:gd name="T40" fmla="*/ 23 w 64"/>
                  <a:gd name="T41" fmla="*/ 63 h 95"/>
                  <a:gd name="T42" fmla="*/ 26 w 64"/>
                  <a:gd name="T43" fmla="*/ 70 h 95"/>
                  <a:gd name="T44" fmla="*/ 25 w 64"/>
                  <a:gd name="T45" fmla="*/ 71 h 95"/>
                  <a:gd name="T46" fmla="*/ 28 w 64"/>
                  <a:gd name="T47" fmla="*/ 74 h 95"/>
                  <a:gd name="T48" fmla="*/ 32 w 64"/>
                  <a:gd name="T49" fmla="*/ 79 h 95"/>
                  <a:gd name="T50" fmla="*/ 41 w 64"/>
                  <a:gd name="T51" fmla="*/ 83 h 95"/>
                  <a:gd name="T52" fmla="*/ 48 w 64"/>
                  <a:gd name="T53" fmla="*/ 87 h 95"/>
                  <a:gd name="T54" fmla="*/ 54 w 64"/>
                  <a:gd name="T55" fmla="*/ 93 h 95"/>
                  <a:gd name="T56" fmla="*/ 59 w 64"/>
                  <a:gd name="T57" fmla="*/ 90 h 95"/>
                  <a:gd name="T58" fmla="*/ 61 w 64"/>
                  <a:gd name="T59" fmla="*/ 86 h 95"/>
                  <a:gd name="T60" fmla="*/ 63 w 64"/>
                  <a:gd name="T61" fmla="*/ 82 h 95"/>
                  <a:gd name="T62" fmla="*/ 61 w 64"/>
                  <a:gd name="T63" fmla="*/ 78 h 95"/>
                  <a:gd name="T64" fmla="*/ 61 w 64"/>
                  <a:gd name="T65" fmla="*/ 76 h 95"/>
                  <a:gd name="T66" fmla="*/ 63 w 64"/>
                  <a:gd name="T67" fmla="*/ 74 h 95"/>
                  <a:gd name="T68" fmla="*/ 64 w 64"/>
                  <a:gd name="T69" fmla="*/ 64 h 95"/>
                  <a:gd name="T70" fmla="*/ 62 w 64"/>
                  <a:gd name="T71" fmla="*/ 59 h 95"/>
                  <a:gd name="T72" fmla="*/ 57 w 64"/>
                  <a:gd name="T73" fmla="*/ 57 h 95"/>
                  <a:gd name="T74" fmla="*/ 55 w 64"/>
                  <a:gd name="T75" fmla="*/ 48 h 95"/>
                  <a:gd name="T76" fmla="*/ 50 w 64"/>
                  <a:gd name="T77" fmla="*/ 51 h 95"/>
                  <a:gd name="T78" fmla="*/ 46 w 64"/>
                  <a:gd name="T79" fmla="*/ 51 h 95"/>
                  <a:gd name="T80" fmla="*/ 44 w 64"/>
                  <a:gd name="T81" fmla="*/ 48 h 95"/>
                  <a:gd name="T82" fmla="*/ 40 w 64"/>
                  <a:gd name="T83" fmla="*/ 42 h 95"/>
                  <a:gd name="T84" fmla="*/ 39 w 64"/>
                  <a:gd name="T85" fmla="*/ 35 h 95"/>
                  <a:gd name="T86" fmla="*/ 42 w 64"/>
                  <a:gd name="T87" fmla="*/ 33 h 95"/>
                  <a:gd name="T88" fmla="*/ 42 w 64"/>
                  <a:gd name="T89" fmla="*/ 30 h 95"/>
                  <a:gd name="T90" fmla="*/ 45 w 64"/>
                  <a:gd name="T91" fmla="*/ 25 h 95"/>
                  <a:gd name="T92" fmla="*/ 50 w 64"/>
                  <a:gd name="T93" fmla="*/ 24 h 95"/>
                  <a:gd name="T94" fmla="*/ 53 w 64"/>
                  <a:gd name="T95" fmla="*/ 22 h 95"/>
                  <a:gd name="T96" fmla="*/ 57 w 64"/>
                  <a:gd name="T97" fmla="*/ 2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4" h="95">
                    <a:moveTo>
                      <a:pt x="57" y="21"/>
                    </a:moveTo>
                    <a:cubicBezTo>
                      <a:pt x="53" y="19"/>
                      <a:pt x="59" y="15"/>
                      <a:pt x="56" y="14"/>
                    </a:cubicBezTo>
                    <a:cubicBezTo>
                      <a:pt x="54" y="12"/>
                      <a:pt x="52" y="13"/>
                      <a:pt x="50" y="13"/>
                    </a:cubicBezTo>
                    <a:cubicBezTo>
                      <a:pt x="48" y="12"/>
                      <a:pt x="48" y="14"/>
                      <a:pt x="46" y="14"/>
                    </a:cubicBezTo>
                    <a:cubicBezTo>
                      <a:pt x="44" y="13"/>
                      <a:pt x="42" y="13"/>
                      <a:pt x="41" y="11"/>
                    </a:cubicBezTo>
                    <a:cubicBezTo>
                      <a:pt x="40" y="10"/>
                      <a:pt x="39" y="7"/>
                      <a:pt x="38" y="6"/>
                    </a:cubicBezTo>
                    <a:cubicBezTo>
                      <a:pt x="36" y="5"/>
                      <a:pt x="35" y="3"/>
                      <a:pt x="33" y="2"/>
                    </a:cubicBezTo>
                    <a:cubicBezTo>
                      <a:pt x="32" y="0"/>
                      <a:pt x="30" y="1"/>
                      <a:pt x="28" y="0"/>
                    </a:cubicBezTo>
                    <a:cubicBezTo>
                      <a:pt x="30" y="2"/>
                      <a:pt x="31" y="3"/>
                      <a:pt x="31" y="5"/>
                    </a:cubicBezTo>
                    <a:cubicBezTo>
                      <a:pt x="30" y="7"/>
                      <a:pt x="30" y="9"/>
                      <a:pt x="28" y="10"/>
                    </a:cubicBezTo>
                    <a:cubicBezTo>
                      <a:pt x="26" y="12"/>
                      <a:pt x="25" y="14"/>
                      <a:pt x="23" y="14"/>
                    </a:cubicBezTo>
                    <a:cubicBezTo>
                      <a:pt x="21" y="15"/>
                      <a:pt x="19" y="15"/>
                      <a:pt x="17" y="17"/>
                    </a:cubicBezTo>
                    <a:cubicBezTo>
                      <a:pt x="16" y="18"/>
                      <a:pt x="12" y="27"/>
                      <a:pt x="11" y="26"/>
                    </a:cubicBezTo>
                    <a:cubicBezTo>
                      <a:pt x="9" y="23"/>
                      <a:pt x="8" y="23"/>
                      <a:pt x="6" y="22"/>
                    </a:cubicBezTo>
                    <a:cubicBezTo>
                      <a:pt x="5" y="22"/>
                      <a:pt x="5" y="22"/>
                      <a:pt x="6" y="21"/>
                    </a:cubicBezTo>
                    <a:cubicBezTo>
                      <a:pt x="7" y="20"/>
                      <a:pt x="7" y="19"/>
                      <a:pt x="6" y="18"/>
                    </a:cubicBezTo>
                    <a:cubicBezTo>
                      <a:pt x="4" y="19"/>
                      <a:pt x="0" y="23"/>
                      <a:pt x="2" y="26"/>
                    </a:cubicBezTo>
                    <a:cubicBezTo>
                      <a:pt x="2" y="26"/>
                      <a:pt x="4" y="29"/>
                      <a:pt x="3" y="30"/>
                    </a:cubicBezTo>
                    <a:cubicBezTo>
                      <a:pt x="2" y="30"/>
                      <a:pt x="1" y="31"/>
                      <a:pt x="3" y="32"/>
                    </a:cubicBezTo>
                    <a:cubicBezTo>
                      <a:pt x="8" y="35"/>
                      <a:pt x="12" y="41"/>
                      <a:pt x="14" y="47"/>
                    </a:cubicBezTo>
                    <a:cubicBezTo>
                      <a:pt x="17" y="52"/>
                      <a:pt x="19" y="58"/>
                      <a:pt x="23" y="63"/>
                    </a:cubicBezTo>
                    <a:cubicBezTo>
                      <a:pt x="24" y="65"/>
                      <a:pt x="26" y="67"/>
                      <a:pt x="26" y="70"/>
                    </a:cubicBezTo>
                    <a:cubicBezTo>
                      <a:pt x="26" y="71"/>
                      <a:pt x="25" y="70"/>
                      <a:pt x="25" y="71"/>
                    </a:cubicBezTo>
                    <a:cubicBezTo>
                      <a:pt x="26" y="72"/>
                      <a:pt x="27" y="73"/>
                      <a:pt x="28" y="74"/>
                    </a:cubicBezTo>
                    <a:cubicBezTo>
                      <a:pt x="29" y="76"/>
                      <a:pt x="30" y="78"/>
                      <a:pt x="32" y="79"/>
                    </a:cubicBezTo>
                    <a:cubicBezTo>
                      <a:pt x="35" y="80"/>
                      <a:pt x="38" y="82"/>
                      <a:pt x="41" y="83"/>
                    </a:cubicBezTo>
                    <a:cubicBezTo>
                      <a:pt x="43" y="84"/>
                      <a:pt x="45" y="86"/>
                      <a:pt x="48" y="87"/>
                    </a:cubicBezTo>
                    <a:cubicBezTo>
                      <a:pt x="50" y="89"/>
                      <a:pt x="52" y="91"/>
                      <a:pt x="54" y="93"/>
                    </a:cubicBezTo>
                    <a:cubicBezTo>
                      <a:pt x="58" y="95"/>
                      <a:pt x="57" y="91"/>
                      <a:pt x="59" y="90"/>
                    </a:cubicBezTo>
                    <a:cubicBezTo>
                      <a:pt x="60" y="89"/>
                      <a:pt x="60" y="87"/>
                      <a:pt x="61" y="86"/>
                    </a:cubicBezTo>
                    <a:cubicBezTo>
                      <a:pt x="61" y="85"/>
                      <a:pt x="64" y="83"/>
                      <a:pt x="63" y="82"/>
                    </a:cubicBezTo>
                    <a:cubicBezTo>
                      <a:pt x="61" y="81"/>
                      <a:pt x="60" y="81"/>
                      <a:pt x="61" y="78"/>
                    </a:cubicBezTo>
                    <a:cubicBezTo>
                      <a:pt x="61" y="77"/>
                      <a:pt x="61" y="76"/>
                      <a:pt x="61" y="76"/>
                    </a:cubicBezTo>
                    <a:cubicBezTo>
                      <a:pt x="62" y="75"/>
                      <a:pt x="63" y="74"/>
                      <a:pt x="63" y="74"/>
                    </a:cubicBezTo>
                    <a:cubicBezTo>
                      <a:pt x="64" y="71"/>
                      <a:pt x="62" y="66"/>
                      <a:pt x="64" y="64"/>
                    </a:cubicBezTo>
                    <a:cubicBezTo>
                      <a:pt x="64" y="63"/>
                      <a:pt x="63" y="61"/>
                      <a:pt x="62" y="59"/>
                    </a:cubicBezTo>
                    <a:cubicBezTo>
                      <a:pt x="61" y="56"/>
                      <a:pt x="60" y="56"/>
                      <a:pt x="57" y="57"/>
                    </a:cubicBezTo>
                    <a:cubicBezTo>
                      <a:pt x="53" y="57"/>
                      <a:pt x="55" y="50"/>
                      <a:pt x="55" y="48"/>
                    </a:cubicBezTo>
                    <a:cubicBezTo>
                      <a:pt x="53" y="49"/>
                      <a:pt x="52" y="51"/>
                      <a:pt x="50" y="51"/>
                    </a:cubicBezTo>
                    <a:cubicBezTo>
                      <a:pt x="49" y="51"/>
                      <a:pt x="47" y="51"/>
                      <a:pt x="46" y="51"/>
                    </a:cubicBezTo>
                    <a:cubicBezTo>
                      <a:pt x="45" y="50"/>
                      <a:pt x="45" y="48"/>
                      <a:pt x="44" y="48"/>
                    </a:cubicBezTo>
                    <a:cubicBezTo>
                      <a:pt x="41" y="48"/>
                      <a:pt x="41" y="44"/>
                      <a:pt x="40" y="42"/>
                    </a:cubicBezTo>
                    <a:cubicBezTo>
                      <a:pt x="38" y="40"/>
                      <a:pt x="37" y="37"/>
                      <a:pt x="39" y="35"/>
                    </a:cubicBezTo>
                    <a:cubicBezTo>
                      <a:pt x="40" y="34"/>
                      <a:pt x="42" y="34"/>
                      <a:pt x="42" y="33"/>
                    </a:cubicBezTo>
                    <a:cubicBezTo>
                      <a:pt x="42" y="32"/>
                      <a:pt x="42" y="31"/>
                      <a:pt x="42" y="30"/>
                    </a:cubicBezTo>
                    <a:cubicBezTo>
                      <a:pt x="42" y="27"/>
                      <a:pt x="42" y="26"/>
                      <a:pt x="45" y="25"/>
                    </a:cubicBezTo>
                    <a:cubicBezTo>
                      <a:pt x="47" y="24"/>
                      <a:pt x="48" y="24"/>
                      <a:pt x="50" y="24"/>
                    </a:cubicBezTo>
                    <a:cubicBezTo>
                      <a:pt x="51" y="24"/>
                      <a:pt x="52" y="23"/>
                      <a:pt x="53" y="22"/>
                    </a:cubicBezTo>
                    <a:cubicBezTo>
                      <a:pt x="54" y="22"/>
                      <a:pt x="59" y="23"/>
                      <a:pt x="57" y="2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5" name="Freeform 625">
                <a:extLst>
                  <a:ext uri="{FF2B5EF4-FFF2-40B4-BE49-F238E27FC236}">
                    <a16:creationId xmlns:a16="http://schemas.microsoft.com/office/drawing/2014/main" id="{52984AC7-4888-4F4D-97B7-9BDF54395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0458" y="4933841"/>
                <a:ext cx="203874" cy="992299"/>
              </a:xfrm>
              <a:custGeom>
                <a:avLst/>
                <a:gdLst>
                  <a:gd name="T0" fmla="*/ 38 w 44"/>
                  <a:gd name="T1" fmla="*/ 20 h 212"/>
                  <a:gd name="T2" fmla="*/ 36 w 44"/>
                  <a:gd name="T3" fmla="*/ 12 h 212"/>
                  <a:gd name="T4" fmla="*/ 34 w 44"/>
                  <a:gd name="T5" fmla="*/ 5 h 212"/>
                  <a:gd name="T6" fmla="*/ 30 w 44"/>
                  <a:gd name="T7" fmla="*/ 3 h 212"/>
                  <a:gd name="T8" fmla="*/ 28 w 44"/>
                  <a:gd name="T9" fmla="*/ 15 h 212"/>
                  <a:gd name="T10" fmla="*/ 26 w 44"/>
                  <a:gd name="T11" fmla="*/ 31 h 212"/>
                  <a:gd name="T12" fmla="*/ 23 w 44"/>
                  <a:gd name="T13" fmla="*/ 56 h 212"/>
                  <a:gd name="T14" fmla="*/ 21 w 44"/>
                  <a:gd name="T15" fmla="*/ 68 h 212"/>
                  <a:gd name="T16" fmla="*/ 21 w 44"/>
                  <a:gd name="T17" fmla="*/ 80 h 212"/>
                  <a:gd name="T18" fmla="*/ 20 w 44"/>
                  <a:gd name="T19" fmla="*/ 88 h 212"/>
                  <a:gd name="T20" fmla="*/ 11 w 44"/>
                  <a:gd name="T21" fmla="*/ 110 h 212"/>
                  <a:gd name="T22" fmla="*/ 10 w 44"/>
                  <a:gd name="T23" fmla="*/ 132 h 212"/>
                  <a:gd name="T24" fmla="*/ 17 w 44"/>
                  <a:gd name="T25" fmla="*/ 133 h 212"/>
                  <a:gd name="T26" fmla="*/ 16 w 44"/>
                  <a:gd name="T27" fmla="*/ 136 h 212"/>
                  <a:gd name="T28" fmla="*/ 14 w 44"/>
                  <a:gd name="T29" fmla="*/ 145 h 212"/>
                  <a:gd name="T30" fmla="*/ 15 w 44"/>
                  <a:gd name="T31" fmla="*/ 150 h 212"/>
                  <a:gd name="T32" fmla="*/ 13 w 44"/>
                  <a:gd name="T33" fmla="*/ 152 h 212"/>
                  <a:gd name="T34" fmla="*/ 11 w 44"/>
                  <a:gd name="T35" fmla="*/ 158 h 212"/>
                  <a:gd name="T36" fmla="*/ 8 w 44"/>
                  <a:gd name="T37" fmla="*/ 159 h 212"/>
                  <a:gd name="T38" fmla="*/ 4 w 44"/>
                  <a:gd name="T39" fmla="*/ 159 h 212"/>
                  <a:gd name="T40" fmla="*/ 0 w 44"/>
                  <a:gd name="T41" fmla="*/ 164 h 212"/>
                  <a:gd name="T42" fmla="*/ 2 w 44"/>
                  <a:gd name="T43" fmla="*/ 163 h 212"/>
                  <a:gd name="T44" fmla="*/ 7 w 44"/>
                  <a:gd name="T45" fmla="*/ 171 h 212"/>
                  <a:gd name="T46" fmla="*/ 11 w 44"/>
                  <a:gd name="T47" fmla="*/ 173 h 212"/>
                  <a:gd name="T48" fmla="*/ 7 w 44"/>
                  <a:gd name="T49" fmla="*/ 174 h 212"/>
                  <a:gd name="T50" fmla="*/ 7 w 44"/>
                  <a:gd name="T51" fmla="*/ 179 h 212"/>
                  <a:gd name="T52" fmla="*/ 9 w 44"/>
                  <a:gd name="T53" fmla="*/ 182 h 212"/>
                  <a:gd name="T54" fmla="*/ 9 w 44"/>
                  <a:gd name="T55" fmla="*/ 185 h 212"/>
                  <a:gd name="T56" fmla="*/ 7 w 44"/>
                  <a:gd name="T57" fmla="*/ 187 h 212"/>
                  <a:gd name="T58" fmla="*/ 10 w 44"/>
                  <a:gd name="T59" fmla="*/ 190 h 212"/>
                  <a:gd name="T60" fmla="*/ 8 w 44"/>
                  <a:gd name="T61" fmla="*/ 193 h 212"/>
                  <a:gd name="T62" fmla="*/ 11 w 44"/>
                  <a:gd name="T63" fmla="*/ 194 h 212"/>
                  <a:gd name="T64" fmla="*/ 11 w 44"/>
                  <a:gd name="T65" fmla="*/ 198 h 212"/>
                  <a:gd name="T66" fmla="*/ 15 w 44"/>
                  <a:gd name="T67" fmla="*/ 197 h 212"/>
                  <a:gd name="T68" fmla="*/ 15 w 44"/>
                  <a:gd name="T69" fmla="*/ 197 h 212"/>
                  <a:gd name="T70" fmla="*/ 16 w 44"/>
                  <a:gd name="T71" fmla="*/ 198 h 212"/>
                  <a:gd name="T72" fmla="*/ 18 w 44"/>
                  <a:gd name="T73" fmla="*/ 202 h 212"/>
                  <a:gd name="T74" fmla="*/ 16 w 44"/>
                  <a:gd name="T75" fmla="*/ 207 h 212"/>
                  <a:gd name="T76" fmla="*/ 18 w 44"/>
                  <a:gd name="T77" fmla="*/ 209 h 212"/>
                  <a:gd name="T78" fmla="*/ 25 w 44"/>
                  <a:gd name="T79" fmla="*/ 204 h 212"/>
                  <a:gd name="T80" fmla="*/ 26 w 44"/>
                  <a:gd name="T81" fmla="*/ 199 h 212"/>
                  <a:gd name="T82" fmla="*/ 17 w 44"/>
                  <a:gd name="T83" fmla="*/ 192 h 212"/>
                  <a:gd name="T84" fmla="*/ 12 w 44"/>
                  <a:gd name="T85" fmla="*/ 185 h 212"/>
                  <a:gd name="T86" fmla="*/ 15 w 44"/>
                  <a:gd name="T87" fmla="*/ 177 h 212"/>
                  <a:gd name="T88" fmla="*/ 17 w 44"/>
                  <a:gd name="T89" fmla="*/ 169 h 212"/>
                  <a:gd name="T90" fmla="*/ 21 w 44"/>
                  <a:gd name="T91" fmla="*/ 158 h 212"/>
                  <a:gd name="T92" fmla="*/ 21 w 44"/>
                  <a:gd name="T93" fmla="*/ 152 h 212"/>
                  <a:gd name="T94" fmla="*/ 19 w 44"/>
                  <a:gd name="T95" fmla="*/ 140 h 212"/>
                  <a:gd name="T96" fmla="*/ 23 w 44"/>
                  <a:gd name="T97" fmla="*/ 117 h 212"/>
                  <a:gd name="T98" fmla="*/ 26 w 44"/>
                  <a:gd name="T99" fmla="*/ 102 h 212"/>
                  <a:gd name="T100" fmla="*/ 29 w 44"/>
                  <a:gd name="T101" fmla="*/ 85 h 212"/>
                  <a:gd name="T102" fmla="*/ 27 w 44"/>
                  <a:gd name="T103" fmla="*/ 73 h 212"/>
                  <a:gd name="T104" fmla="*/ 30 w 44"/>
                  <a:gd name="T105" fmla="*/ 62 h 212"/>
                  <a:gd name="T106" fmla="*/ 34 w 44"/>
                  <a:gd name="T107" fmla="*/ 54 h 212"/>
                  <a:gd name="T108" fmla="*/ 36 w 44"/>
                  <a:gd name="T109" fmla="*/ 44 h 212"/>
                  <a:gd name="T110" fmla="*/ 40 w 44"/>
                  <a:gd name="T111" fmla="*/ 35 h 212"/>
                  <a:gd name="T112" fmla="*/ 40 w 44"/>
                  <a:gd name="T113" fmla="*/ 28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4" h="212">
                    <a:moveTo>
                      <a:pt x="40" y="28"/>
                    </a:moveTo>
                    <a:cubicBezTo>
                      <a:pt x="38" y="27"/>
                      <a:pt x="40" y="22"/>
                      <a:pt x="38" y="20"/>
                    </a:cubicBezTo>
                    <a:cubicBezTo>
                      <a:pt x="37" y="19"/>
                      <a:pt x="35" y="16"/>
                      <a:pt x="36" y="14"/>
                    </a:cubicBezTo>
                    <a:cubicBezTo>
                      <a:pt x="38" y="13"/>
                      <a:pt x="35" y="13"/>
                      <a:pt x="36" y="12"/>
                    </a:cubicBezTo>
                    <a:cubicBezTo>
                      <a:pt x="37" y="11"/>
                      <a:pt x="36" y="10"/>
                      <a:pt x="35" y="9"/>
                    </a:cubicBezTo>
                    <a:cubicBezTo>
                      <a:pt x="34" y="8"/>
                      <a:pt x="34" y="7"/>
                      <a:pt x="34" y="5"/>
                    </a:cubicBezTo>
                    <a:cubicBezTo>
                      <a:pt x="34" y="3"/>
                      <a:pt x="33" y="2"/>
                      <a:pt x="32" y="0"/>
                    </a:cubicBezTo>
                    <a:cubicBezTo>
                      <a:pt x="31" y="1"/>
                      <a:pt x="30" y="2"/>
                      <a:pt x="30" y="3"/>
                    </a:cubicBezTo>
                    <a:cubicBezTo>
                      <a:pt x="29" y="5"/>
                      <a:pt x="27" y="4"/>
                      <a:pt x="28" y="6"/>
                    </a:cubicBezTo>
                    <a:cubicBezTo>
                      <a:pt x="28" y="9"/>
                      <a:pt x="28" y="12"/>
                      <a:pt x="28" y="15"/>
                    </a:cubicBezTo>
                    <a:cubicBezTo>
                      <a:pt x="28" y="19"/>
                      <a:pt x="29" y="24"/>
                      <a:pt x="28" y="28"/>
                    </a:cubicBezTo>
                    <a:cubicBezTo>
                      <a:pt x="27" y="29"/>
                      <a:pt x="26" y="30"/>
                      <a:pt x="26" y="31"/>
                    </a:cubicBezTo>
                    <a:cubicBezTo>
                      <a:pt x="26" y="33"/>
                      <a:pt x="27" y="35"/>
                      <a:pt x="27" y="37"/>
                    </a:cubicBezTo>
                    <a:cubicBezTo>
                      <a:pt x="27" y="43"/>
                      <a:pt x="25" y="50"/>
                      <a:pt x="23" y="56"/>
                    </a:cubicBezTo>
                    <a:cubicBezTo>
                      <a:pt x="22" y="59"/>
                      <a:pt x="22" y="61"/>
                      <a:pt x="23" y="64"/>
                    </a:cubicBezTo>
                    <a:cubicBezTo>
                      <a:pt x="23" y="66"/>
                      <a:pt x="23" y="67"/>
                      <a:pt x="21" y="68"/>
                    </a:cubicBezTo>
                    <a:cubicBezTo>
                      <a:pt x="20" y="69"/>
                      <a:pt x="21" y="70"/>
                      <a:pt x="21" y="71"/>
                    </a:cubicBezTo>
                    <a:cubicBezTo>
                      <a:pt x="21" y="74"/>
                      <a:pt x="21" y="77"/>
                      <a:pt x="21" y="80"/>
                    </a:cubicBezTo>
                    <a:cubicBezTo>
                      <a:pt x="21" y="81"/>
                      <a:pt x="21" y="83"/>
                      <a:pt x="21" y="84"/>
                    </a:cubicBezTo>
                    <a:cubicBezTo>
                      <a:pt x="20" y="85"/>
                      <a:pt x="21" y="87"/>
                      <a:pt x="20" y="88"/>
                    </a:cubicBezTo>
                    <a:cubicBezTo>
                      <a:pt x="18" y="93"/>
                      <a:pt x="16" y="98"/>
                      <a:pt x="14" y="103"/>
                    </a:cubicBezTo>
                    <a:cubicBezTo>
                      <a:pt x="13" y="106"/>
                      <a:pt x="10" y="107"/>
                      <a:pt x="11" y="110"/>
                    </a:cubicBezTo>
                    <a:cubicBezTo>
                      <a:pt x="12" y="113"/>
                      <a:pt x="14" y="118"/>
                      <a:pt x="12" y="122"/>
                    </a:cubicBezTo>
                    <a:cubicBezTo>
                      <a:pt x="10" y="124"/>
                      <a:pt x="8" y="129"/>
                      <a:pt x="10" y="132"/>
                    </a:cubicBezTo>
                    <a:cubicBezTo>
                      <a:pt x="11" y="134"/>
                      <a:pt x="12" y="134"/>
                      <a:pt x="13" y="133"/>
                    </a:cubicBezTo>
                    <a:cubicBezTo>
                      <a:pt x="14" y="132"/>
                      <a:pt x="18" y="132"/>
                      <a:pt x="17" y="133"/>
                    </a:cubicBezTo>
                    <a:cubicBezTo>
                      <a:pt x="17" y="133"/>
                      <a:pt x="16" y="133"/>
                      <a:pt x="15" y="134"/>
                    </a:cubicBezTo>
                    <a:cubicBezTo>
                      <a:pt x="15" y="135"/>
                      <a:pt x="15" y="135"/>
                      <a:pt x="16" y="136"/>
                    </a:cubicBezTo>
                    <a:cubicBezTo>
                      <a:pt x="16" y="136"/>
                      <a:pt x="15" y="137"/>
                      <a:pt x="15" y="137"/>
                    </a:cubicBezTo>
                    <a:cubicBezTo>
                      <a:pt x="14" y="139"/>
                      <a:pt x="13" y="143"/>
                      <a:pt x="14" y="145"/>
                    </a:cubicBezTo>
                    <a:cubicBezTo>
                      <a:pt x="14" y="146"/>
                      <a:pt x="14" y="146"/>
                      <a:pt x="13" y="148"/>
                    </a:cubicBezTo>
                    <a:cubicBezTo>
                      <a:pt x="12" y="149"/>
                      <a:pt x="14" y="149"/>
                      <a:pt x="15" y="150"/>
                    </a:cubicBezTo>
                    <a:cubicBezTo>
                      <a:pt x="15" y="150"/>
                      <a:pt x="15" y="150"/>
                      <a:pt x="14" y="151"/>
                    </a:cubicBezTo>
                    <a:cubicBezTo>
                      <a:pt x="13" y="151"/>
                      <a:pt x="11" y="152"/>
                      <a:pt x="13" y="152"/>
                    </a:cubicBezTo>
                    <a:cubicBezTo>
                      <a:pt x="12" y="153"/>
                      <a:pt x="13" y="156"/>
                      <a:pt x="14" y="156"/>
                    </a:cubicBezTo>
                    <a:cubicBezTo>
                      <a:pt x="13" y="156"/>
                      <a:pt x="10" y="155"/>
                      <a:pt x="11" y="158"/>
                    </a:cubicBezTo>
                    <a:cubicBezTo>
                      <a:pt x="11" y="158"/>
                      <a:pt x="12" y="163"/>
                      <a:pt x="10" y="162"/>
                    </a:cubicBezTo>
                    <a:cubicBezTo>
                      <a:pt x="10" y="162"/>
                      <a:pt x="8" y="160"/>
                      <a:pt x="8" y="159"/>
                    </a:cubicBezTo>
                    <a:cubicBezTo>
                      <a:pt x="6" y="158"/>
                      <a:pt x="7" y="157"/>
                      <a:pt x="5" y="158"/>
                    </a:cubicBezTo>
                    <a:cubicBezTo>
                      <a:pt x="5" y="158"/>
                      <a:pt x="4" y="159"/>
                      <a:pt x="4" y="159"/>
                    </a:cubicBezTo>
                    <a:cubicBezTo>
                      <a:pt x="4" y="160"/>
                      <a:pt x="5" y="160"/>
                      <a:pt x="4" y="161"/>
                    </a:cubicBezTo>
                    <a:cubicBezTo>
                      <a:pt x="4" y="162"/>
                      <a:pt x="0" y="162"/>
                      <a:pt x="0" y="164"/>
                    </a:cubicBezTo>
                    <a:cubicBezTo>
                      <a:pt x="0" y="164"/>
                      <a:pt x="1" y="165"/>
                      <a:pt x="2" y="165"/>
                    </a:cubicBezTo>
                    <a:cubicBezTo>
                      <a:pt x="2" y="165"/>
                      <a:pt x="1" y="164"/>
                      <a:pt x="2" y="163"/>
                    </a:cubicBezTo>
                    <a:cubicBezTo>
                      <a:pt x="2" y="163"/>
                      <a:pt x="5" y="165"/>
                      <a:pt x="7" y="164"/>
                    </a:cubicBezTo>
                    <a:cubicBezTo>
                      <a:pt x="11" y="163"/>
                      <a:pt x="5" y="170"/>
                      <a:pt x="7" y="171"/>
                    </a:cubicBezTo>
                    <a:cubicBezTo>
                      <a:pt x="8" y="171"/>
                      <a:pt x="10" y="170"/>
                      <a:pt x="11" y="171"/>
                    </a:cubicBezTo>
                    <a:cubicBezTo>
                      <a:pt x="12" y="171"/>
                      <a:pt x="12" y="174"/>
                      <a:pt x="11" y="173"/>
                    </a:cubicBezTo>
                    <a:cubicBezTo>
                      <a:pt x="11" y="173"/>
                      <a:pt x="8" y="171"/>
                      <a:pt x="8" y="172"/>
                    </a:cubicBezTo>
                    <a:cubicBezTo>
                      <a:pt x="7" y="173"/>
                      <a:pt x="6" y="173"/>
                      <a:pt x="7" y="174"/>
                    </a:cubicBezTo>
                    <a:cubicBezTo>
                      <a:pt x="7" y="174"/>
                      <a:pt x="9" y="176"/>
                      <a:pt x="8" y="176"/>
                    </a:cubicBezTo>
                    <a:cubicBezTo>
                      <a:pt x="7" y="176"/>
                      <a:pt x="7" y="179"/>
                      <a:pt x="7" y="179"/>
                    </a:cubicBezTo>
                    <a:cubicBezTo>
                      <a:pt x="6" y="182"/>
                      <a:pt x="9" y="178"/>
                      <a:pt x="9" y="178"/>
                    </a:cubicBezTo>
                    <a:cubicBezTo>
                      <a:pt x="9" y="178"/>
                      <a:pt x="8" y="183"/>
                      <a:pt x="9" y="182"/>
                    </a:cubicBezTo>
                    <a:cubicBezTo>
                      <a:pt x="9" y="182"/>
                      <a:pt x="8" y="182"/>
                      <a:pt x="8" y="183"/>
                    </a:cubicBezTo>
                    <a:cubicBezTo>
                      <a:pt x="7" y="184"/>
                      <a:pt x="8" y="184"/>
                      <a:pt x="9" y="185"/>
                    </a:cubicBezTo>
                    <a:cubicBezTo>
                      <a:pt x="9" y="185"/>
                      <a:pt x="7" y="186"/>
                      <a:pt x="7" y="186"/>
                    </a:cubicBezTo>
                    <a:cubicBezTo>
                      <a:pt x="6" y="186"/>
                      <a:pt x="7" y="186"/>
                      <a:pt x="7" y="187"/>
                    </a:cubicBezTo>
                    <a:cubicBezTo>
                      <a:pt x="6" y="189"/>
                      <a:pt x="10" y="189"/>
                      <a:pt x="10" y="188"/>
                    </a:cubicBezTo>
                    <a:cubicBezTo>
                      <a:pt x="10" y="189"/>
                      <a:pt x="9" y="189"/>
                      <a:pt x="10" y="190"/>
                    </a:cubicBezTo>
                    <a:cubicBezTo>
                      <a:pt x="10" y="190"/>
                      <a:pt x="10" y="190"/>
                      <a:pt x="10" y="190"/>
                    </a:cubicBezTo>
                    <a:cubicBezTo>
                      <a:pt x="10" y="191"/>
                      <a:pt x="8" y="192"/>
                      <a:pt x="8" y="193"/>
                    </a:cubicBezTo>
                    <a:cubicBezTo>
                      <a:pt x="7" y="195"/>
                      <a:pt x="10" y="192"/>
                      <a:pt x="11" y="192"/>
                    </a:cubicBezTo>
                    <a:cubicBezTo>
                      <a:pt x="10" y="193"/>
                      <a:pt x="11" y="194"/>
                      <a:pt x="11" y="194"/>
                    </a:cubicBezTo>
                    <a:cubicBezTo>
                      <a:pt x="11" y="195"/>
                      <a:pt x="8" y="196"/>
                      <a:pt x="8" y="196"/>
                    </a:cubicBezTo>
                    <a:cubicBezTo>
                      <a:pt x="10" y="197"/>
                      <a:pt x="10" y="196"/>
                      <a:pt x="11" y="198"/>
                    </a:cubicBezTo>
                    <a:cubicBezTo>
                      <a:pt x="12" y="200"/>
                      <a:pt x="14" y="195"/>
                      <a:pt x="13" y="195"/>
                    </a:cubicBezTo>
                    <a:cubicBezTo>
                      <a:pt x="14" y="195"/>
                      <a:pt x="14" y="196"/>
                      <a:pt x="15" y="197"/>
                    </a:cubicBezTo>
                    <a:cubicBezTo>
                      <a:pt x="15" y="197"/>
                      <a:pt x="15" y="195"/>
                      <a:pt x="15" y="195"/>
                    </a:cubicBezTo>
                    <a:cubicBezTo>
                      <a:pt x="15" y="195"/>
                      <a:pt x="15" y="197"/>
                      <a:pt x="15" y="197"/>
                    </a:cubicBezTo>
                    <a:cubicBezTo>
                      <a:pt x="16" y="196"/>
                      <a:pt x="16" y="195"/>
                      <a:pt x="16" y="196"/>
                    </a:cubicBezTo>
                    <a:cubicBezTo>
                      <a:pt x="17" y="196"/>
                      <a:pt x="16" y="198"/>
                      <a:pt x="16" y="198"/>
                    </a:cubicBezTo>
                    <a:cubicBezTo>
                      <a:pt x="15" y="199"/>
                      <a:pt x="17" y="199"/>
                      <a:pt x="16" y="200"/>
                    </a:cubicBezTo>
                    <a:cubicBezTo>
                      <a:pt x="15" y="202"/>
                      <a:pt x="17" y="201"/>
                      <a:pt x="18" y="202"/>
                    </a:cubicBezTo>
                    <a:cubicBezTo>
                      <a:pt x="21" y="202"/>
                      <a:pt x="24" y="204"/>
                      <a:pt x="21" y="206"/>
                    </a:cubicBezTo>
                    <a:cubicBezTo>
                      <a:pt x="20" y="207"/>
                      <a:pt x="17" y="206"/>
                      <a:pt x="16" y="207"/>
                    </a:cubicBezTo>
                    <a:cubicBezTo>
                      <a:pt x="15" y="209"/>
                      <a:pt x="18" y="208"/>
                      <a:pt x="19" y="209"/>
                    </a:cubicBezTo>
                    <a:cubicBezTo>
                      <a:pt x="18" y="209"/>
                      <a:pt x="18" y="209"/>
                      <a:pt x="18" y="209"/>
                    </a:cubicBezTo>
                    <a:cubicBezTo>
                      <a:pt x="18" y="209"/>
                      <a:pt x="22" y="212"/>
                      <a:pt x="24" y="210"/>
                    </a:cubicBezTo>
                    <a:cubicBezTo>
                      <a:pt x="25" y="208"/>
                      <a:pt x="23" y="206"/>
                      <a:pt x="25" y="204"/>
                    </a:cubicBezTo>
                    <a:cubicBezTo>
                      <a:pt x="26" y="202"/>
                      <a:pt x="29" y="202"/>
                      <a:pt x="30" y="202"/>
                    </a:cubicBezTo>
                    <a:cubicBezTo>
                      <a:pt x="35" y="199"/>
                      <a:pt x="28" y="199"/>
                      <a:pt x="26" y="199"/>
                    </a:cubicBezTo>
                    <a:cubicBezTo>
                      <a:pt x="24" y="199"/>
                      <a:pt x="21" y="199"/>
                      <a:pt x="19" y="198"/>
                    </a:cubicBezTo>
                    <a:cubicBezTo>
                      <a:pt x="17" y="196"/>
                      <a:pt x="17" y="196"/>
                      <a:pt x="17" y="192"/>
                    </a:cubicBezTo>
                    <a:cubicBezTo>
                      <a:pt x="17" y="188"/>
                      <a:pt x="16" y="191"/>
                      <a:pt x="13" y="189"/>
                    </a:cubicBezTo>
                    <a:cubicBezTo>
                      <a:pt x="12" y="189"/>
                      <a:pt x="12" y="186"/>
                      <a:pt x="12" y="185"/>
                    </a:cubicBezTo>
                    <a:cubicBezTo>
                      <a:pt x="11" y="183"/>
                      <a:pt x="11" y="180"/>
                      <a:pt x="13" y="179"/>
                    </a:cubicBezTo>
                    <a:cubicBezTo>
                      <a:pt x="14" y="178"/>
                      <a:pt x="14" y="178"/>
                      <a:pt x="15" y="177"/>
                    </a:cubicBezTo>
                    <a:cubicBezTo>
                      <a:pt x="15" y="176"/>
                      <a:pt x="16" y="175"/>
                      <a:pt x="17" y="175"/>
                    </a:cubicBezTo>
                    <a:cubicBezTo>
                      <a:pt x="18" y="174"/>
                      <a:pt x="16" y="171"/>
                      <a:pt x="17" y="169"/>
                    </a:cubicBezTo>
                    <a:cubicBezTo>
                      <a:pt x="17" y="168"/>
                      <a:pt x="19" y="167"/>
                      <a:pt x="20" y="165"/>
                    </a:cubicBezTo>
                    <a:cubicBezTo>
                      <a:pt x="20" y="163"/>
                      <a:pt x="20" y="160"/>
                      <a:pt x="21" y="158"/>
                    </a:cubicBezTo>
                    <a:cubicBezTo>
                      <a:pt x="21" y="156"/>
                      <a:pt x="23" y="156"/>
                      <a:pt x="21" y="154"/>
                    </a:cubicBezTo>
                    <a:cubicBezTo>
                      <a:pt x="20" y="153"/>
                      <a:pt x="17" y="153"/>
                      <a:pt x="21" y="152"/>
                    </a:cubicBezTo>
                    <a:cubicBezTo>
                      <a:pt x="26" y="151"/>
                      <a:pt x="20" y="151"/>
                      <a:pt x="19" y="149"/>
                    </a:cubicBezTo>
                    <a:cubicBezTo>
                      <a:pt x="19" y="146"/>
                      <a:pt x="19" y="142"/>
                      <a:pt x="19" y="140"/>
                    </a:cubicBezTo>
                    <a:cubicBezTo>
                      <a:pt x="19" y="136"/>
                      <a:pt x="19" y="131"/>
                      <a:pt x="19" y="127"/>
                    </a:cubicBezTo>
                    <a:cubicBezTo>
                      <a:pt x="20" y="124"/>
                      <a:pt x="21" y="119"/>
                      <a:pt x="23" y="117"/>
                    </a:cubicBezTo>
                    <a:cubicBezTo>
                      <a:pt x="26" y="114"/>
                      <a:pt x="23" y="109"/>
                      <a:pt x="23" y="106"/>
                    </a:cubicBezTo>
                    <a:cubicBezTo>
                      <a:pt x="23" y="104"/>
                      <a:pt x="24" y="103"/>
                      <a:pt x="26" y="102"/>
                    </a:cubicBezTo>
                    <a:cubicBezTo>
                      <a:pt x="28" y="100"/>
                      <a:pt x="27" y="99"/>
                      <a:pt x="27" y="96"/>
                    </a:cubicBezTo>
                    <a:cubicBezTo>
                      <a:pt x="27" y="92"/>
                      <a:pt x="30" y="89"/>
                      <a:pt x="29" y="85"/>
                    </a:cubicBezTo>
                    <a:cubicBezTo>
                      <a:pt x="29" y="82"/>
                      <a:pt x="28" y="79"/>
                      <a:pt x="27" y="76"/>
                    </a:cubicBezTo>
                    <a:cubicBezTo>
                      <a:pt x="27" y="75"/>
                      <a:pt x="26" y="74"/>
                      <a:pt x="27" y="73"/>
                    </a:cubicBezTo>
                    <a:cubicBezTo>
                      <a:pt x="28" y="72"/>
                      <a:pt x="29" y="68"/>
                      <a:pt x="29" y="67"/>
                    </a:cubicBezTo>
                    <a:cubicBezTo>
                      <a:pt x="29" y="66"/>
                      <a:pt x="28" y="64"/>
                      <a:pt x="30" y="62"/>
                    </a:cubicBezTo>
                    <a:cubicBezTo>
                      <a:pt x="31" y="61"/>
                      <a:pt x="30" y="59"/>
                      <a:pt x="31" y="58"/>
                    </a:cubicBezTo>
                    <a:cubicBezTo>
                      <a:pt x="31" y="56"/>
                      <a:pt x="33" y="55"/>
                      <a:pt x="34" y="54"/>
                    </a:cubicBezTo>
                    <a:cubicBezTo>
                      <a:pt x="34" y="53"/>
                      <a:pt x="37" y="50"/>
                      <a:pt x="37" y="49"/>
                    </a:cubicBezTo>
                    <a:cubicBezTo>
                      <a:pt x="37" y="48"/>
                      <a:pt x="36" y="46"/>
                      <a:pt x="36" y="44"/>
                    </a:cubicBezTo>
                    <a:cubicBezTo>
                      <a:pt x="36" y="42"/>
                      <a:pt x="36" y="41"/>
                      <a:pt x="36" y="39"/>
                    </a:cubicBezTo>
                    <a:cubicBezTo>
                      <a:pt x="36" y="36"/>
                      <a:pt x="37" y="36"/>
                      <a:pt x="40" y="35"/>
                    </a:cubicBezTo>
                    <a:cubicBezTo>
                      <a:pt x="44" y="34"/>
                      <a:pt x="44" y="32"/>
                      <a:pt x="44" y="28"/>
                    </a:cubicBezTo>
                    <a:cubicBezTo>
                      <a:pt x="43" y="29"/>
                      <a:pt x="41" y="29"/>
                      <a:pt x="40" y="28"/>
                    </a:cubicBezTo>
                    <a:cubicBezTo>
                      <a:pt x="40" y="28"/>
                      <a:pt x="40" y="29"/>
                      <a:pt x="40" y="2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6" name="Freeform 626">
                <a:extLst>
                  <a:ext uri="{FF2B5EF4-FFF2-40B4-BE49-F238E27FC236}">
                    <a16:creationId xmlns:a16="http://schemas.microsoft.com/office/drawing/2014/main" id="{66D22A98-B1C5-4B92-B87F-44B1FAA2B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9029" y="4742707"/>
                <a:ext cx="299441" cy="326519"/>
              </a:xfrm>
              <a:custGeom>
                <a:avLst/>
                <a:gdLst>
                  <a:gd name="T0" fmla="*/ 61 w 64"/>
                  <a:gd name="T1" fmla="*/ 42 h 70"/>
                  <a:gd name="T2" fmla="*/ 58 w 64"/>
                  <a:gd name="T3" fmla="*/ 35 h 70"/>
                  <a:gd name="T4" fmla="*/ 50 w 64"/>
                  <a:gd name="T5" fmla="*/ 35 h 70"/>
                  <a:gd name="T6" fmla="*/ 49 w 64"/>
                  <a:gd name="T7" fmla="*/ 33 h 70"/>
                  <a:gd name="T8" fmla="*/ 47 w 64"/>
                  <a:gd name="T9" fmla="*/ 30 h 70"/>
                  <a:gd name="T10" fmla="*/ 48 w 64"/>
                  <a:gd name="T11" fmla="*/ 28 h 70"/>
                  <a:gd name="T12" fmla="*/ 47 w 64"/>
                  <a:gd name="T13" fmla="*/ 26 h 70"/>
                  <a:gd name="T14" fmla="*/ 47 w 64"/>
                  <a:gd name="T15" fmla="*/ 23 h 70"/>
                  <a:gd name="T16" fmla="*/ 41 w 64"/>
                  <a:gd name="T17" fmla="*/ 21 h 70"/>
                  <a:gd name="T18" fmla="*/ 37 w 64"/>
                  <a:gd name="T19" fmla="*/ 18 h 70"/>
                  <a:gd name="T20" fmla="*/ 33 w 64"/>
                  <a:gd name="T21" fmla="*/ 16 h 70"/>
                  <a:gd name="T22" fmla="*/ 29 w 64"/>
                  <a:gd name="T23" fmla="*/ 16 h 70"/>
                  <a:gd name="T24" fmla="*/ 23 w 64"/>
                  <a:gd name="T25" fmla="*/ 9 h 70"/>
                  <a:gd name="T26" fmla="*/ 23 w 64"/>
                  <a:gd name="T27" fmla="*/ 6 h 70"/>
                  <a:gd name="T28" fmla="*/ 23 w 64"/>
                  <a:gd name="T29" fmla="*/ 4 h 70"/>
                  <a:gd name="T30" fmla="*/ 18 w 64"/>
                  <a:gd name="T31" fmla="*/ 3 h 70"/>
                  <a:gd name="T32" fmla="*/ 10 w 64"/>
                  <a:gd name="T33" fmla="*/ 6 h 70"/>
                  <a:gd name="T34" fmla="*/ 7 w 64"/>
                  <a:gd name="T35" fmla="*/ 9 h 70"/>
                  <a:gd name="T36" fmla="*/ 2 w 64"/>
                  <a:gd name="T37" fmla="*/ 8 h 70"/>
                  <a:gd name="T38" fmla="*/ 6 w 64"/>
                  <a:gd name="T39" fmla="*/ 16 h 70"/>
                  <a:gd name="T40" fmla="*/ 5 w 64"/>
                  <a:gd name="T41" fmla="*/ 23 h 70"/>
                  <a:gd name="T42" fmla="*/ 4 w 64"/>
                  <a:gd name="T43" fmla="*/ 27 h 70"/>
                  <a:gd name="T44" fmla="*/ 3 w 64"/>
                  <a:gd name="T45" fmla="*/ 31 h 70"/>
                  <a:gd name="T46" fmla="*/ 5 w 64"/>
                  <a:gd name="T47" fmla="*/ 35 h 70"/>
                  <a:gd name="T48" fmla="*/ 3 w 64"/>
                  <a:gd name="T49" fmla="*/ 38 h 70"/>
                  <a:gd name="T50" fmla="*/ 4 w 64"/>
                  <a:gd name="T51" fmla="*/ 46 h 70"/>
                  <a:gd name="T52" fmla="*/ 4 w 64"/>
                  <a:gd name="T53" fmla="*/ 49 h 70"/>
                  <a:gd name="T54" fmla="*/ 7 w 64"/>
                  <a:gd name="T55" fmla="*/ 52 h 70"/>
                  <a:gd name="T56" fmla="*/ 7 w 64"/>
                  <a:gd name="T57" fmla="*/ 54 h 70"/>
                  <a:gd name="T58" fmla="*/ 6 w 64"/>
                  <a:gd name="T59" fmla="*/ 56 h 70"/>
                  <a:gd name="T60" fmla="*/ 9 w 64"/>
                  <a:gd name="T61" fmla="*/ 63 h 70"/>
                  <a:gd name="T62" fmla="*/ 13 w 64"/>
                  <a:gd name="T63" fmla="*/ 69 h 70"/>
                  <a:gd name="T64" fmla="*/ 14 w 64"/>
                  <a:gd name="T65" fmla="*/ 67 h 70"/>
                  <a:gd name="T66" fmla="*/ 17 w 64"/>
                  <a:gd name="T67" fmla="*/ 65 h 70"/>
                  <a:gd name="T68" fmla="*/ 20 w 64"/>
                  <a:gd name="T69" fmla="*/ 65 h 70"/>
                  <a:gd name="T70" fmla="*/ 25 w 64"/>
                  <a:gd name="T71" fmla="*/ 65 h 70"/>
                  <a:gd name="T72" fmla="*/ 28 w 64"/>
                  <a:gd name="T73" fmla="*/ 68 h 70"/>
                  <a:gd name="T74" fmla="*/ 31 w 64"/>
                  <a:gd name="T75" fmla="*/ 65 h 70"/>
                  <a:gd name="T76" fmla="*/ 37 w 64"/>
                  <a:gd name="T77" fmla="*/ 64 h 70"/>
                  <a:gd name="T78" fmla="*/ 44 w 64"/>
                  <a:gd name="T79" fmla="*/ 52 h 70"/>
                  <a:gd name="T80" fmla="*/ 52 w 64"/>
                  <a:gd name="T81" fmla="*/ 51 h 70"/>
                  <a:gd name="T82" fmla="*/ 59 w 64"/>
                  <a:gd name="T83" fmla="*/ 54 h 70"/>
                  <a:gd name="T84" fmla="*/ 61 w 64"/>
                  <a:gd name="T85" fmla="*/ 42 h 70"/>
                  <a:gd name="T86" fmla="*/ 61 w 64"/>
                  <a:gd name="T87" fmla="*/ 4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4" h="70">
                    <a:moveTo>
                      <a:pt x="61" y="42"/>
                    </a:moveTo>
                    <a:cubicBezTo>
                      <a:pt x="57" y="40"/>
                      <a:pt x="58" y="39"/>
                      <a:pt x="58" y="35"/>
                    </a:cubicBezTo>
                    <a:cubicBezTo>
                      <a:pt x="55" y="35"/>
                      <a:pt x="52" y="35"/>
                      <a:pt x="50" y="35"/>
                    </a:cubicBezTo>
                    <a:cubicBezTo>
                      <a:pt x="48" y="35"/>
                      <a:pt x="49" y="34"/>
                      <a:pt x="49" y="33"/>
                    </a:cubicBezTo>
                    <a:cubicBezTo>
                      <a:pt x="49" y="32"/>
                      <a:pt x="48" y="30"/>
                      <a:pt x="47" y="30"/>
                    </a:cubicBezTo>
                    <a:cubicBezTo>
                      <a:pt x="47" y="29"/>
                      <a:pt x="48" y="29"/>
                      <a:pt x="48" y="28"/>
                    </a:cubicBezTo>
                    <a:cubicBezTo>
                      <a:pt x="49" y="27"/>
                      <a:pt x="48" y="26"/>
                      <a:pt x="47" y="26"/>
                    </a:cubicBezTo>
                    <a:cubicBezTo>
                      <a:pt x="47" y="25"/>
                      <a:pt x="48" y="24"/>
                      <a:pt x="47" y="23"/>
                    </a:cubicBezTo>
                    <a:cubicBezTo>
                      <a:pt x="45" y="21"/>
                      <a:pt x="43" y="21"/>
                      <a:pt x="41" y="21"/>
                    </a:cubicBezTo>
                    <a:cubicBezTo>
                      <a:pt x="40" y="21"/>
                      <a:pt x="38" y="19"/>
                      <a:pt x="37" y="18"/>
                    </a:cubicBezTo>
                    <a:cubicBezTo>
                      <a:pt x="35" y="18"/>
                      <a:pt x="34" y="16"/>
                      <a:pt x="33" y="16"/>
                    </a:cubicBezTo>
                    <a:cubicBezTo>
                      <a:pt x="31" y="16"/>
                      <a:pt x="30" y="16"/>
                      <a:pt x="29" y="16"/>
                    </a:cubicBezTo>
                    <a:cubicBezTo>
                      <a:pt x="27" y="16"/>
                      <a:pt x="23" y="11"/>
                      <a:pt x="23" y="9"/>
                    </a:cubicBezTo>
                    <a:cubicBezTo>
                      <a:pt x="23" y="8"/>
                      <a:pt x="23" y="7"/>
                      <a:pt x="23" y="6"/>
                    </a:cubicBezTo>
                    <a:cubicBezTo>
                      <a:pt x="23" y="5"/>
                      <a:pt x="23" y="5"/>
                      <a:pt x="23" y="4"/>
                    </a:cubicBezTo>
                    <a:cubicBezTo>
                      <a:pt x="23" y="0"/>
                      <a:pt x="21" y="2"/>
                      <a:pt x="18" y="3"/>
                    </a:cubicBezTo>
                    <a:cubicBezTo>
                      <a:pt x="15" y="3"/>
                      <a:pt x="13" y="6"/>
                      <a:pt x="10" y="6"/>
                    </a:cubicBezTo>
                    <a:cubicBezTo>
                      <a:pt x="8" y="6"/>
                      <a:pt x="8" y="8"/>
                      <a:pt x="7" y="9"/>
                    </a:cubicBezTo>
                    <a:cubicBezTo>
                      <a:pt x="6" y="9"/>
                      <a:pt x="3" y="8"/>
                      <a:pt x="2" y="8"/>
                    </a:cubicBezTo>
                    <a:cubicBezTo>
                      <a:pt x="4" y="9"/>
                      <a:pt x="5" y="14"/>
                      <a:pt x="6" y="16"/>
                    </a:cubicBezTo>
                    <a:cubicBezTo>
                      <a:pt x="4" y="17"/>
                      <a:pt x="5" y="21"/>
                      <a:pt x="5" y="23"/>
                    </a:cubicBezTo>
                    <a:cubicBezTo>
                      <a:pt x="5" y="25"/>
                      <a:pt x="5" y="26"/>
                      <a:pt x="4" y="27"/>
                    </a:cubicBezTo>
                    <a:cubicBezTo>
                      <a:pt x="3" y="28"/>
                      <a:pt x="3" y="30"/>
                      <a:pt x="3" y="31"/>
                    </a:cubicBezTo>
                    <a:cubicBezTo>
                      <a:pt x="2" y="33"/>
                      <a:pt x="5" y="33"/>
                      <a:pt x="5" y="35"/>
                    </a:cubicBezTo>
                    <a:cubicBezTo>
                      <a:pt x="5" y="36"/>
                      <a:pt x="3" y="37"/>
                      <a:pt x="3" y="38"/>
                    </a:cubicBezTo>
                    <a:cubicBezTo>
                      <a:pt x="0" y="41"/>
                      <a:pt x="4" y="42"/>
                      <a:pt x="4" y="46"/>
                    </a:cubicBezTo>
                    <a:cubicBezTo>
                      <a:pt x="4" y="47"/>
                      <a:pt x="4" y="48"/>
                      <a:pt x="4" y="49"/>
                    </a:cubicBezTo>
                    <a:cubicBezTo>
                      <a:pt x="5" y="50"/>
                      <a:pt x="6" y="51"/>
                      <a:pt x="7" y="52"/>
                    </a:cubicBezTo>
                    <a:cubicBezTo>
                      <a:pt x="7" y="53"/>
                      <a:pt x="5" y="53"/>
                      <a:pt x="7" y="54"/>
                    </a:cubicBezTo>
                    <a:cubicBezTo>
                      <a:pt x="7" y="54"/>
                      <a:pt x="6" y="56"/>
                      <a:pt x="6" y="56"/>
                    </a:cubicBezTo>
                    <a:cubicBezTo>
                      <a:pt x="6" y="59"/>
                      <a:pt x="9" y="61"/>
                      <a:pt x="9" y="63"/>
                    </a:cubicBezTo>
                    <a:cubicBezTo>
                      <a:pt x="10" y="66"/>
                      <a:pt x="8" y="69"/>
                      <a:pt x="13" y="69"/>
                    </a:cubicBezTo>
                    <a:cubicBezTo>
                      <a:pt x="14" y="70"/>
                      <a:pt x="14" y="68"/>
                      <a:pt x="14" y="67"/>
                    </a:cubicBezTo>
                    <a:cubicBezTo>
                      <a:pt x="14" y="66"/>
                      <a:pt x="16" y="65"/>
                      <a:pt x="17" y="65"/>
                    </a:cubicBezTo>
                    <a:cubicBezTo>
                      <a:pt x="18" y="64"/>
                      <a:pt x="19" y="63"/>
                      <a:pt x="20" y="65"/>
                    </a:cubicBezTo>
                    <a:cubicBezTo>
                      <a:pt x="22" y="66"/>
                      <a:pt x="24" y="65"/>
                      <a:pt x="25" y="65"/>
                    </a:cubicBezTo>
                    <a:cubicBezTo>
                      <a:pt x="27" y="65"/>
                      <a:pt x="27" y="68"/>
                      <a:pt x="28" y="68"/>
                    </a:cubicBezTo>
                    <a:cubicBezTo>
                      <a:pt x="29" y="68"/>
                      <a:pt x="30" y="66"/>
                      <a:pt x="31" y="65"/>
                    </a:cubicBezTo>
                    <a:cubicBezTo>
                      <a:pt x="32" y="63"/>
                      <a:pt x="36" y="66"/>
                      <a:pt x="37" y="64"/>
                    </a:cubicBezTo>
                    <a:cubicBezTo>
                      <a:pt x="39" y="59"/>
                      <a:pt x="38" y="54"/>
                      <a:pt x="44" y="52"/>
                    </a:cubicBezTo>
                    <a:cubicBezTo>
                      <a:pt x="46" y="51"/>
                      <a:pt x="49" y="51"/>
                      <a:pt x="52" y="51"/>
                    </a:cubicBezTo>
                    <a:cubicBezTo>
                      <a:pt x="55" y="51"/>
                      <a:pt x="57" y="52"/>
                      <a:pt x="59" y="54"/>
                    </a:cubicBezTo>
                    <a:cubicBezTo>
                      <a:pt x="60" y="51"/>
                      <a:pt x="64" y="43"/>
                      <a:pt x="61" y="42"/>
                    </a:cubicBezTo>
                    <a:cubicBezTo>
                      <a:pt x="60" y="41"/>
                      <a:pt x="62" y="42"/>
                      <a:pt x="61" y="4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7" name="Freeform 627">
                <a:extLst>
                  <a:ext uri="{FF2B5EF4-FFF2-40B4-BE49-F238E27FC236}">
                    <a16:creationId xmlns:a16="http://schemas.microsoft.com/office/drawing/2014/main" id="{D3D264EE-49A4-48CC-B073-274C32D47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65" y="4975252"/>
                <a:ext cx="210246" cy="207061"/>
              </a:xfrm>
              <a:custGeom>
                <a:avLst/>
                <a:gdLst>
                  <a:gd name="T0" fmla="*/ 40 w 45"/>
                  <a:gd name="T1" fmla="*/ 24 h 44"/>
                  <a:gd name="T2" fmla="*/ 36 w 45"/>
                  <a:gd name="T3" fmla="*/ 24 h 44"/>
                  <a:gd name="T4" fmla="*/ 36 w 45"/>
                  <a:gd name="T5" fmla="*/ 20 h 44"/>
                  <a:gd name="T6" fmla="*/ 34 w 45"/>
                  <a:gd name="T7" fmla="*/ 17 h 44"/>
                  <a:gd name="T8" fmla="*/ 29 w 45"/>
                  <a:gd name="T9" fmla="*/ 16 h 44"/>
                  <a:gd name="T10" fmla="*/ 25 w 45"/>
                  <a:gd name="T11" fmla="*/ 15 h 44"/>
                  <a:gd name="T12" fmla="*/ 25 w 45"/>
                  <a:gd name="T13" fmla="*/ 12 h 44"/>
                  <a:gd name="T14" fmla="*/ 24 w 45"/>
                  <a:gd name="T15" fmla="*/ 7 h 44"/>
                  <a:gd name="T16" fmla="*/ 21 w 45"/>
                  <a:gd name="T17" fmla="*/ 3 h 44"/>
                  <a:gd name="T18" fmla="*/ 14 w 45"/>
                  <a:gd name="T19" fmla="*/ 1 h 44"/>
                  <a:gd name="T20" fmla="*/ 5 w 45"/>
                  <a:gd name="T21" fmla="*/ 3 h 44"/>
                  <a:gd name="T22" fmla="*/ 2 w 45"/>
                  <a:gd name="T23" fmla="*/ 11 h 44"/>
                  <a:gd name="T24" fmla="*/ 1 w 45"/>
                  <a:gd name="T25" fmla="*/ 14 h 44"/>
                  <a:gd name="T26" fmla="*/ 2 w 45"/>
                  <a:gd name="T27" fmla="*/ 17 h 44"/>
                  <a:gd name="T28" fmla="*/ 9 w 45"/>
                  <a:gd name="T29" fmla="*/ 24 h 44"/>
                  <a:gd name="T30" fmla="*/ 13 w 45"/>
                  <a:gd name="T31" fmla="*/ 25 h 44"/>
                  <a:gd name="T32" fmla="*/ 17 w 45"/>
                  <a:gd name="T33" fmla="*/ 27 h 44"/>
                  <a:gd name="T34" fmla="*/ 25 w 45"/>
                  <a:gd name="T35" fmla="*/ 35 h 44"/>
                  <a:gd name="T36" fmla="*/ 22 w 45"/>
                  <a:gd name="T37" fmla="*/ 39 h 44"/>
                  <a:gd name="T38" fmla="*/ 20 w 45"/>
                  <a:gd name="T39" fmla="*/ 42 h 44"/>
                  <a:gd name="T40" fmla="*/ 28 w 45"/>
                  <a:gd name="T41" fmla="*/ 44 h 44"/>
                  <a:gd name="T42" fmla="*/ 32 w 45"/>
                  <a:gd name="T43" fmla="*/ 43 h 44"/>
                  <a:gd name="T44" fmla="*/ 37 w 45"/>
                  <a:gd name="T45" fmla="*/ 42 h 44"/>
                  <a:gd name="T46" fmla="*/ 40 w 45"/>
                  <a:gd name="T47" fmla="*/ 39 h 44"/>
                  <a:gd name="T48" fmla="*/ 41 w 45"/>
                  <a:gd name="T49" fmla="*/ 34 h 44"/>
                  <a:gd name="T50" fmla="*/ 40 w 45"/>
                  <a:gd name="T51" fmla="*/ 24 h 44"/>
                  <a:gd name="T52" fmla="*/ 40 w 45"/>
                  <a:gd name="T53" fmla="*/ 2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5" h="44">
                    <a:moveTo>
                      <a:pt x="40" y="24"/>
                    </a:moveTo>
                    <a:cubicBezTo>
                      <a:pt x="39" y="25"/>
                      <a:pt x="37" y="26"/>
                      <a:pt x="36" y="24"/>
                    </a:cubicBezTo>
                    <a:cubicBezTo>
                      <a:pt x="35" y="23"/>
                      <a:pt x="37" y="22"/>
                      <a:pt x="36" y="20"/>
                    </a:cubicBezTo>
                    <a:cubicBezTo>
                      <a:pt x="35" y="19"/>
                      <a:pt x="35" y="18"/>
                      <a:pt x="34" y="17"/>
                    </a:cubicBezTo>
                    <a:cubicBezTo>
                      <a:pt x="31" y="15"/>
                      <a:pt x="31" y="17"/>
                      <a:pt x="29" y="16"/>
                    </a:cubicBezTo>
                    <a:cubicBezTo>
                      <a:pt x="28" y="16"/>
                      <a:pt x="27" y="16"/>
                      <a:pt x="25" y="15"/>
                    </a:cubicBezTo>
                    <a:cubicBezTo>
                      <a:pt x="23" y="15"/>
                      <a:pt x="24" y="13"/>
                      <a:pt x="25" y="12"/>
                    </a:cubicBezTo>
                    <a:cubicBezTo>
                      <a:pt x="25" y="10"/>
                      <a:pt x="24" y="8"/>
                      <a:pt x="24" y="7"/>
                    </a:cubicBezTo>
                    <a:cubicBezTo>
                      <a:pt x="23" y="4"/>
                      <a:pt x="24" y="4"/>
                      <a:pt x="21" y="3"/>
                    </a:cubicBezTo>
                    <a:cubicBezTo>
                      <a:pt x="19" y="1"/>
                      <a:pt x="18" y="0"/>
                      <a:pt x="14" y="1"/>
                    </a:cubicBezTo>
                    <a:cubicBezTo>
                      <a:pt x="11" y="1"/>
                      <a:pt x="7" y="2"/>
                      <a:pt x="5" y="3"/>
                    </a:cubicBezTo>
                    <a:cubicBezTo>
                      <a:pt x="2" y="6"/>
                      <a:pt x="3" y="8"/>
                      <a:pt x="2" y="11"/>
                    </a:cubicBezTo>
                    <a:cubicBezTo>
                      <a:pt x="2" y="12"/>
                      <a:pt x="1" y="13"/>
                      <a:pt x="1" y="14"/>
                    </a:cubicBezTo>
                    <a:cubicBezTo>
                      <a:pt x="0" y="15"/>
                      <a:pt x="1" y="15"/>
                      <a:pt x="2" y="17"/>
                    </a:cubicBezTo>
                    <a:cubicBezTo>
                      <a:pt x="4" y="20"/>
                      <a:pt x="6" y="21"/>
                      <a:pt x="9" y="24"/>
                    </a:cubicBezTo>
                    <a:cubicBezTo>
                      <a:pt x="10" y="25"/>
                      <a:pt x="12" y="25"/>
                      <a:pt x="13" y="25"/>
                    </a:cubicBezTo>
                    <a:cubicBezTo>
                      <a:pt x="15" y="25"/>
                      <a:pt x="16" y="26"/>
                      <a:pt x="17" y="27"/>
                    </a:cubicBezTo>
                    <a:cubicBezTo>
                      <a:pt x="19" y="28"/>
                      <a:pt x="27" y="31"/>
                      <a:pt x="25" y="35"/>
                    </a:cubicBezTo>
                    <a:cubicBezTo>
                      <a:pt x="24" y="36"/>
                      <a:pt x="22" y="37"/>
                      <a:pt x="22" y="39"/>
                    </a:cubicBezTo>
                    <a:cubicBezTo>
                      <a:pt x="22" y="41"/>
                      <a:pt x="22" y="41"/>
                      <a:pt x="20" y="42"/>
                    </a:cubicBezTo>
                    <a:cubicBezTo>
                      <a:pt x="19" y="44"/>
                      <a:pt x="27" y="43"/>
                      <a:pt x="28" y="44"/>
                    </a:cubicBezTo>
                    <a:cubicBezTo>
                      <a:pt x="30" y="44"/>
                      <a:pt x="30" y="44"/>
                      <a:pt x="32" y="43"/>
                    </a:cubicBezTo>
                    <a:cubicBezTo>
                      <a:pt x="33" y="41"/>
                      <a:pt x="36" y="43"/>
                      <a:pt x="37" y="42"/>
                    </a:cubicBezTo>
                    <a:cubicBezTo>
                      <a:pt x="38" y="41"/>
                      <a:pt x="39" y="40"/>
                      <a:pt x="40" y="39"/>
                    </a:cubicBezTo>
                    <a:cubicBezTo>
                      <a:pt x="41" y="37"/>
                      <a:pt x="40" y="35"/>
                      <a:pt x="41" y="34"/>
                    </a:cubicBezTo>
                    <a:cubicBezTo>
                      <a:pt x="41" y="32"/>
                      <a:pt x="45" y="24"/>
                      <a:pt x="40" y="24"/>
                    </a:cubicBezTo>
                    <a:cubicBezTo>
                      <a:pt x="40" y="25"/>
                      <a:pt x="41" y="24"/>
                      <a:pt x="40" y="2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8" name="Freeform 628">
                <a:extLst>
                  <a:ext uri="{FF2B5EF4-FFF2-40B4-BE49-F238E27FC236}">
                    <a16:creationId xmlns:a16="http://schemas.microsoft.com/office/drawing/2014/main" id="{50AB7024-C193-4C7E-9AB8-50874F9201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21872" y="4400262"/>
                <a:ext cx="928586" cy="941329"/>
              </a:xfrm>
              <a:custGeom>
                <a:avLst/>
                <a:gdLst>
                  <a:gd name="T0" fmla="*/ 188 w 199"/>
                  <a:gd name="T1" fmla="*/ 51 h 201"/>
                  <a:gd name="T2" fmla="*/ 165 w 199"/>
                  <a:gd name="T3" fmla="*/ 41 h 201"/>
                  <a:gd name="T4" fmla="*/ 135 w 199"/>
                  <a:gd name="T5" fmla="*/ 30 h 201"/>
                  <a:gd name="T6" fmla="*/ 122 w 199"/>
                  <a:gd name="T7" fmla="*/ 36 h 201"/>
                  <a:gd name="T8" fmla="*/ 116 w 199"/>
                  <a:gd name="T9" fmla="*/ 29 h 201"/>
                  <a:gd name="T10" fmla="*/ 111 w 199"/>
                  <a:gd name="T11" fmla="*/ 33 h 201"/>
                  <a:gd name="T12" fmla="*/ 120 w 199"/>
                  <a:gd name="T13" fmla="*/ 23 h 201"/>
                  <a:gd name="T14" fmla="*/ 116 w 199"/>
                  <a:gd name="T15" fmla="*/ 8 h 201"/>
                  <a:gd name="T16" fmla="*/ 105 w 199"/>
                  <a:gd name="T17" fmla="*/ 15 h 201"/>
                  <a:gd name="T18" fmla="*/ 93 w 199"/>
                  <a:gd name="T19" fmla="*/ 14 h 201"/>
                  <a:gd name="T20" fmla="*/ 77 w 199"/>
                  <a:gd name="T21" fmla="*/ 19 h 201"/>
                  <a:gd name="T22" fmla="*/ 69 w 199"/>
                  <a:gd name="T23" fmla="*/ 1 h 201"/>
                  <a:gd name="T24" fmla="*/ 56 w 199"/>
                  <a:gd name="T25" fmla="*/ 7 h 201"/>
                  <a:gd name="T26" fmla="*/ 50 w 199"/>
                  <a:gd name="T27" fmla="*/ 11 h 201"/>
                  <a:gd name="T28" fmla="*/ 51 w 199"/>
                  <a:gd name="T29" fmla="*/ 16 h 201"/>
                  <a:gd name="T30" fmla="*/ 41 w 199"/>
                  <a:gd name="T31" fmla="*/ 22 h 201"/>
                  <a:gd name="T32" fmla="*/ 27 w 199"/>
                  <a:gd name="T33" fmla="*/ 18 h 201"/>
                  <a:gd name="T34" fmla="*/ 25 w 199"/>
                  <a:gd name="T35" fmla="*/ 21 h 201"/>
                  <a:gd name="T36" fmla="*/ 22 w 199"/>
                  <a:gd name="T37" fmla="*/ 39 h 201"/>
                  <a:gd name="T38" fmla="*/ 10 w 199"/>
                  <a:gd name="T39" fmla="*/ 49 h 201"/>
                  <a:gd name="T40" fmla="*/ 2 w 199"/>
                  <a:gd name="T41" fmla="*/ 66 h 201"/>
                  <a:gd name="T42" fmla="*/ 9 w 199"/>
                  <a:gd name="T43" fmla="*/ 75 h 201"/>
                  <a:gd name="T44" fmla="*/ 24 w 199"/>
                  <a:gd name="T45" fmla="*/ 81 h 201"/>
                  <a:gd name="T46" fmla="*/ 39 w 199"/>
                  <a:gd name="T47" fmla="*/ 76 h 201"/>
                  <a:gd name="T48" fmla="*/ 49 w 199"/>
                  <a:gd name="T49" fmla="*/ 88 h 201"/>
                  <a:gd name="T50" fmla="*/ 61 w 199"/>
                  <a:gd name="T51" fmla="*/ 94 h 201"/>
                  <a:gd name="T52" fmla="*/ 68 w 199"/>
                  <a:gd name="T53" fmla="*/ 102 h 201"/>
                  <a:gd name="T54" fmla="*/ 80 w 199"/>
                  <a:gd name="T55" fmla="*/ 114 h 201"/>
                  <a:gd name="T56" fmla="*/ 82 w 199"/>
                  <a:gd name="T57" fmla="*/ 135 h 201"/>
                  <a:gd name="T58" fmla="*/ 93 w 199"/>
                  <a:gd name="T59" fmla="*/ 145 h 201"/>
                  <a:gd name="T60" fmla="*/ 98 w 199"/>
                  <a:gd name="T61" fmla="*/ 157 h 201"/>
                  <a:gd name="T62" fmla="*/ 90 w 199"/>
                  <a:gd name="T63" fmla="*/ 173 h 201"/>
                  <a:gd name="T64" fmla="*/ 86 w 199"/>
                  <a:gd name="T65" fmla="*/ 181 h 201"/>
                  <a:gd name="T66" fmla="*/ 94 w 199"/>
                  <a:gd name="T67" fmla="*/ 187 h 201"/>
                  <a:gd name="T68" fmla="*/ 107 w 199"/>
                  <a:gd name="T69" fmla="*/ 197 h 201"/>
                  <a:gd name="T70" fmla="*/ 119 w 199"/>
                  <a:gd name="T71" fmla="*/ 180 h 201"/>
                  <a:gd name="T72" fmla="*/ 128 w 199"/>
                  <a:gd name="T73" fmla="*/ 157 h 201"/>
                  <a:gd name="T74" fmla="*/ 137 w 199"/>
                  <a:gd name="T75" fmla="*/ 149 h 201"/>
                  <a:gd name="T76" fmla="*/ 144 w 199"/>
                  <a:gd name="T77" fmla="*/ 147 h 201"/>
                  <a:gd name="T78" fmla="*/ 155 w 199"/>
                  <a:gd name="T79" fmla="*/ 142 h 201"/>
                  <a:gd name="T80" fmla="*/ 163 w 199"/>
                  <a:gd name="T81" fmla="*/ 139 h 201"/>
                  <a:gd name="T82" fmla="*/ 169 w 199"/>
                  <a:gd name="T83" fmla="*/ 130 h 201"/>
                  <a:gd name="T84" fmla="*/ 175 w 199"/>
                  <a:gd name="T85" fmla="*/ 116 h 201"/>
                  <a:gd name="T86" fmla="*/ 176 w 199"/>
                  <a:gd name="T87" fmla="*/ 98 h 201"/>
                  <a:gd name="T88" fmla="*/ 178 w 199"/>
                  <a:gd name="T89" fmla="*/ 91 h 201"/>
                  <a:gd name="T90" fmla="*/ 182 w 199"/>
                  <a:gd name="T91" fmla="*/ 86 h 201"/>
                  <a:gd name="T92" fmla="*/ 196 w 199"/>
                  <a:gd name="T93" fmla="*/ 57 h 201"/>
                  <a:gd name="T94" fmla="*/ 110 w 199"/>
                  <a:gd name="T95" fmla="*/ 190 h 201"/>
                  <a:gd name="T96" fmla="*/ 115 w 199"/>
                  <a:gd name="T97" fmla="*/ 18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9" h="201">
                    <a:moveTo>
                      <a:pt x="196" y="57"/>
                    </a:moveTo>
                    <a:cubicBezTo>
                      <a:pt x="195" y="55"/>
                      <a:pt x="195" y="53"/>
                      <a:pt x="194" y="52"/>
                    </a:cubicBezTo>
                    <a:cubicBezTo>
                      <a:pt x="192" y="51"/>
                      <a:pt x="189" y="52"/>
                      <a:pt x="188" y="51"/>
                    </a:cubicBezTo>
                    <a:cubicBezTo>
                      <a:pt x="183" y="50"/>
                      <a:pt x="180" y="46"/>
                      <a:pt x="177" y="44"/>
                    </a:cubicBezTo>
                    <a:cubicBezTo>
                      <a:pt x="175" y="43"/>
                      <a:pt x="173" y="42"/>
                      <a:pt x="172" y="41"/>
                    </a:cubicBezTo>
                    <a:cubicBezTo>
                      <a:pt x="169" y="40"/>
                      <a:pt x="168" y="41"/>
                      <a:pt x="165" y="41"/>
                    </a:cubicBezTo>
                    <a:cubicBezTo>
                      <a:pt x="161" y="42"/>
                      <a:pt x="157" y="37"/>
                      <a:pt x="153" y="39"/>
                    </a:cubicBezTo>
                    <a:cubicBezTo>
                      <a:pt x="150" y="40"/>
                      <a:pt x="147" y="35"/>
                      <a:pt x="145" y="34"/>
                    </a:cubicBezTo>
                    <a:cubicBezTo>
                      <a:pt x="142" y="32"/>
                      <a:pt x="138" y="30"/>
                      <a:pt x="135" y="30"/>
                    </a:cubicBezTo>
                    <a:cubicBezTo>
                      <a:pt x="133" y="29"/>
                      <a:pt x="131" y="29"/>
                      <a:pt x="130" y="30"/>
                    </a:cubicBezTo>
                    <a:cubicBezTo>
                      <a:pt x="129" y="33"/>
                      <a:pt x="126" y="34"/>
                      <a:pt x="125" y="36"/>
                    </a:cubicBezTo>
                    <a:cubicBezTo>
                      <a:pt x="123" y="39"/>
                      <a:pt x="124" y="38"/>
                      <a:pt x="122" y="36"/>
                    </a:cubicBezTo>
                    <a:cubicBezTo>
                      <a:pt x="122" y="36"/>
                      <a:pt x="121" y="35"/>
                      <a:pt x="121" y="35"/>
                    </a:cubicBezTo>
                    <a:cubicBezTo>
                      <a:pt x="119" y="34"/>
                      <a:pt x="120" y="36"/>
                      <a:pt x="119" y="37"/>
                    </a:cubicBezTo>
                    <a:cubicBezTo>
                      <a:pt x="118" y="38"/>
                      <a:pt x="115" y="29"/>
                      <a:pt x="116" y="29"/>
                    </a:cubicBezTo>
                    <a:cubicBezTo>
                      <a:pt x="116" y="29"/>
                      <a:pt x="113" y="33"/>
                      <a:pt x="112" y="33"/>
                    </a:cubicBezTo>
                    <a:cubicBezTo>
                      <a:pt x="112" y="33"/>
                      <a:pt x="116" y="30"/>
                      <a:pt x="115" y="29"/>
                    </a:cubicBezTo>
                    <a:cubicBezTo>
                      <a:pt x="113" y="28"/>
                      <a:pt x="113" y="33"/>
                      <a:pt x="111" y="33"/>
                    </a:cubicBezTo>
                    <a:cubicBezTo>
                      <a:pt x="111" y="33"/>
                      <a:pt x="115" y="27"/>
                      <a:pt x="115" y="26"/>
                    </a:cubicBezTo>
                    <a:cubicBezTo>
                      <a:pt x="115" y="25"/>
                      <a:pt x="117" y="25"/>
                      <a:pt x="117" y="24"/>
                    </a:cubicBezTo>
                    <a:cubicBezTo>
                      <a:pt x="118" y="23"/>
                      <a:pt x="119" y="25"/>
                      <a:pt x="120" y="23"/>
                    </a:cubicBezTo>
                    <a:cubicBezTo>
                      <a:pt x="121" y="22"/>
                      <a:pt x="120" y="22"/>
                      <a:pt x="120" y="20"/>
                    </a:cubicBezTo>
                    <a:cubicBezTo>
                      <a:pt x="121" y="19"/>
                      <a:pt x="121" y="17"/>
                      <a:pt x="119" y="16"/>
                    </a:cubicBezTo>
                    <a:cubicBezTo>
                      <a:pt x="116" y="15"/>
                      <a:pt x="116" y="11"/>
                      <a:pt x="116" y="8"/>
                    </a:cubicBezTo>
                    <a:cubicBezTo>
                      <a:pt x="116" y="7"/>
                      <a:pt x="115" y="6"/>
                      <a:pt x="114" y="5"/>
                    </a:cubicBezTo>
                    <a:cubicBezTo>
                      <a:pt x="113" y="4"/>
                      <a:pt x="112" y="7"/>
                      <a:pt x="111" y="8"/>
                    </a:cubicBezTo>
                    <a:cubicBezTo>
                      <a:pt x="110" y="11"/>
                      <a:pt x="108" y="15"/>
                      <a:pt x="105" y="15"/>
                    </a:cubicBezTo>
                    <a:cubicBezTo>
                      <a:pt x="104" y="15"/>
                      <a:pt x="103" y="14"/>
                      <a:pt x="101" y="14"/>
                    </a:cubicBezTo>
                    <a:cubicBezTo>
                      <a:pt x="100" y="14"/>
                      <a:pt x="99" y="15"/>
                      <a:pt x="98" y="14"/>
                    </a:cubicBezTo>
                    <a:cubicBezTo>
                      <a:pt x="96" y="13"/>
                      <a:pt x="95" y="14"/>
                      <a:pt x="93" y="14"/>
                    </a:cubicBezTo>
                    <a:cubicBezTo>
                      <a:pt x="91" y="14"/>
                      <a:pt x="92" y="14"/>
                      <a:pt x="91" y="16"/>
                    </a:cubicBezTo>
                    <a:cubicBezTo>
                      <a:pt x="90" y="17"/>
                      <a:pt x="85" y="16"/>
                      <a:pt x="84" y="17"/>
                    </a:cubicBezTo>
                    <a:cubicBezTo>
                      <a:pt x="82" y="17"/>
                      <a:pt x="79" y="19"/>
                      <a:pt x="77" y="19"/>
                    </a:cubicBezTo>
                    <a:cubicBezTo>
                      <a:pt x="74" y="19"/>
                      <a:pt x="72" y="15"/>
                      <a:pt x="72" y="13"/>
                    </a:cubicBezTo>
                    <a:cubicBezTo>
                      <a:pt x="70" y="10"/>
                      <a:pt x="74" y="8"/>
                      <a:pt x="73" y="5"/>
                    </a:cubicBezTo>
                    <a:cubicBezTo>
                      <a:pt x="72" y="3"/>
                      <a:pt x="71" y="0"/>
                      <a:pt x="69" y="1"/>
                    </a:cubicBezTo>
                    <a:cubicBezTo>
                      <a:pt x="69" y="2"/>
                      <a:pt x="62" y="5"/>
                      <a:pt x="61" y="5"/>
                    </a:cubicBezTo>
                    <a:cubicBezTo>
                      <a:pt x="60" y="5"/>
                      <a:pt x="58" y="5"/>
                      <a:pt x="58" y="6"/>
                    </a:cubicBezTo>
                    <a:cubicBezTo>
                      <a:pt x="57" y="6"/>
                      <a:pt x="57" y="9"/>
                      <a:pt x="56" y="7"/>
                    </a:cubicBezTo>
                    <a:cubicBezTo>
                      <a:pt x="55" y="6"/>
                      <a:pt x="47" y="5"/>
                      <a:pt x="47" y="6"/>
                    </a:cubicBezTo>
                    <a:cubicBezTo>
                      <a:pt x="47" y="6"/>
                      <a:pt x="49" y="7"/>
                      <a:pt x="49" y="7"/>
                    </a:cubicBezTo>
                    <a:cubicBezTo>
                      <a:pt x="50" y="8"/>
                      <a:pt x="50" y="9"/>
                      <a:pt x="50" y="11"/>
                    </a:cubicBezTo>
                    <a:cubicBezTo>
                      <a:pt x="51" y="11"/>
                      <a:pt x="51" y="13"/>
                      <a:pt x="52" y="14"/>
                    </a:cubicBezTo>
                    <a:cubicBezTo>
                      <a:pt x="52" y="14"/>
                      <a:pt x="54" y="14"/>
                      <a:pt x="54" y="14"/>
                    </a:cubicBezTo>
                    <a:cubicBezTo>
                      <a:pt x="54" y="15"/>
                      <a:pt x="52" y="16"/>
                      <a:pt x="51" y="16"/>
                    </a:cubicBezTo>
                    <a:cubicBezTo>
                      <a:pt x="50" y="17"/>
                      <a:pt x="50" y="18"/>
                      <a:pt x="49" y="19"/>
                    </a:cubicBezTo>
                    <a:cubicBezTo>
                      <a:pt x="49" y="19"/>
                      <a:pt x="44" y="23"/>
                      <a:pt x="43" y="22"/>
                    </a:cubicBezTo>
                    <a:cubicBezTo>
                      <a:pt x="43" y="21"/>
                      <a:pt x="42" y="21"/>
                      <a:pt x="41" y="22"/>
                    </a:cubicBezTo>
                    <a:cubicBezTo>
                      <a:pt x="40" y="23"/>
                      <a:pt x="38" y="21"/>
                      <a:pt x="38" y="21"/>
                    </a:cubicBezTo>
                    <a:cubicBezTo>
                      <a:pt x="36" y="20"/>
                      <a:pt x="35" y="16"/>
                      <a:pt x="34" y="16"/>
                    </a:cubicBezTo>
                    <a:cubicBezTo>
                      <a:pt x="32" y="15"/>
                      <a:pt x="29" y="18"/>
                      <a:pt x="27" y="18"/>
                    </a:cubicBezTo>
                    <a:cubicBezTo>
                      <a:pt x="25" y="18"/>
                      <a:pt x="23" y="18"/>
                      <a:pt x="21" y="18"/>
                    </a:cubicBezTo>
                    <a:cubicBezTo>
                      <a:pt x="21" y="18"/>
                      <a:pt x="21" y="20"/>
                      <a:pt x="22" y="20"/>
                    </a:cubicBezTo>
                    <a:cubicBezTo>
                      <a:pt x="22" y="21"/>
                      <a:pt x="24" y="21"/>
                      <a:pt x="25" y="21"/>
                    </a:cubicBezTo>
                    <a:cubicBezTo>
                      <a:pt x="25" y="22"/>
                      <a:pt x="21" y="23"/>
                      <a:pt x="20" y="23"/>
                    </a:cubicBezTo>
                    <a:cubicBezTo>
                      <a:pt x="19" y="24"/>
                      <a:pt x="21" y="27"/>
                      <a:pt x="22" y="28"/>
                    </a:cubicBezTo>
                    <a:cubicBezTo>
                      <a:pt x="24" y="32"/>
                      <a:pt x="24" y="35"/>
                      <a:pt x="22" y="39"/>
                    </a:cubicBezTo>
                    <a:cubicBezTo>
                      <a:pt x="22" y="41"/>
                      <a:pt x="22" y="47"/>
                      <a:pt x="20" y="47"/>
                    </a:cubicBezTo>
                    <a:cubicBezTo>
                      <a:pt x="19" y="48"/>
                      <a:pt x="17" y="47"/>
                      <a:pt x="15" y="48"/>
                    </a:cubicBezTo>
                    <a:cubicBezTo>
                      <a:pt x="14" y="49"/>
                      <a:pt x="11" y="49"/>
                      <a:pt x="10" y="49"/>
                    </a:cubicBezTo>
                    <a:cubicBezTo>
                      <a:pt x="5" y="51"/>
                      <a:pt x="5" y="53"/>
                      <a:pt x="5" y="57"/>
                    </a:cubicBezTo>
                    <a:cubicBezTo>
                      <a:pt x="5" y="59"/>
                      <a:pt x="2" y="59"/>
                      <a:pt x="2" y="60"/>
                    </a:cubicBezTo>
                    <a:cubicBezTo>
                      <a:pt x="2" y="63"/>
                      <a:pt x="0" y="64"/>
                      <a:pt x="2" y="66"/>
                    </a:cubicBezTo>
                    <a:cubicBezTo>
                      <a:pt x="4" y="68"/>
                      <a:pt x="4" y="70"/>
                      <a:pt x="5" y="72"/>
                    </a:cubicBezTo>
                    <a:cubicBezTo>
                      <a:pt x="5" y="73"/>
                      <a:pt x="6" y="73"/>
                      <a:pt x="7" y="73"/>
                    </a:cubicBezTo>
                    <a:cubicBezTo>
                      <a:pt x="8" y="73"/>
                      <a:pt x="8" y="74"/>
                      <a:pt x="9" y="75"/>
                    </a:cubicBezTo>
                    <a:cubicBezTo>
                      <a:pt x="11" y="78"/>
                      <a:pt x="16" y="75"/>
                      <a:pt x="18" y="73"/>
                    </a:cubicBezTo>
                    <a:cubicBezTo>
                      <a:pt x="18" y="76"/>
                      <a:pt x="16" y="81"/>
                      <a:pt x="19" y="82"/>
                    </a:cubicBezTo>
                    <a:cubicBezTo>
                      <a:pt x="20" y="82"/>
                      <a:pt x="23" y="81"/>
                      <a:pt x="24" y="81"/>
                    </a:cubicBezTo>
                    <a:cubicBezTo>
                      <a:pt x="27" y="82"/>
                      <a:pt x="28" y="82"/>
                      <a:pt x="30" y="80"/>
                    </a:cubicBezTo>
                    <a:cubicBezTo>
                      <a:pt x="30" y="79"/>
                      <a:pt x="32" y="79"/>
                      <a:pt x="33" y="79"/>
                    </a:cubicBezTo>
                    <a:cubicBezTo>
                      <a:pt x="35" y="77"/>
                      <a:pt x="37" y="76"/>
                      <a:pt x="39" y="76"/>
                    </a:cubicBezTo>
                    <a:cubicBezTo>
                      <a:pt x="41" y="75"/>
                      <a:pt x="46" y="73"/>
                      <a:pt x="44" y="77"/>
                    </a:cubicBezTo>
                    <a:cubicBezTo>
                      <a:pt x="44" y="79"/>
                      <a:pt x="43" y="81"/>
                      <a:pt x="44" y="83"/>
                    </a:cubicBezTo>
                    <a:cubicBezTo>
                      <a:pt x="45" y="85"/>
                      <a:pt x="47" y="87"/>
                      <a:pt x="49" y="88"/>
                    </a:cubicBezTo>
                    <a:cubicBezTo>
                      <a:pt x="51" y="90"/>
                      <a:pt x="54" y="89"/>
                      <a:pt x="56" y="90"/>
                    </a:cubicBezTo>
                    <a:cubicBezTo>
                      <a:pt x="57" y="91"/>
                      <a:pt x="58" y="92"/>
                      <a:pt x="59" y="92"/>
                    </a:cubicBezTo>
                    <a:cubicBezTo>
                      <a:pt x="60" y="92"/>
                      <a:pt x="61" y="93"/>
                      <a:pt x="61" y="94"/>
                    </a:cubicBezTo>
                    <a:cubicBezTo>
                      <a:pt x="63" y="94"/>
                      <a:pt x="68" y="93"/>
                      <a:pt x="68" y="96"/>
                    </a:cubicBezTo>
                    <a:cubicBezTo>
                      <a:pt x="69" y="98"/>
                      <a:pt x="68" y="98"/>
                      <a:pt x="69" y="100"/>
                    </a:cubicBezTo>
                    <a:cubicBezTo>
                      <a:pt x="70" y="101"/>
                      <a:pt x="69" y="101"/>
                      <a:pt x="68" y="102"/>
                    </a:cubicBezTo>
                    <a:cubicBezTo>
                      <a:pt x="68" y="102"/>
                      <a:pt x="70" y="107"/>
                      <a:pt x="70" y="108"/>
                    </a:cubicBezTo>
                    <a:cubicBezTo>
                      <a:pt x="70" y="109"/>
                      <a:pt x="78" y="108"/>
                      <a:pt x="79" y="108"/>
                    </a:cubicBezTo>
                    <a:cubicBezTo>
                      <a:pt x="79" y="110"/>
                      <a:pt x="78" y="113"/>
                      <a:pt x="80" y="114"/>
                    </a:cubicBezTo>
                    <a:cubicBezTo>
                      <a:pt x="83" y="116"/>
                      <a:pt x="83" y="118"/>
                      <a:pt x="82" y="122"/>
                    </a:cubicBezTo>
                    <a:cubicBezTo>
                      <a:pt x="81" y="124"/>
                      <a:pt x="80" y="127"/>
                      <a:pt x="81" y="130"/>
                    </a:cubicBezTo>
                    <a:cubicBezTo>
                      <a:pt x="81" y="131"/>
                      <a:pt x="82" y="133"/>
                      <a:pt x="82" y="135"/>
                    </a:cubicBezTo>
                    <a:cubicBezTo>
                      <a:pt x="82" y="136"/>
                      <a:pt x="80" y="138"/>
                      <a:pt x="82" y="138"/>
                    </a:cubicBezTo>
                    <a:cubicBezTo>
                      <a:pt x="83" y="139"/>
                      <a:pt x="86" y="140"/>
                      <a:pt x="88" y="139"/>
                    </a:cubicBezTo>
                    <a:cubicBezTo>
                      <a:pt x="90" y="137"/>
                      <a:pt x="94" y="144"/>
                      <a:pt x="93" y="145"/>
                    </a:cubicBezTo>
                    <a:cubicBezTo>
                      <a:pt x="93" y="146"/>
                      <a:pt x="93" y="147"/>
                      <a:pt x="94" y="148"/>
                    </a:cubicBezTo>
                    <a:cubicBezTo>
                      <a:pt x="95" y="149"/>
                      <a:pt x="97" y="147"/>
                      <a:pt x="98" y="148"/>
                    </a:cubicBezTo>
                    <a:cubicBezTo>
                      <a:pt x="102" y="150"/>
                      <a:pt x="98" y="154"/>
                      <a:pt x="98" y="157"/>
                    </a:cubicBezTo>
                    <a:cubicBezTo>
                      <a:pt x="100" y="154"/>
                      <a:pt x="102" y="160"/>
                      <a:pt x="102" y="160"/>
                    </a:cubicBezTo>
                    <a:cubicBezTo>
                      <a:pt x="103" y="164"/>
                      <a:pt x="101" y="165"/>
                      <a:pt x="98" y="166"/>
                    </a:cubicBezTo>
                    <a:cubicBezTo>
                      <a:pt x="94" y="168"/>
                      <a:pt x="92" y="170"/>
                      <a:pt x="90" y="173"/>
                    </a:cubicBezTo>
                    <a:cubicBezTo>
                      <a:pt x="89" y="175"/>
                      <a:pt x="88" y="176"/>
                      <a:pt x="86" y="177"/>
                    </a:cubicBezTo>
                    <a:cubicBezTo>
                      <a:pt x="85" y="179"/>
                      <a:pt x="83" y="180"/>
                      <a:pt x="81" y="182"/>
                    </a:cubicBezTo>
                    <a:cubicBezTo>
                      <a:pt x="83" y="182"/>
                      <a:pt x="85" y="181"/>
                      <a:pt x="86" y="181"/>
                    </a:cubicBezTo>
                    <a:cubicBezTo>
                      <a:pt x="87" y="181"/>
                      <a:pt x="88" y="183"/>
                      <a:pt x="89" y="183"/>
                    </a:cubicBezTo>
                    <a:cubicBezTo>
                      <a:pt x="89" y="184"/>
                      <a:pt x="90" y="185"/>
                      <a:pt x="91" y="186"/>
                    </a:cubicBezTo>
                    <a:cubicBezTo>
                      <a:pt x="92" y="187"/>
                      <a:pt x="93" y="186"/>
                      <a:pt x="94" y="187"/>
                    </a:cubicBezTo>
                    <a:cubicBezTo>
                      <a:pt x="96" y="189"/>
                      <a:pt x="100" y="190"/>
                      <a:pt x="101" y="193"/>
                    </a:cubicBezTo>
                    <a:cubicBezTo>
                      <a:pt x="102" y="195"/>
                      <a:pt x="103" y="199"/>
                      <a:pt x="104" y="201"/>
                    </a:cubicBezTo>
                    <a:cubicBezTo>
                      <a:pt x="105" y="200"/>
                      <a:pt x="106" y="199"/>
                      <a:pt x="107" y="197"/>
                    </a:cubicBezTo>
                    <a:cubicBezTo>
                      <a:pt x="107" y="196"/>
                      <a:pt x="108" y="194"/>
                      <a:pt x="109" y="193"/>
                    </a:cubicBezTo>
                    <a:cubicBezTo>
                      <a:pt x="110" y="190"/>
                      <a:pt x="113" y="189"/>
                      <a:pt x="116" y="187"/>
                    </a:cubicBezTo>
                    <a:cubicBezTo>
                      <a:pt x="118" y="185"/>
                      <a:pt x="118" y="183"/>
                      <a:pt x="119" y="180"/>
                    </a:cubicBezTo>
                    <a:cubicBezTo>
                      <a:pt x="121" y="176"/>
                      <a:pt x="124" y="175"/>
                      <a:pt x="126" y="172"/>
                    </a:cubicBezTo>
                    <a:cubicBezTo>
                      <a:pt x="129" y="169"/>
                      <a:pt x="126" y="165"/>
                      <a:pt x="127" y="161"/>
                    </a:cubicBezTo>
                    <a:cubicBezTo>
                      <a:pt x="128" y="160"/>
                      <a:pt x="128" y="159"/>
                      <a:pt x="128" y="157"/>
                    </a:cubicBezTo>
                    <a:cubicBezTo>
                      <a:pt x="128" y="156"/>
                      <a:pt x="128" y="156"/>
                      <a:pt x="129" y="156"/>
                    </a:cubicBezTo>
                    <a:cubicBezTo>
                      <a:pt x="131" y="155"/>
                      <a:pt x="132" y="153"/>
                      <a:pt x="133" y="152"/>
                    </a:cubicBezTo>
                    <a:cubicBezTo>
                      <a:pt x="134" y="151"/>
                      <a:pt x="135" y="150"/>
                      <a:pt x="137" y="149"/>
                    </a:cubicBezTo>
                    <a:cubicBezTo>
                      <a:pt x="138" y="149"/>
                      <a:pt x="139" y="148"/>
                      <a:pt x="141" y="147"/>
                    </a:cubicBezTo>
                    <a:cubicBezTo>
                      <a:pt x="142" y="147"/>
                      <a:pt x="143" y="148"/>
                      <a:pt x="144" y="148"/>
                    </a:cubicBezTo>
                    <a:cubicBezTo>
                      <a:pt x="145" y="148"/>
                      <a:pt x="144" y="147"/>
                      <a:pt x="144" y="147"/>
                    </a:cubicBezTo>
                    <a:cubicBezTo>
                      <a:pt x="143" y="146"/>
                      <a:pt x="147" y="145"/>
                      <a:pt x="147" y="145"/>
                    </a:cubicBezTo>
                    <a:cubicBezTo>
                      <a:pt x="147" y="145"/>
                      <a:pt x="149" y="142"/>
                      <a:pt x="149" y="143"/>
                    </a:cubicBezTo>
                    <a:cubicBezTo>
                      <a:pt x="150" y="144"/>
                      <a:pt x="155" y="142"/>
                      <a:pt x="155" y="142"/>
                    </a:cubicBezTo>
                    <a:cubicBezTo>
                      <a:pt x="156" y="142"/>
                      <a:pt x="155" y="143"/>
                      <a:pt x="156" y="143"/>
                    </a:cubicBezTo>
                    <a:cubicBezTo>
                      <a:pt x="157" y="143"/>
                      <a:pt x="160" y="143"/>
                      <a:pt x="161" y="142"/>
                    </a:cubicBezTo>
                    <a:cubicBezTo>
                      <a:pt x="162" y="141"/>
                      <a:pt x="162" y="140"/>
                      <a:pt x="163" y="139"/>
                    </a:cubicBezTo>
                    <a:cubicBezTo>
                      <a:pt x="164" y="139"/>
                      <a:pt x="165" y="138"/>
                      <a:pt x="165" y="137"/>
                    </a:cubicBezTo>
                    <a:cubicBezTo>
                      <a:pt x="166" y="136"/>
                      <a:pt x="165" y="134"/>
                      <a:pt x="166" y="133"/>
                    </a:cubicBezTo>
                    <a:cubicBezTo>
                      <a:pt x="167" y="132"/>
                      <a:pt x="168" y="131"/>
                      <a:pt x="169" y="130"/>
                    </a:cubicBezTo>
                    <a:cubicBezTo>
                      <a:pt x="171" y="127"/>
                      <a:pt x="172" y="126"/>
                      <a:pt x="172" y="123"/>
                    </a:cubicBezTo>
                    <a:cubicBezTo>
                      <a:pt x="172" y="121"/>
                      <a:pt x="172" y="120"/>
                      <a:pt x="173" y="118"/>
                    </a:cubicBezTo>
                    <a:cubicBezTo>
                      <a:pt x="173" y="117"/>
                      <a:pt x="174" y="117"/>
                      <a:pt x="175" y="116"/>
                    </a:cubicBezTo>
                    <a:cubicBezTo>
                      <a:pt x="176" y="115"/>
                      <a:pt x="175" y="113"/>
                      <a:pt x="175" y="112"/>
                    </a:cubicBezTo>
                    <a:cubicBezTo>
                      <a:pt x="175" y="110"/>
                      <a:pt x="176" y="109"/>
                      <a:pt x="176" y="107"/>
                    </a:cubicBezTo>
                    <a:cubicBezTo>
                      <a:pt x="177" y="104"/>
                      <a:pt x="176" y="101"/>
                      <a:pt x="176" y="98"/>
                    </a:cubicBezTo>
                    <a:cubicBezTo>
                      <a:pt x="176" y="96"/>
                      <a:pt x="175" y="94"/>
                      <a:pt x="176" y="93"/>
                    </a:cubicBezTo>
                    <a:cubicBezTo>
                      <a:pt x="177" y="91"/>
                      <a:pt x="176" y="92"/>
                      <a:pt x="176" y="90"/>
                    </a:cubicBezTo>
                    <a:cubicBezTo>
                      <a:pt x="176" y="90"/>
                      <a:pt x="178" y="91"/>
                      <a:pt x="178" y="91"/>
                    </a:cubicBezTo>
                    <a:cubicBezTo>
                      <a:pt x="178" y="91"/>
                      <a:pt x="178" y="90"/>
                      <a:pt x="178" y="90"/>
                    </a:cubicBezTo>
                    <a:cubicBezTo>
                      <a:pt x="178" y="90"/>
                      <a:pt x="179" y="90"/>
                      <a:pt x="179" y="90"/>
                    </a:cubicBezTo>
                    <a:cubicBezTo>
                      <a:pt x="181" y="90"/>
                      <a:pt x="182" y="87"/>
                      <a:pt x="182" y="86"/>
                    </a:cubicBezTo>
                    <a:cubicBezTo>
                      <a:pt x="183" y="85"/>
                      <a:pt x="184" y="83"/>
                      <a:pt x="185" y="81"/>
                    </a:cubicBezTo>
                    <a:cubicBezTo>
                      <a:pt x="187" y="79"/>
                      <a:pt x="189" y="79"/>
                      <a:pt x="190" y="77"/>
                    </a:cubicBezTo>
                    <a:cubicBezTo>
                      <a:pt x="195" y="71"/>
                      <a:pt x="199" y="64"/>
                      <a:pt x="196" y="57"/>
                    </a:cubicBezTo>
                    <a:cubicBezTo>
                      <a:pt x="194" y="53"/>
                      <a:pt x="198" y="60"/>
                      <a:pt x="196" y="57"/>
                    </a:cubicBezTo>
                    <a:close/>
                    <a:moveTo>
                      <a:pt x="115" y="186"/>
                    </a:moveTo>
                    <a:cubicBezTo>
                      <a:pt x="113" y="187"/>
                      <a:pt x="112" y="189"/>
                      <a:pt x="110" y="190"/>
                    </a:cubicBezTo>
                    <a:cubicBezTo>
                      <a:pt x="107" y="191"/>
                      <a:pt x="112" y="188"/>
                      <a:pt x="112" y="187"/>
                    </a:cubicBezTo>
                    <a:cubicBezTo>
                      <a:pt x="113" y="186"/>
                      <a:pt x="114" y="184"/>
                      <a:pt x="116" y="182"/>
                    </a:cubicBezTo>
                    <a:cubicBezTo>
                      <a:pt x="118" y="180"/>
                      <a:pt x="117" y="184"/>
                      <a:pt x="115" y="186"/>
                    </a:cubicBezTo>
                    <a:cubicBezTo>
                      <a:pt x="115" y="186"/>
                      <a:pt x="116" y="185"/>
                      <a:pt x="115" y="18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9" name="Freeform 629">
                <a:extLst>
                  <a:ext uri="{FF2B5EF4-FFF2-40B4-BE49-F238E27FC236}">
                    <a16:creationId xmlns:a16="http://schemas.microsoft.com/office/drawing/2014/main" id="{CDFCDBDE-6ACC-44FC-A158-B15AFE1134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1837" y="5242837"/>
                <a:ext cx="125828" cy="130608"/>
              </a:xfrm>
              <a:custGeom>
                <a:avLst/>
                <a:gdLst>
                  <a:gd name="T0" fmla="*/ 21 w 27"/>
                  <a:gd name="T1" fmla="*/ 10 h 28"/>
                  <a:gd name="T2" fmla="*/ 17 w 27"/>
                  <a:gd name="T3" fmla="*/ 7 h 28"/>
                  <a:gd name="T4" fmla="*/ 14 w 27"/>
                  <a:gd name="T5" fmla="*/ 6 h 28"/>
                  <a:gd name="T6" fmla="*/ 11 w 27"/>
                  <a:gd name="T7" fmla="*/ 3 h 28"/>
                  <a:gd name="T8" fmla="*/ 6 w 27"/>
                  <a:gd name="T9" fmla="*/ 2 h 28"/>
                  <a:gd name="T10" fmla="*/ 4 w 27"/>
                  <a:gd name="T11" fmla="*/ 3 h 28"/>
                  <a:gd name="T12" fmla="*/ 3 w 27"/>
                  <a:gd name="T13" fmla="*/ 6 h 28"/>
                  <a:gd name="T14" fmla="*/ 3 w 27"/>
                  <a:gd name="T15" fmla="*/ 12 h 28"/>
                  <a:gd name="T16" fmla="*/ 2 w 27"/>
                  <a:gd name="T17" fmla="*/ 17 h 28"/>
                  <a:gd name="T18" fmla="*/ 1 w 27"/>
                  <a:gd name="T19" fmla="*/ 22 h 28"/>
                  <a:gd name="T20" fmla="*/ 4 w 27"/>
                  <a:gd name="T21" fmla="*/ 25 h 28"/>
                  <a:gd name="T22" fmla="*/ 9 w 27"/>
                  <a:gd name="T23" fmla="*/ 26 h 28"/>
                  <a:gd name="T24" fmla="*/ 13 w 27"/>
                  <a:gd name="T25" fmla="*/ 28 h 28"/>
                  <a:gd name="T26" fmla="*/ 19 w 27"/>
                  <a:gd name="T27" fmla="*/ 28 h 28"/>
                  <a:gd name="T28" fmla="*/ 24 w 27"/>
                  <a:gd name="T29" fmla="*/ 25 h 28"/>
                  <a:gd name="T30" fmla="*/ 26 w 27"/>
                  <a:gd name="T31" fmla="*/ 19 h 28"/>
                  <a:gd name="T32" fmla="*/ 24 w 27"/>
                  <a:gd name="T33" fmla="*/ 14 h 28"/>
                  <a:gd name="T34" fmla="*/ 21 w 27"/>
                  <a:gd name="T35" fmla="*/ 10 h 28"/>
                  <a:gd name="T36" fmla="*/ 21 w 27"/>
                  <a:gd name="T37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28">
                    <a:moveTo>
                      <a:pt x="21" y="10"/>
                    </a:moveTo>
                    <a:cubicBezTo>
                      <a:pt x="20" y="8"/>
                      <a:pt x="18" y="8"/>
                      <a:pt x="17" y="7"/>
                    </a:cubicBezTo>
                    <a:cubicBezTo>
                      <a:pt x="16" y="6"/>
                      <a:pt x="15" y="7"/>
                      <a:pt x="14" y="6"/>
                    </a:cubicBezTo>
                    <a:cubicBezTo>
                      <a:pt x="13" y="5"/>
                      <a:pt x="12" y="4"/>
                      <a:pt x="11" y="3"/>
                    </a:cubicBezTo>
                    <a:cubicBezTo>
                      <a:pt x="10" y="0"/>
                      <a:pt x="9" y="1"/>
                      <a:pt x="6" y="2"/>
                    </a:cubicBezTo>
                    <a:cubicBezTo>
                      <a:pt x="5" y="2"/>
                      <a:pt x="5" y="1"/>
                      <a:pt x="4" y="3"/>
                    </a:cubicBezTo>
                    <a:cubicBezTo>
                      <a:pt x="3" y="4"/>
                      <a:pt x="3" y="5"/>
                      <a:pt x="3" y="6"/>
                    </a:cubicBezTo>
                    <a:cubicBezTo>
                      <a:pt x="3" y="8"/>
                      <a:pt x="3" y="10"/>
                      <a:pt x="3" y="12"/>
                    </a:cubicBezTo>
                    <a:cubicBezTo>
                      <a:pt x="3" y="13"/>
                      <a:pt x="3" y="15"/>
                      <a:pt x="2" y="17"/>
                    </a:cubicBezTo>
                    <a:cubicBezTo>
                      <a:pt x="0" y="19"/>
                      <a:pt x="0" y="19"/>
                      <a:pt x="1" y="22"/>
                    </a:cubicBezTo>
                    <a:cubicBezTo>
                      <a:pt x="2" y="24"/>
                      <a:pt x="2" y="24"/>
                      <a:pt x="4" y="25"/>
                    </a:cubicBezTo>
                    <a:cubicBezTo>
                      <a:pt x="6" y="25"/>
                      <a:pt x="8" y="25"/>
                      <a:pt x="9" y="26"/>
                    </a:cubicBezTo>
                    <a:cubicBezTo>
                      <a:pt x="10" y="26"/>
                      <a:pt x="12" y="28"/>
                      <a:pt x="13" y="28"/>
                    </a:cubicBezTo>
                    <a:cubicBezTo>
                      <a:pt x="15" y="27"/>
                      <a:pt x="17" y="28"/>
                      <a:pt x="19" y="28"/>
                    </a:cubicBezTo>
                    <a:cubicBezTo>
                      <a:pt x="20" y="28"/>
                      <a:pt x="23" y="26"/>
                      <a:pt x="24" y="25"/>
                    </a:cubicBezTo>
                    <a:cubicBezTo>
                      <a:pt x="26" y="23"/>
                      <a:pt x="27" y="21"/>
                      <a:pt x="26" y="19"/>
                    </a:cubicBezTo>
                    <a:cubicBezTo>
                      <a:pt x="25" y="17"/>
                      <a:pt x="25" y="16"/>
                      <a:pt x="24" y="14"/>
                    </a:cubicBezTo>
                    <a:cubicBezTo>
                      <a:pt x="24" y="12"/>
                      <a:pt x="23" y="11"/>
                      <a:pt x="21" y="10"/>
                    </a:cubicBezTo>
                    <a:cubicBezTo>
                      <a:pt x="20" y="9"/>
                      <a:pt x="22" y="10"/>
                      <a:pt x="21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0" name="Freeform 630">
                <a:extLst>
                  <a:ext uri="{FF2B5EF4-FFF2-40B4-BE49-F238E27FC236}">
                    <a16:creationId xmlns:a16="http://schemas.microsoft.com/office/drawing/2014/main" id="{10FABF97-E2C1-403C-BB1C-3CDD1A270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872" y="5037370"/>
                <a:ext cx="481017" cy="836206"/>
              </a:xfrm>
              <a:custGeom>
                <a:avLst/>
                <a:gdLst>
                  <a:gd name="T0" fmla="*/ 80 w 103"/>
                  <a:gd name="T1" fmla="*/ 52 h 179"/>
                  <a:gd name="T2" fmla="*/ 85 w 103"/>
                  <a:gd name="T3" fmla="*/ 42 h 179"/>
                  <a:gd name="T4" fmla="*/ 102 w 103"/>
                  <a:gd name="T5" fmla="*/ 29 h 179"/>
                  <a:gd name="T6" fmla="*/ 99 w 103"/>
                  <a:gd name="T7" fmla="*/ 21 h 179"/>
                  <a:gd name="T8" fmla="*/ 94 w 103"/>
                  <a:gd name="T9" fmla="*/ 29 h 179"/>
                  <a:gd name="T10" fmla="*/ 82 w 103"/>
                  <a:gd name="T11" fmla="*/ 30 h 179"/>
                  <a:gd name="T12" fmla="*/ 79 w 103"/>
                  <a:gd name="T13" fmla="*/ 28 h 179"/>
                  <a:gd name="T14" fmla="*/ 81 w 103"/>
                  <a:gd name="T15" fmla="*/ 22 h 179"/>
                  <a:gd name="T16" fmla="*/ 64 w 103"/>
                  <a:gd name="T17" fmla="*/ 9 h 179"/>
                  <a:gd name="T18" fmla="*/ 57 w 103"/>
                  <a:gd name="T19" fmla="*/ 2 h 179"/>
                  <a:gd name="T20" fmla="*/ 48 w 103"/>
                  <a:gd name="T21" fmla="*/ 4 h 179"/>
                  <a:gd name="T22" fmla="*/ 39 w 103"/>
                  <a:gd name="T23" fmla="*/ 1 h 179"/>
                  <a:gd name="T24" fmla="*/ 35 w 103"/>
                  <a:gd name="T25" fmla="*/ 9 h 179"/>
                  <a:gd name="T26" fmla="*/ 27 w 103"/>
                  <a:gd name="T27" fmla="*/ 22 h 179"/>
                  <a:gd name="T28" fmla="*/ 25 w 103"/>
                  <a:gd name="T29" fmla="*/ 32 h 179"/>
                  <a:gd name="T30" fmla="*/ 21 w 103"/>
                  <a:gd name="T31" fmla="*/ 39 h 179"/>
                  <a:gd name="T32" fmla="*/ 19 w 103"/>
                  <a:gd name="T33" fmla="*/ 47 h 179"/>
                  <a:gd name="T34" fmla="*/ 17 w 103"/>
                  <a:gd name="T35" fmla="*/ 52 h 179"/>
                  <a:gd name="T36" fmla="*/ 20 w 103"/>
                  <a:gd name="T37" fmla="*/ 61 h 179"/>
                  <a:gd name="T38" fmla="*/ 18 w 103"/>
                  <a:gd name="T39" fmla="*/ 79 h 179"/>
                  <a:gd name="T40" fmla="*/ 15 w 103"/>
                  <a:gd name="T41" fmla="*/ 94 h 179"/>
                  <a:gd name="T42" fmla="*/ 10 w 103"/>
                  <a:gd name="T43" fmla="*/ 117 h 179"/>
                  <a:gd name="T44" fmla="*/ 13 w 103"/>
                  <a:gd name="T45" fmla="*/ 130 h 179"/>
                  <a:gd name="T46" fmla="*/ 12 w 103"/>
                  <a:gd name="T47" fmla="*/ 135 h 179"/>
                  <a:gd name="T48" fmla="*/ 8 w 103"/>
                  <a:gd name="T49" fmla="*/ 147 h 179"/>
                  <a:gd name="T50" fmla="*/ 5 w 103"/>
                  <a:gd name="T51" fmla="*/ 156 h 179"/>
                  <a:gd name="T52" fmla="*/ 8 w 103"/>
                  <a:gd name="T53" fmla="*/ 170 h 179"/>
                  <a:gd name="T54" fmla="*/ 13 w 103"/>
                  <a:gd name="T55" fmla="*/ 176 h 179"/>
                  <a:gd name="T56" fmla="*/ 23 w 103"/>
                  <a:gd name="T57" fmla="*/ 178 h 179"/>
                  <a:gd name="T58" fmla="*/ 27 w 103"/>
                  <a:gd name="T59" fmla="*/ 179 h 179"/>
                  <a:gd name="T60" fmla="*/ 24 w 103"/>
                  <a:gd name="T61" fmla="*/ 169 h 179"/>
                  <a:gd name="T62" fmla="*/ 25 w 103"/>
                  <a:gd name="T63" fmla="*/ 163 h 179"/>
                  <a:gd name="T64" fmla="*/ 28 w 103"/>
                  <a:gd name="T65" fmla="*/ 163 h 179"/>
                  <a:gd name="T66" fmla="*/ 31 w 103"/>
                  <a:gd name="T67" fmla="*/ 157 h 179"/>
                  <a:gd name="T68" fmla="*/ 40 w 103"/>
                  <a:gd name="T69" fmla="*/ 151 h 179"/>
                  <a:gd name="T70" fmla="*/ 41 w 103"/>
                  <a:gd name="T71" fmla="*/ 145 h 179"/>
                  <a:gd name="T72" fmla="*/ 32 w 103"/>
                  <a:gd name="T73" fmla="*/ 140 h 179"/>
                  <a:gd name="T74" fmla="*/ 39 w 103"/>
                  <a:gd name="T75" fmla="*/ 131 h 179"/>
                  <a:gd name="T76" fmla="*/ 43 w 103"/>
                  <a:gd name="T77" fmla="*/ 124 h 179"/>
                  <a:gd name="T78" fmla="*/ 48 w 103"/>
                  <a:gd name="T79" fmla="*/ 116 h 179"/>
                  <a:gd name="T80" fmla="*/ 51 w 103"/>
                  <a:gd name="T81" fmla="*/ 114 h 179"/>
                  <a:gd name="T82" fmla="*/ 45 w 103"/>
                  <a:gd name="T83" fmla="*/ 113 h 179"/>
                  <a:gd name="T84" fmla="*/ 54 w 103"/>
                  <a:gd name="T85" fmla="*/ 108 h 179"/>
                  <a:gd name="T86" fmla="*/ 58 w 103"/>
                  <a:gd name="T87" fmla="*/ 102 h 179"/>
                  <a:gd name="T88" fmla="*/ 59 w 103"/>
                  <a:gd name="T89" fmla="*/ 97 h 179"/>
                  <a:gd name="T90" fmla="*/ 60 w 103"/>
                  <a:gd name="T91" fmla="*/ 96 h 179"/>
                  <a:gd name="T92" fmla="*/ 76 w 103"/>
                  <a:gd name="T93" fmla="*/ 93 h 179"/>
                  <a:gd name="T94" fmla="*/ 84 w 103"/>
                  <a:gd name="T95" fmla="*/ 87 h 179"/>
                  <a:gd name="T96" fmla="*/ 83 w 103"/>
                  <a:gd name="T97" fmla="*/ 78 h 179"/>
                  <a:gd name="T98" fmla="*/ 78 w 103"/>
                  <a:gd name="T99" fmla="*/ 69 h 179"/>
                  <a:gd name="T100" fmla="*/ 78 w 103"/>
                  <a:gd name="T101" fmla="*/ 66 h 179"/>
                  <a:gd name="T102" fmla="*/ 78 w 103"/>
                  <a:gd name="T103" fmla="*/ 62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03" h="179">
                    <a:moveTo>
                      <a:pt x="78" y="62"/>
                    </a:moveTo>
                    <a:cubicBezTo>
                      <a:pt x="81" y="59"/>
                      <a:pt x="79" y="56"/>
                      <a:pt x="80" y="52"/>
                    </a:cubicBezTo>
                    <a:cubicBezTo>
                      <a:pt x="80" y="51"/>
                      <a:pt x="80" y="49"/>
                      <a:pt x="80" y="48"/>
                    </a:cubicBezTo>
                    <a:cubicBezTo>
                      <a:pt x="81" y="45"/>
                      <a:pt x="83" y="44"/>
                      <a:pt x="85" y="42"/>
                    </a:cubicBezTo>
                    <a:cubicBezTo>
                      <a:pt x="89" y="39"/>
                      <a:pt x="91" y="34"/>
                      <a:pt x="95" y="31"/>
                    </a:cubicBezTo>
                    <a:cubicBezTo>
                      <a:pt x="97" y="30"/>
                      <a:pt x="100" y="30"/>
                      <a:pt x="102" y="29"/>
                    </a:cubicBezTo>
                    <a:cubicBezTo>
                      <a:pt x="103" y="27"/>
                      <a:pt x="102" y="24"/>
                      <a:pt x="101" y="23"/>
                    </a:cubicBezTo>
                    <a:cubicBezTo>
                      <a:pt x="100" y="21"/>
                      <a:pt x="101" y="21"/>
                      <a:pt x="99" y="21"/>
                    </a:cubicBezTo>
                    <a:cubicBezTo>
                      <a:pt x="97" y="20"/>
                      <a:pt x="98" y="24"/>
                      <a:pt x="97" y="25"/>
                    </a:cubicBezTo>
                    <a:cubicBezTo>
                      <a:pt x="96" y="26"/>
                      <a:pt x="95" y="28"/>
                      <a:pt x="94" y="29"/>
                    </a:cubicBezTo>
                    <a:cubicBezTo>
                      <a:pt x="93" y="30"/>
                      <a:pt x="90" y="29"/>
                      <a:pt x="88" y="30"/>
                    </a:cubicBezTo>
                    <a:cubicBezTo>
                      <a:pt x="87" y="32"/>
                      <a:pt x="84" y="30"/>
                      <a:pt x="82" y="30"/>
                    </a:cubicBezTo>
                    <a:cubicBezTo>
                      <a:pt x="81" y="30"/>
                      <a:pt x="79" y="31"/>
                      <a:pt x="78" y="30"/>
                    </a:cubicBezTo>
                    <a:cubicBezTo>
                      <a:pt x="76" y="30"/>
                      <a:pt x="79" y="28"/>
                      <a:pt x="79" y="28"/>
                    </a:cubicBezTo>
                    <a:cubicBezTo>
                      <a:pt x="80" y="27"/>
                      <a:pt x="79" y="26"/>
                      <a:pt x="79" y="26"/>
                    </a:cubicBezTo>
                    <a:cubicBezTo>
                      <a:pt x="79" y="24"/>
                      <a:pt x="80" y="23"/>
                      <a:pt x="81" y="22"/>
                    </a:cubicBezTo>
                    <a:cubicBezTo>
                      <a:pt x="85" y="18"/>
                      <a:pt x="77" y="16"/>
                      <a:pt x="74" y="14"/>
                    </a:cubicBezTo>
                    <a:cubicBezTo>
                      <a:pt x="71" y="12"/>
                      <a:pt x="67" y="12"/>
                      <a:pt x="64" y="9"/>
                    </a:cubicBezTo>
                    <a:cubicBezTo>
                      <a:pt x="63" y="8"/>
                      <a:pt x="61" y="7"/>
                      <a:pt x="60" y="6"/>
                    </a:cubicBezTo>
                    <a:cubicBezTo>
                      <a:pt x="59" y="4"/>
                      <a:pt x="58" y="2"/>
                      <a:pt x="57" y="2"/>
                    </a:cubicBezTo>
                    <a:cubicBezTo>
                      <a:pt x="56" y="1"/>
                      <a:pt x="53" y="1"/>
                      <a:pt x="52" y="2"/>
                    </a:cubicBezTo>
                    <a:cubicBezTo>
                      <a:pt x="51" y="3"/>
                      <a:pt x="50" y="6"/>
                      <a:pt x="48" y="4"/>
                    </a:cubicBezTo>
                    <a:cubicBezTo>
                      <a:pt x="47" y="2"/>
                      <a:pt x="45" y="2"/>
                      <a:pt x="43" y="2"/>
                    </a:cubicBezTo>
                    <a:cubicBezTo>
                      <a:pt x="41" y="2"/>
                      <a:pt x="41" y="0"/>
                      <a:pt x="39" y="1"/>
                    </a:cubicBezTo>
                    <a:cubicBezTo>
                      <a:pt x="38" y="2"/>
                      <a:pt x="35" y="3"/>
                      <a:pt x="35" y="4"/>
                    </a:cubicBezTo>
                    <a:cubicBezTo>
                      <a:pt x="34" y="6"/>
                      <a:pt x="35" y="8"/>
                      <a:pt x="35" y="9"/>
                    </a:cubicBezTo>
                    <a:cubicBezTo>
                      <a:pt x="34" y="13"/>
                      <a:pt x="31" y="13"/>
                      <a:pt x="28" y="14"/>
                    </a:cubicBezTo>
                    <a:cubicBezTo>
                      <a:pt x="26" y="15"/>
                      <a:pt x="27" y="20"/>
                      <a:pt x="27" y="22"/>
                    </a:cubicBezTo>
                    <a:cubicBezTo>
                      <a:pt x="27" y="24"/>
                      <a:pt x="28" y="26"/>
                      <a:pt x="28" y="27"/>
                    </a:cubicBezTo>
                    <a:cubicBezTo>
                      <a:pt x="28" y="28"/>
                      <a:pt x="25" y="31"/>
                      <a:pt x="25" y="32"/>
                    </a:cubicBezTo>
                    <a:cubicBezTo>
                      <a:pt x="24" y="33"/>
                      <a:pt x="21" y="35"/>
                      <a:pt x="21" y="36"/>
                    </a:cubicBezTo>
                    <a:cubicBezTo>
                      <a:pt x="21" y="37"/>
                      <a:pt x="21" y="38"/>
                      <a:pt x="21" y="39"/>
                    </a:cubicBezTo>
                    <a:cubicBezTo>
                      <a:pt x="21" y="40"/>
                      <a:pt x="20" y="41"/>
                      <a:pt x="20" y="42"/>
                    </a:cubicBezTo>
                    <a:cubicBezTo>
                      <a:pt x="20" y="43"/>
                      <a:pt x="21" y="46"/>
                      <a:pt x="19" y="47"/>
                    </a:cubicBezTo>
                    <a:cubicBezTo>
                      <a:pt x="19" y="48"/>
                      <a:pt x="19" y="50"/>
                      <a:pt x="19" y="51"/>
                    </a:cubicBezTo>
                    <a:cubicBezTo>
                      <a:pt x="18" y="51"/>
                      <a:pt x="17" y="51"/>
                      <a:pt x="17" y="52"/>
                    </a:cubicBezTo>
                    <a:cubicBezTo>
                      <a:pt x="17" y="54"/>
                      <a:pt x="19" y="55"/>
                      <a:pt x="19" y="57"/>
                    </a:cubicBezTo>
                    <a:cubicBezTo>
                      <a:pt x="19" y="58"/>
                      <a:pt x="19" y="60"/>
                      <a:pt x="20" y="61"/>
                    </a:cubicBezTo>
                    <a:cubicBezTo>
                      <a:pt x="22" y="65"/>
                      <a:pt x="18" y="69"/>
                      <a:pt x="18" y="73"/>
                    </a:cubicBezTo>
                    <a:cubicBezTo>
                      <a:pt x="17" y="75"/>
                      <a:pt x="19" y="77"/>
                      <a:pt x="18" y="79"/>
                    </a:cubicBezTo>
                    <a:cubicBezTo>
                      <a:pt x="17" y="80"/>
                      <a:pt x="15" y="81"/>
                      <a:pt x="14" y="83"/>
                    </a:cubicBezTo>
                    <a:cubicBezTo>
                      <a:pt x="13" y="85"/>
                      <a:pt x="17" y="93"/>
                      <a:pt x="15" y="94"/>
                    </a:cubicBezTo>
                    <a:cubicBezTo>
                      <a:pt x="11" y="96"/>
                      <a:pt x="12" y="101"/>
                      <a:pt x="11" y="105"/>
                    </a:cubicBezTo>
                    <a:cubicBezTo>
                      <a:pt x="9" y="108"/>
                      <a:pt x="10" y="113"/>
                      <a:pt x="10" y="117"/>
                    </a:cubicBezTo>
                    <a:cubicBezTo>
                      <a:pt x="10" y="120"/>
                      <a:pt x="10" y="123"/>
                      <a:pt x="10" y="126"/>
                    </a:cubicBezTo>
                    <a:cubicBezTo>
                      <a:pt x="10" y="127"/>
                      <a:pt x="15" y="130"/>
                      <a:pt x="13" y="130"/>
                    </a:cubicBezTo>
                    <a:cubicBezTo>
                      <a:pt x="13" y="130"/>
                      <a:pt x="9" y="131"/>
                      <a:pt x="11" y="132"/>
                    </a:cubicBezTo>
                    <a:cubicBezTo>
                      <a:pt x="13" y="132"/>
                      <a:pt x="13" y="133"/>
                      <a:pt x="12" y="135"/>
                    </a:cubicBezTo>
                    <a:cubicBezTo>
                      <a:pt x="11" y="137"/>
                      <a:pt x="11" y="139"/>
                      <a:pt x="11" y="142"/>
                    </a:cubicBezTo>
                    <a:cubicBezTo>
                      <a:pt x="11" y="144"/>
                      <a:pt x="9" y="145"/>
                      <a:pt x="8" y="147"/>
                    </a:cubicBezTo>
                    <a:cubicBezTo>
                      <a:pt x="7" y="148"/>
                      <a:pt x="8" y="150"/>
                      <a:pt x="8" y="152"/>
                    </a:cubicBezTo>
                    <a:cubicBezTo>
                      <a:pt x="8" y="153"/>
                      <a:pt x="6" y="156"/>
                      <a:pt x="5" y="156"/>
                    </a:cubicBezTo>
                    <a:cubicBezTo>
                      <a:pt x="0" y="158"/>
                      <a:pt x="3" y="164"/>
                      <a:pt x="4" y="167"/>
                    </a:cubicBezTo>
                    <a:cubicBezTo>
                      <a:pt x="5" y="169"/>
                      <a:pt x="8" y="166"/>
                      <a:pt x="8" y="170"/>
                    </a:cubicBezTo>
                    <a:cubicBezTo>
                      <a:pt x="8" y="171"/>
                      <a:pt x="7" y="174"/>
                      <a:pt x="9" y="175"/>
                    </a:cubicBezTo>
                    <a:cubicBezTo>
                      <a:pt x="10" y="176"/>
                      <a:pt x="11" y="176"/>
                      <a:pt x="13" y="176"/>
                    </a:cubicBezTo>
                    <a:cubicBezTo>
                      <a:pt x="15" y="177"/>
                      <a:pt x="18" y="177"/>
                      <a:pt x="20" y="177"/>
                    </a:cubicBezTo>
                    <a:cubicBezTo>
                      <a:pt x="21" y="177"/>
                      <a:pt x="22" y="177"/>
                      <a:pt x="23" y="178"/>
                    </a:cubicBezTo>
                    <a:cubicBezTo>
                      <a:pt x="23" y="177"/>
                      <a:pt x="24" y="177"/>
                      <a:pt x="25" y="177"/>
                    </a:cubicBezTo>
                    <a:cubicBezTo>
                      <a:pt x="25" y="178"/>
                      <a:pt x="27" y="179"/>
                      <a:pt x="27" y="179"/>
                    </a:cubicBezTo>
                    <a:cubicBezTo>
                      <a:pt x="28" y="179"/>
                      <a:pt x="26" y="176"/>
                      <a:pt x="26" y="175"/>
                    </a:cubicBezTo>
                    <a:cubicBezTo>
                      <a:pt x="24" y="173"/>
                      <a:pt x="24" y="171"/>
                      <a:pt x="24" y="169"/>
                    </a:cubicBezTo>
                    <a:cubicBezTo>
                      <a:pt x="24" y="167"/>
                      <a:pt x="24" y="166"/>
                      <a:pt x="27" y="164"/>
                    </a:cubicBezTo>
                    <a:cubicBezTo>
                      <a:pt x="29" y="163"/>
                      <a:pt x="25" y="163"/>
                      <a:pt x="25" y="163"/>
                    </a:cubicBezTo>
                    <a:cubicBezTo>
                      <a:pt x="25" y="163"/>
                      <a:pt x="27" y="162"/>
                      <a:pt x="26" y="162"/>
                    </a:cubicBezTo>
                    <a:cubicBezTo>
                      <a:pt x="27" y="162"/>
                      <a:pt x="27" y="163"/>
                      <a:pt x="28" y="163"/>
                    </a:cubicBezTo>
                    <a:cubicBezTo>
                      <a:pt x="29" y="164"/>
                      <a:pt x="30" y="163"/>
                      <a:pt x="31" y="163"/>
                    </a:cubicBezTo>
                    <a:cubicBezTo>
                      <a:pt x="32" y="161"/>
                      <a:pt x="31" y="159"/>
                      <a:pt x="31" y="157"/>
                    </a:cubicBezTo>
                    <a:cubicBezTo>
                      <a:pt x="32" y="155"/>
                      <a:pt x="34" y="154"/>
                      <a:pt x="37" y="153"/>
                    </a:cubicBezTo>
                    <a:cubicBezTo>
                      <a:pt x="38" y="152"/>
                      <a:pt x="39" y="152"/>
                      <a:pt x="40" y="151"/>
                    </a:cubicBezTo>
                    <a:cubicBezTo>
                      <a:pt x="41" y="150"/>
                      <a:pt x="39" y="149"/>
                      <a:pt x="39" y="149"/>
                    </a:cubicBezTo>
                    <a:cubicBezTo>
                      <a:pt x="39" y="148"/>
                      <a:pt x="42" y="147"/>
                      <a:pt x="41" y="145"/>
                    </a:cubicBezTo>
                    <a:cubicBezTo>
                      <a:pt x="40" y="143"/>
                      <a:pt x="36" y="145"/>
                      <a:pt x="35" y="143"/>
                    </a:cubicBezTo>
                    <a:cubicBezTo>
                      <a:pt x="34" y="142"/>
                      <a:pt x="33" y="142"/>
                      <a:pt x="32" y="140"/>
                    </a:cubicBezTo>
                    <a:cubicBezTo>
                      <a:pt x="31" y="138"/>
                      <a:pt x="33" y="135"/>
                      <a:pt x="34" y="134"/>
                    </a:cubicBezTo>
                    <a:cubicBezTo>
                      <a:pt x="36" y="133"/>
                      <a:pt x="37" y="131"/>
                      <a:pt x="39" y="131"/>
                    </a:cubicBezTo>
                    <a:cubicBezTo>
                      <a:pt x="41" y="130"/>
                      <a:pt x="41" y="132"/>
                      <a:pt x="42" y="129"/>
                    </a:cubicBezTo>
                    <a:cubicBezTo>
                      <a:pt x="42" y="127"/>
                      <a:pt x="44" y="126"/>
                      <a:pt x="43" y="124"/>
                    </a:cubicBezTo>
                    <a:cubicBezTo>
                      <a:pt x="42" y="121"/>
                      <a:pt x="47" y="121"/>
                      <a:pt x="48" y="119"/>
                    </a:cubicBezTo>
                    <a:cubicBezTo>
                      <a:pt x="48" y="119"/>
                      <a:pt x="43" y="115"/>
                      <a:pt x="48" y="116"/>
                    </a:cubicBezTo>
                    <a:cubicBezTo>
                      <a:pt x="49" y="117"/>
                      <a:pt x="49" y="118"/>
                      <a:pt x="50" y="118"/>
                    </a:cubicBezTo>
                    <a:cubicBezTo>
                      <a:pt x="52" y="118"/>
                      <a:pt x="52" y="115"/>
                      <a:pt x="51" y="114"/>
                    </a:cubicBezTo>
                    <a:cubicBezTo>
                      <a:pt x="51" y="113"/>
                      <a:pt x="49" y="115"/>
                      <a:pt x="49" y="115"/>
                    </a:cubicBezTo>
                    <a:cubicBezTo>
                      <a:pt x="47" y="115"/>
                      <a:pt x="45" y="114"/>
                      <a:pt x="45" y="113"/>
                    </a:cubicBezTo>
                    <a:cubicBezTo>
                      <a:pt x="45" y="112"/>
                      <a:pt x="43" y="105"/>
                      <a:pt x="45" y="105"/>
                    </a:cubicBezTo>
                    <a:cubicBezTo>
                      <a:pt x="48" y="106"/>
                      <a:pt x="50" y="108"/>
                      <a:pt x="54" y="108"/>
                    </a:cubicBezTo>
                    <a:cubicBezTo>
                      <a:pt x="55" y="108"/>
                      <a:pt x="56" y="107"/>
                      <a:pt x="57" y="107"/>
                    </a:cubicBezTo>
                    <a:cubicBezTo>
                      <a:pt x="59" y="105"/>
                      <a:pt x="57" y="104"/>
                      <a:pt x="58" y="102"/>
                    </a:cubicBezTo>
                    <a:cubicBezTo>
                      <a:pt x="58" y="101"/>
                      <a:pt x="59" y="100"/>
                      <a:pt x="59" y="100"/>
                    </a:cubicBezTo>
                    <a:cubicBezTo>
                      <a:pt x="60" y="98"/>
                      <a:pt x="59" y="98"/>
                      <a:pt x="59" y="97"/>
                    </a:cubicBezTo>
                    <a:cubicBezTo>
                      <a:pt x="58" y="96"/>
                      <a:pt x="58" y="94"/>
                      <a:pt x="59" y="94"/>
                    </a:cubicBezTo>
                    <a:cubicBezTo>
                      <a:pt x="61" y="94"/>
                      <a:pt x="60" y="96"/>
                      <a:pt x="60" y="96"/>
                    </a:cubicBezTo>
                    <a:cubicBezTo>
                      <a:pt x="59" y="95"/>
                      <a:pt x="65" y="95"/>
                      <a:pt x="65" y="95"/>
                    </a:cubicBezTo>
                    <a:cubicBezTo>
                      <a:pt x="69" y="95"/>
                      <a:pt x="72" y="93"/>
                      <a:pt x="76" y="93"/>
                    </a:cubicBezTo>
                    <a:cubicBezTo>
                      <a:pt x="77" y="92"/>
                      <a:pt x="80" y="91"/>
                      <a:pt x="82" y="90"/>
                    </a:cubicBezTo>
                    <a:cubicBezTo>
                      <a:pt x="83" y="89"/>
                      <a:pt x="83" y="88"/>
                      <a:pt x="84" y="87"/>
                    </a:cubicBezTo>
                    <a:cubicBezTo>
                      <a:pt x="85" y="86"/>
                      <a:pt x="86" y="85"/>
                      <a:pt x="87" y="83"/>
                    </a:cubicBezTo>
                    <a:cubicBezTo>
                      <a:pt x="87" y="80"/>
                      <a:pt x="85" y="80"/>
                      <a:pt x="83" y="78"/>
                    </a:cubicBezTo>
                    <a:cubicBezTo>
                      <a:pt x="82" y="76"/>
                      <a:pt x="85" y="75"/>
                      <a:pt x="83" y="73"/>
                    </a:cubicBezTo>
                    <a:cubicBezTo>
                      <a:pt x="82" y="72"/>
                      <a:pt x="78" y="71"/>
                      <a:pt x="78" y="69"/>
                    </a:cubicBezTo>
                    <a:cubicBezTo>
                      <a:pt x="78" y="69"/>
                      <a:pt x="78" y="68"/>
                      <a:pt x="79" y="68"/>
                    </a:cubicBezTo>
                    <a:cubicBezTo>
                      <a:pt x="79" y="67"/>
                      <a:pt x="78" y="67"/>
                      <a:pt x="78" y="66"/>
                    </a:cubicBezTo>
                    <a:cubicBezTo>
                      <a:pt x="78" y="65"/>
                      <a:pt x="77" y="63"/>
                      <a:pt x="78" y="62"/>
                    </a:cubicBezTo>
                    <a:cubicBezTo>
                      <a:pt x="79" y="61"/>
                      <a:pt x="77" y="63"/>
                      <a:pt x="78" y="6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1" name="Freeform 631">
                <a:extLst>
                  <a:ext uri="{FF2B5EF4-FFF2-40B4-BE49-F238E27FC236}">
                    <a16:creationId xmlns:a16="http://schemas.microsoft.com/office/drawing/2014/main" id="{37B2A928-635D-49E4-ADC8-3948CF4F8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9686" y="4156568"/>
                <a:ext cx="101938" cy="113087"/>
              </a:xfrm>
              <a:custGeom>
                <a:avLst/>
                <a:gdLst>
                  <a:gd name="T0" fmla="*/ 15 w 22"/>
                  <a:gd name="T1" fmla="*/ 23 h 24"/>
                  <a:gd name="T2" fmla="*/ 19 w 22"/>
                  <a:gd name="T3" fmla="*/ 24 h 24"/>
                  <a:gd name="T4" fmla="*/ 19 w 22"/>
                  <a:gd name="T5" fmla="*/ 17 h 24"/>
                  <a:gd name="T6" fmla="*/ 20 w 22"/>
                  <a:gd name="T7" fmla="*/ 10 h 24"/>
                  <a:gd name="T8" fmla="*/ 21 w 22"/>
                  <a:gd name="T9" fmla="*/ 7 h 24"/>
                  <a:gd name="T10" fmla="*/ 22 w 22"/>
                  <a:gd name="T11" fmla="*/ 3 h 24"/>
                  <a:gd name="T12" fmla="*/ 17 w 22"/>
                  <a:gd name="T13" fmla="*/ 4 h 24"/>
                  <a:gd name="T14" fmla="*/ 12 w 22"/>
                  <a:gd name="T15" fmla="*/ 5 h 24"/>
                  <a:gd name="T16" fmla="*/ 9 w 22"/>
                  <a:gd name="T17" fmla="*/ 8 h 24"/>
                  <a:gd name="T18" fmla="*/ 4 w 22"/>
                  <a:gd name="T19" fmla="*/ 9 h 24"/>
                  <a:gd name="T20" fmla="*/ 3 w 22"/>
                  <a:gd name="T21" fmla="*/ 12 h 24"/>
                  <a:gd name="T22" fmla="*/ 0 w 22"/>
                  <a:gd name="T23" fmla="*/ 13 h 24"/>
                  <a:gd name="T24" fmla="*/ 6 w 22"/>
                  <a:gd name="T25" fmla="*/ 19 h 24"/>
                  <a:gd name="T26" fmla="*/ 11 w 22"/>
                  <a:gd name="T27" fmla="*/ 22 h 24"/>
                  <a:gd name="T28" fmla="*/ 15 w 22"/>
                  <a:gd name="T29" fmla="*/ 23 h 24"/>
                  <a:gd name="T30" fmla="*/ 15 w 22"/>
                  <a:gd name="T31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24">
                    <a:moveTo>
                      <a:pt x="15" y="23"/>
                    </a:moveTo>
                    <a:cubicBezTo>
                      <a:pt x="16" y="24"/>
                      <a:pt x="17" y="24"/>
                      <a:pt x="19" y="24"/>
                    </a:cubicBezTo>
                    <a:cubicBezTo>
                      <a:pt x="17" y="21"/>
                      <a:pt x="19" y="20"/>
                      <a:pt x="19" y="17"/>
                    </a:cubicBezTo>
                    <a:cubicBezTo>
                      <a:pt x="19" y="15"/>
                      <a:pt x="20" y="12"/>
                      <a:pt x="20" y="10"/>
                    </a:cubicBezTo>
                    <a:cubicBezTo>
                      <a:pt x="20" y="9"/>
                      <a:pt x="21" y="8"/>
                      <a:pt x="21" y="7"/>
                    </a:cubicBezTo>
                    <a:cubicBezTo>
                      <a:pt x="22" y="6"/>
                      <a:pt x="21" y="5"/>
                      <a:pt x="22" y="3"/>
                    </a:cubicBezTo>
                    <a:cubicBezTo>
                      <a:pt x="22" y="0"/>
                      <a:pt x="18" y="4"/>
                      <a:pt x="17" y="4"/>
                    </a:cubicBezTo>
                    <a:cubicBezTo>
                      <a:pt x="15" y="4"/>
                      <a:pt x="14" y="3"/>
                      <a:pt x="12" y="5"/>
                    </a:cubicBezTo>
                    <a:cubicBezTo>
                      <a:pt x="12" y="5"/>
                      <a:pt x="10" y="9"/>
                      <a:pt x="9" y="8"/>
                    </a:cubicBezTo>
                    <a:cubicBezTo>
                      <a:pt x="7" y="8"/>
                      <a:pt x="6" y="8"/>
                      <a:pt x="4" y="9"/>
                    </a:cubicBezTo>
                    <a:cubicBezTo>
                      <a:pt x="4" y="10"/>
                      <a:pt x="4" y="12"/>
                      <a:pt x="3" y="12"/>
                    </a:cubicBezTo>
                    <a:cubicBezTo>
                      <a:pt x="3" y="13"/>
                      <a:pt x="1" y="13"/>
                      <a:pt x="0" y="13"/>
                    </a:cubicBezTo>
                    <a:cubicBezTo>
                      <a:pt x="2" y="15"/>
                      <a:pt x="4" y="18"/>
                      <a:pt x="6" y="19"/>
                    </a:cubicBezTo>
                    <a:cubicBezTo>
                      <a:pt x="7" y="21"/>
                      <a:pt x="9" y="22"/>
                      <a:pt x="11" y="22"/>
                    </a:cubicBezTo>
                    <a:cubicBezTo>
                      <a:pt x="12" y="22"/>
                      <a:pt x="14" y="22"/>
                      <a:pt x="15" y="23"/>
                    </a:cubicBezTo>
                    <a:cubicBezTo>
                      <a:pt x="16" y="23"/>
                      <a:pt x="15" y="22"/>
                      <a:pt x="15" y="2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2" name="Freeform 632">
                <a:extLst>
                  <a:ext uri="{FF2B5EF4-FFF2-40B4-BE49-F238E27FC236}">
                    <a16:creationId xmlns:a16="http://schemas.microsoft.com/office/drawing/2014/main" id="{354988AC-E305-4055-8DEB-D12FF72EBF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1543" y="4260097"/>
                <a:ext cx="79638" cy="70082"/>
              </a:xfrm>
              <a:custGeom>
                <a:avLst/>
                <a:gdLst>
                  <a:gd name="T0" fmla="*/ 16 w 17"/>
                  <a:gd name="T1" fmla="*/ 10 h 15"/>
                  <a:gd name="T2" fmla="*/ 17 w 17"/>
                  <a:gd name="T3" fmla="*/ 8 h 15"/>
                  <a:gd name="T4" fmla="*/ 15 w 17"/>
                  <a:gd name="T5" fmla="*/ 6 h 15"/>
                  <a:gd name="T6" fmla="*/ 12 w 17"/>
                  <a:gd name="T7" fmla="*/ 2 h 15"/>
                  <a:gd name="T8" fmla="*/ 8 w 17"/>
                  <a:gd name="T9" fmla="*/ 1 h 15"/>
                  <a:gd name="T10" fmla="*/ 3 w 17"/>
                  <a:gd name="T11" fmla="*/ 0 h 15"/>
                  <a:gd name="T12" fmla="*/ 3 w 17"/>
                  <a:gd name="T13" fmla="*/ 6 h 15"/>
                  <a:gd name="T14" fmla="*/ 6 w 17"/>
                  <a:gd name="T15" fmla="*/ 7 h 15"/>
                  <a:gd name="T16" fmla="*/ 4 w 17"/>
                  <a:gd name="T17" fmla="*/ 5 h 15"/>
                  <a:gd name="T18" fmla="*/ 7 w 17"/>
                  <a:gd name="T19" fmla="*/ 7 h 15"/>
                  <a:gd name="T20" fmla="*/ 11 w 17"/>
                  <a:gd name="T21" fmla="*/ 10 h 15"/>
                  <a:gd name="T22" fmla="*/ 14 w 17"/>
                  <a:gd name="T23" fmla="*/ 14 h 15"/>
                  <a:gd name="T24" fmla="*/ 16 w 17"/>
                  <a:gd name="T25" fmla="*/ 10 h 15"/>
                  <a:gd name="T26" fmla="*/ 16 w 17"/>
                  <a:gd name="T27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15">
                    <a:moveTo>
                      <a:pt x="16" y="10"/>
                    </a:moveTo>
                    <a:cubicBezTo>
                      <a:pt x="16" y="9"/>
                      <a:pt x="16" y="8"/>
                      <a:pt x="17" y="8"/>
                    </a:cubicBezTo>
                    <a:cubicBezTo>
                      <a:pt x="16" y="7"/>
                      <a:pt x="16" y="6"/>
                      <a:pt x="15" y="6"/>
                    </a:cubicBezTo>
                    <a:cubicBezTo>
                      <a:pt x="14" y="5"/>
                      <a:pt x="13" y="2"/>
                      <a:pt x="12" y="2"/>
                    </a:cubicBezTo>
                    <a:cubicBezTo>
                      <a:pt x="10" y="2"/>
                      <a:pt x="9" y="2"/>
                      <a:pt x="8" y="1"/>
                    </a:cubicBezTo>
                    <a:cubicBezTo>
                      <a:pt x="7" y="0"/>
                      <a:pt x="4" y="0"/>
                      <a:pt x="3" y="0"/>
                    </a:cubicBezTo>
                    <a:cubicBezTo>
                      <a:pt x="4" y="1"/>
                      <a:pt x="0" y="6"/>
                      <a:pt x="3" y="6"/>
                    </a:cubicBezTo>
                    <a:cubicBezTo>
                      <a:pt x="4" y="6"/>
                      <a:pt x="4" y="8"/>
                      <a:pt x="6" y="7"/>
                    </a:cubicBezTo>
                    <a:cubicBezTo>
                      <a:pt x="7" y="6"/>
                      <a:pt x="4" y="5"/>
                      <a:pt x="4" y="5"/>
                    </a:cubicBezTo>
                    <a:cubicBezTo>
                      <a:pt x="5" y="5"/>
                      <a:pt x="7" y="6"/>
                      <a:pt x="7" y="7"/>
                    </a:cubicBezTo>
                    <a:cubicBezTo>
                      <a:pt x="8" y="9"/>
                      <a:pt x="10" y="8"/>
                      <a:pt x="11" y="10"/>
                    </a:cubicBezTo>
                    <a:cubicBezTo>
                      <a:pt x="12" y="11"/>
                      <a:pt x="12" y="13"/>
                      <a:pt x="14" y="14"/>
                    </a:cubicBezTo>
                    <a:cubicBezTo>
                      <a:pt x="17" y="15"/>
                      <a:pt x="17" y="12"/>
                      <a:pt x="16" y="10"/>
                    </a:cubicBezTo>
                    <a:cubicBezTo>
                      <a:pt x="16" y="9"/>
                      <a:pt x="16" y="11"/>
                      <a:pt x="16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3" name="Freeform 633">
                <a:extLst>
                  <a:ext uri="{FF2B5EF4-FFF2-40B4-BE49-F238E27FC236}">
                    <a16:creationId xmlns:a16="http://schemas.microsoft.com/office/drawing/2014/main" id="{2952865F-E9A7-4FC0-9E81-0BD40E878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2347" y="4180458"/>
                <a:ext cx="52562" cy="41414"/>
              </a:xfrm>
              <a:custGeom>
                <a:avLst/>
                <a:gdLst>
                  <a:gd name="T0" fmla="*/ 4 w 11"/>
                  <a:gd name="T1" fmla="*/ 1 h 9"/>
                  <a:gd name="T2" fmla="*/ 4 w 11"/>
                  <a:gd name="T3" fmla="*/ 0 h 9"/>
                  <a:gd name="T4" fmla="*/ 0 w 11"/>
                  <a:gd name="T5" fmla="*/ 4 h 9"/>
                  <a:gd name="T6" fmla="*/ 11 w 11"/>
                  <a:gd name="T7" fmla="*/ 5 h 9"/>
                  <a:gd name="T8" fmla="*/ 4 w 11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4" y="1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1" y="3"/>
                      <a:pt x="0" y="4"/>
                    </a:cubicBezTo>
                    <a:cubicBezTo>
                      <a:pt x="2" y="5"/>
                      <a:pt x="11" y="9"/>
                      <a:pt x="11" y="5"/>
                    </a:cubicBezTo>
                    <a:cubicBezTo>
                      <a:pt x="11" y="2"/>
                      <a:pt x="6" y="3"/>
                      <a:pt x="4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4" name="Freeform 634">
                <a:extLst>
                  <a:ext uri="{FF2B5EF4-FFF2-40B4-BE49-F238E27FC236}">
                    <a16:creationId xmlns:a16="http://schemas.microsoft.com/office/drawing/2014/main" id="{E9CC496A-50FF-40DA-ABD6-1537D27C0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6600" y="4096043"/>
                <a:ext cx="93975" cy="108308"/>
              </a:xfrm>
              <a:custGeom>
                <a:avLst/>
                <a:gdLst>
                  <a:gd name="T0" fmla="*/ 16 w 20"/>
                  <a:gd name="T1" fmla="*/ 16 h 23"/>
                  <a:gd name="T2" fmla="*/ 20 w 20"/>
                  <a:gd name="T3" fmla="*/ 12 h 23"/>
                  <a:gd name="T4" fmla="*/ 16 w 20"/>
                  <a:gd name="T5" fmla="*/ 8 h 23"/>
                  <a:gd name="T6" fmla="*/ 16 w 20"/>
                  <a:gd name="T7" fmla="*/ 1 h 23"/>
                  <a:gd name="T8" fmla="*/ 8 w 20"/>
                  <a:gd name="T9" fmla="*/ 1 h 23"/>
                  <a:gd name="T10" fmla="*/ 7 w 20"/>
                  <a:gd name="T11" fmla="*/ 6 h 23"/>
                  <a:gd name="T12" fmla="*/ 8 w 20"/>
                  <a:gd name="T13" fmla="*/ 10 h 23"/>
                  <a:gd name="T14" fmla="*/ 4 w 20"/>
                  <a:gd name="T15" fmla="*/ 10 h 23"/>
                  <a:gd name="T16" fmla="*/ 2 w 20"/>
                  <a:gd name="T17" fmla="*/ 15 h 23"/>
                  <a:gd name="T18" fmla="*/ 12 w 20"/>
                  <a:gd name="T19" fmla="*/ 21 h 23"/>
                  <a:gd name="T20" fmla="*/ 16 w 20"/>
                  <a:gd name="T21" fmla="*/ 1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23">
                    <a:moveTo>
                      <a:pt x="16" y="16"/>
                    </a:moveTo>
                    <a:cubicBezTo>
                      <a:pt x="16" y="14"/>
                      <a:pt x="19" y="13"/>
                      <a:pt x="20" y="12"/>
                    </a:cubicBezTo>
                    <a:cubicBezTo>
                      <a:pt x="17" y="11"/>
                      <a:pt x="16" y="11"/>
                      <a:pt x="16" y="8"/>
                    </a:cubicBezTo>
                    <a:cubicBezTo>
                      <a:pt x="16" y="7"/>
                      <a:pt x="17" y="2"/>
                      <a:pt x="16" y="1"/>
                    </a:cubicBezTo>
                    <a:cubicBezTo>
                      <a:pt x="15" y="0"/>
                      <a:pt x="10" y="1"/>
                      <a:pt x="8" y="1"/>
                    </a:cubicBezTo>
                    <a:cubicBezTo>
                      <a:pt x="6" y="1"/>
                      <a:pt x="6" y="4"/>
                      <a:pt x="7" y="6"/>
                    </a:cubicBezTo>
                    <a:cubicBezTo>
                      <a:pt x="8" y="7"/>
                      <a:pt x="12" y="10"/>
                      <a:pt x="8" y="10"/>
                    </a:cubicBezTo>
                    <a:cubicBezTo>
                      <a:pt x="7" y="10"/>
                      <a:pt x="5" y="10"/>
                      <a:pt x="4" y="10"/>
                    </a:cubicBezTo>
                    <a:cubicBezTo>
                      <a:pt x="2" y="10"/>
                      <a:pt x="2" y="14"/>
                      <a:pt x="2" y="15"/>
                    </a:cubicBezTo>
                    <a:cubicBezTo>
                      <a:pt x="0" y="21"/>
                      <a:pt x="8" y="20"/>
                      <a:pt x="12" y="21"/>
                    </a:cubicBezTo>
                    <a:cubicBezTo>
                      <a:pt x="13" y="23"/>
                      <a:pt x="16" y="17"/>
                      <a:pt x="16" y="1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5" name="Freeform 635">
                <a:extLst>
                  <a:ext uri="{FF2B5EF4-FFF2-40B4-BE49-F238E27FC236}">
                    <a16:creationId xmlns:a16="http://schemas.microsoft.com/office/drawing/2014/main" id="{58ECE0E3-3B40-497D-AC98-27B0399C2E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7980" y="3726520"/>
                <a:ext cx="699228" cy="449162"/>
              </a:xfrm>
              <a:custGeom>
                <a:avLst/>
                <a:gdLst>
                  <a:gd name="T0" fmla="*/ 132 w 150"/>
                  <a:gd name="T1" fmla="*/ 88 h 96"/>
                  <a:gd name="T2" fmla="*/ 130 w 150"/>
                  <a:gd name="T3" fmla="*/ 80 h 96"/>
                  <a:gd name="T4" fmla="*/ 144 w 150"/>
                  <a:gd name="T5" fmla="*/ 78 h 96"/>
                  <a:gd name="T6" fmla="*/ 146 w 150"/>
                  <a:gd name="T7" fmla="*/ 68 h 96"/>
                  <a:gd name="T8" fmla="*/ 146 w 150"/>
                  <a:gd name="T9" fmla="*/ 61 h 96"/>
                  <a:gd name="T10" fmla="*/ 132 w 150"/>
                  <a:gd name="T11" fmla="*/ 64 h 96"/>
                  <a:gd name="T12" fmla="*/ 126 w 150"/>
                  <a:gd name="T13" fmla="*/ 76 h 96"/>
                  <a:gd name="T14" fmla="*/ 110 w 150"/>
                  <a:gd name="T15" fmla="*/ 76 h 96"/>
                  <a:gd name="T16" fmla="*/ 102 w 150"/>
                  <a:gd name="T17" fmla="*/ 69 h 96"/>
                  <a:gd name="T18" fmla="*/ 96 w 150"/>
                  <a:gd name="T19" fmla="*/ 51 h 96"/>
                  <a:gd name="T20" fmla="*/ 98 w 150"/>
                  <a:gd name="T21" fmla="*/ 38 h 96"/>
                  <a:gd name="T22" fmla="*/ 90 w 150"/>
                  <a:gd name="T23" fmla="*/ 35 h 96"/>
                  <a:gd name="T24" fmla="*/ 82 w 150"/>
                  <a:gd name="T25" fmla="*/ 24 h 96"/>
                  <a:gd name="T26" fmla="*/ 75 w 150"/>
                  <a:gd name="T27" fmla="*/ 17 h 96"/>
                  <a:gd name="T28" fmla="*/ 68 w 150"/>
                  <a:gd name="T29" fmla="*/ 20 h 96"/>
                  <a:gd name="T30" fmla="*/ 59 w 150"/>
                  <a:gd name="T31" fmla="*/ 10 h 96"/>
                  <a:gd name="T32" fmla="*/ 45 w 150"/>
                  <a:gd name="T33" fmla="*/ 6 h 96"/>
                  <a:gd name="T34" fmla="*/ 29 w 150"/>
                  <a:gd name="T35" fmla="*/ 8 h 96"/>
                  <a:gd name="T36" fmla="*/ 13 w 150"/>
                  <a:gd name="T37" fmla="*/ 1 h 96"/>
                  <a:gd name="T38" fmla="*/ 7 w 150"/>
                  <a:gd name="T39" fmla="*/ 16 h 96"/>
                  <a:gd name="T40" fmla="*/ 15 w 150"/>
                  <a:gd name="T41" fmla="*/ 28 h 96"/>
                  <a:gd name="T42" fmla="*/ 15 w 150"/>
                  <a:gd name="T43" fmla="*/ 32 h 96"/>
                  <a:gd name="T44" fmla="*/ 25 w 150"/>
                  <a:gd name="T45" fmla="*/ 38 h 96"/>
                  <a:gd name="T46" fmla="*/ 26 w 150"/>
                  <a:gd name="T47" fmla="*/ 44 h 96"/>
                  <a:gd name="T48" fmla="*/ 36 w 150"/>
                  <a:gd name="T49" fmla="*/ 53 h 96"/>
                  <a:gd name="T50" fmla="*/ 36 w 150"/>
                  <a:gd name="T51" fmla="*/ 47 h 96"/>
                  <a:gd name="T52" fmla="*/ 32 w 150"/>
                  <a:gd name="T53" fmla="*/ 42 h 96"/>
                  <a:gd name="T54" fmla="*/ 26 w 150"/>
                  <a:gd name="T55" fmla="*/ 32 h 96"/>
                  <a:gd name="T56" fmla="*/ 20 w 150"/>
                  <a:gd name="T57" fmla="*/ 23 h 96"/>
                  <a:gd name="T58" fmla="*/ 13 w 150"/>
                  <a:gd name="T59" fmla="*/ 16 h 96"/>
                  <a:gd name="T60" fmla="*/ 11 w 150"/>
                  <a:gd name="T61" fmla="*/ 5 h 96"/>
                  <a:gd name="T62" fmla="*/ 15 w 150"/>
                  <a:gd name="T63" fmla="*/ 7 h 96"/>
                  <a:gd name="T64" fmla="*/ 20 w 150"/>
                  <a:gd name="T65" fmla="*/ 9 h 96"/>
                  <a:gd name="T66" fmla="*/ 23 w 150"/>
                  <a:gd name="T67" fmla="*/ 19 h 96"/>
                  <a:gd name="T68" fmla="*/ 23 w 150"/>
                  <a:gd name="T69" fmla="*/ 20 h 96"/>
                  <a:gd name="T70" fmla="*/ 32 w 150"/>
                  <a:gd name="T71" fmla="*/ 27 h 96"/>
                  <a:gd name="T72" fmla="*/ 36 w 150"/>
                  <a:gd name="T73" fmla="*/ 33 h 96"/>
                  <a:gd name="T74" fmla="*/ 38 w 150"/>
                  <a:gd name="T75" fmla="*/ 38 h 96"/>
                  <a:gd name="T76" fmla="*/ 46 w 150"/>
                  <a:gd name="T77" fmla="*/ 45 h 96"/>
                  <a:gd name="T78" fmla="*/ 54 w 150"/>
                  <a:gd name="T79" fmla="*/ 53 h 96"/>
                  <a:gd name="T80" fmla="*/ 56 w 150"/>
                  <a:gd name="T81" fmla="*/ 59 h 96"/>
                  <a:gd name="T82" fmla="*/ 58 w 150"/>
                  <a:gd name="T83" fmla="*/ 65 h 96"/>
                  <a:gd name="T84" fmla="*/ 60 w 150"/>
                  <a:gd name="T85" fmla="*/ 72 h 96"/>
                  <a:gd name="T86" fmla="*/ 68 w 150"/>
                  <a:gd name="T87" fmla="*/ 77 h 96"/>
                  <a:gd name="T88" fmla="*/ 89 w 150"/>
                  <a:gd name="T89" fmla="*/ 86 h 96"/>
                  <a:gd name="T90" fmla="*/ 113 w 150"/>
                  <a:gd name="T91" fmla="*/ 88 h 96"/>
                  <a:gd name="T92" fmla="*/ 126 w 150"/>
                  <a:gd name="T93" fmla="*/ 89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0" h="96">
                    <a:moveTo>
                      <a:pt x="126" y="89"/>
                    </a:moveTo>
                    <a:cubicBezTo>
                      <a:pt x="127" y="89"/>
                      <a:pt x="134" y="90"/>
                      <a:pt x="132" y="88"/>
                    </a:cubicBezTo>
                    <a:cubicBezTo>
                      <a:pt x="131" y="86"/>
                      <a:pt x="129" y="85"/>
                      <a:pt x="128" y="83"/>
                    </a:cubicBezTo>
                    <a:cubicBezTo>
                      <a:pt x="128" y="83"/>
                      <a:pt x="129" y="80"/>
                      <a:pt x="130" y="80"/>
                    </a:cubicBezTo>
                    <a:cubicBezTo>
                      <a:pt x="131" y="79"/>
                      <a:pt x="136" y="80"/>
                      <a:pt x="138" y="80"/>
                    </a:cubicBezTo>
                    <a:cubicBezTo>
                      <a:pt x="141" y="80"/>
                      <a:pt x="140" y="75"/>
                      <a:pt x="144" y="78"/>
                    </a:cubicBezTo>
                    <a:cubicBezTo>
                      <a:pt x="145" y="76"/>
                      <a:pt x="146" y="75"/>
                      <a:pt x="146" y="73"/>
                    </a:cubicBezTo>
                    <a:cubicBezTo>
                      <a:pt x="146" y="71"/>
                      <a:pt x="145" y="69"/>
                      <a:pt x="146" y="68"/>
                    </a:cubicBezTo>
                    <a:cubicBezTo>
                      <a:pt x="147" y="66"/>
                      <a:pt x="150" y="64"/>
                      <a:pt x="150" y="63"/>
                    </a:cubicBezTo>
                    <a:cubicBezTo>
                      <a:pt x="149" y="61"/>
                      <a:pt x="148" y="61"/>
                      <a:pt x="146" y="61"/>
                    </a:cubicBezTo>
                    <a:cubicBezTo>
                      <a:pt x="143" y="61"/>
                      <a:pt x="139" y="61"/>
                      <a:pt x="136" y="62"/>
                    </a:cubicBezTo>
                    <a:cubicBezTo>
                      <a:pt x="134" y="62"/>
                      <a:pt x="133" y="63"/>
                      <a:pt x="132" y="64"/>
                    </a:cubicBezTo>
                    <a:cubicBezTo>
                      <a:pt x="131" y="66"/>
                      <a:pt x="132" y="68"/>
                      <a:pt x="131" y="70"/>
                    </a:cubicBezTo>
                    <a:cubicBezTo>
                      <a:pt x="131" y="71"/>
                      <a:pt x="126" y="76"/>
                      <a:pt x="126" y="76"/>
                    </a:cubicBezTo>
                    <a:cubicBezTo>
                      <a:pt x="122" y="75"/>
                      <a:pt x="118" y="76"/>
                      <a:pt x="114" y="78"/>
                    </a:cubicBezTo>
                    <a:cubicBezTo>
                      <a:pt x="112" y="78"/>
                      <a:pt x="111" y="77"/>
                      <a:pt x="110" y="76"/>
                    </a:cubicBezTo>
                    <a:cubicBezTo>
                      <a:pt x="109" y="75"/>
                      <a:pt x="107" y="75"/>
                      <a:pt x="105" y="74"/>
                    </a:cubicBezTo>
                    <a:cubicBezTo>
                      <a:pt x="103" y="74"/>
                      <a:pt x="103" y="71"/>
                      <a:pt x="102" y="69"/>
                    </a:cubicBezTo>
                    <a:cubicBezTo>
                      <a:pt x="101" y="67"/>
                      <a:pt x="99" y="66"/>
                      <a:pt x="98" y="64"/>
                    </a:cubicBezTo>
                    <a:cubicBezTo>
                      <a:pt x="97" y="60"/>
                      <a:pt x="95" y="55"/>
                      <a:pt x="96" y="51"/>
                    </a:cubicBezTo>
                    <a:cubicBezTo>
                      <a:pt x="96" y="48"/>
                      <a:pt x="95" y="44"/>
                      <a:pt x="97" y="41"/>
                    </a:cubicBezTo>
                    <a:cubicBezTo>
                      <a:pt x="98" y="40"/>
                      <a:pt x="98" y="39"/>
                      <a:pt x="98" y="38"/>
                    </a:cubicBezTo>
                    <a:cubicBezTo>
                      <a:pt x="99" y="36"/>
                      <a:pt x="97" y="37"/>
                      <a:pt x="96" y="36"/>
                    </a:cubicBezTo>
                    <a:cubicBezTo>
                      <a:pt x="94" y="36"/>
                      <a:pt x="92" y="35"/>
                      <a:pt x="90" y="35"/>
                    </a:cubicBezTo>
                    <a:cubicBezTo>
                      <a:pt x="89" y="34"/>
                      <a:pt x="87" y="32"/>
                      <a:pt x="87" y="30"/>
                    </a:cubicBezTo>
                    <a:cubicBezTo>
                      <a:pt x="87" y="27"/>
                      <a:pt x="84" y="26"/>
                      <a:pt x="82" y="24"/>
                    </a:cubicBezTo>
                    <a:cubicBezTo>
                      <a:pt x="81" y="22"/>
                      <a:pt x="81" y="20"/>
                      <a:pt x="80" y="18"/>
                    </a:cubicBezTo>
                    <a:cubicBezTo>
                      <a:pt x="79" y="17"/>
                      <a:pt x="77" y="17"/>
                      <a:pt x="75" y="17"/>
                    </a:cubicBezTo>
                    <a:cubicBezTo>
                      <a:pt x="74" y="16"/>
                      <a:pt x="72" y="16"/>
                      <a:pt x="71" y="17"/>
                    </a:cubicBezTo>
                    <a:cubicBezTo>
                      <a:pt x="71" y="18"/>
                      <a:pt x="70" y="20"/>
                      <a:pt x="68" y="20"/>
                    </a:cubicBezTo>
                    <a:cubicBezTo>
                      <a:pt x="66" y="20"/>
                      <a:pt x="63" y="18"/>
                      <a:pt x="62" y="16"/>
                    </a:cubicBezTo>
                    <a:cubicBezTo>
                      <a:pt x="61" y="13"/>
                      <a:pt x="61" y="12"/>
                      <a:pt x="59" y="10"/>
                    </a:cubicBezTo>
                    <a:cubicBezTo>
                      <a:pt x="57" y="9"/>
                      <a:pt x="54" y="6"/>
                      <a:pt x="52" y="6"/>
                    </a:cubicBezTo>
                    <a:cubicBezTo>
                      <a:pt x="51" y="5"/>
                      <a:pt x="45" y="5"/>
                      <a:pt x="45" y="6"/>
                    </a:cubicBezTo>
                    <a:cubicBezTo>
                      <a:pt x="43" y="9"/>
                      <a:pt x="42" y="8"/>
                      <a:pt x="39" y="8"/>
                    </a:cubicBezTo>
                    <a:cubicBezTo>
                      <a:pt x="35" y="8"/>
                      <a:pt x="32" y="8"/>
                      <a:pt x="29" y="8"/>
                    </a:cubicBezTo>
                    <a:cubicBezTo>
                      <a:pt x="28" y="8"/>
                      <a:pt x="25" y="6"/>
                      <a:pt x="23" y="5"/>
                    </a:cubicBezTo>
                    <a:cubicBezTo>
                      <a:pt x="20" y="4"/>
                      <a:pt x="17" y="3"/>
                      <a:pt x="13" y="1"/>
                    </a:cubicBezTo>
                    <a:cubicBezTo>
                      <a:pt x="9" y="0"/>
                      <a:pt x="4" y="1"/>
                      <a:pt x="0" y="2"/>
                    </a:cubicBezTo>
                    <a:cubicBezTo>
                      <a:pt x="1" y="7"/>
                      <a:pt x="5" y="11"/>
                      <a:pt x="7" y="16"/>
                    </a:cubicBezTo>
                    <a:cubicBezTo>
                      <a:pt x="8" y="18"/>
                      <a:pt x="11" y="20"/>
                      <a:pt x="13" y="21"/>
                    </a:cubicBezTo>
                    <a:cubicBezTo>
                      <a:pt x="14" y="23"/>
                      <a:pt x="16" y="26"/>
                      <a:pt x="15" y="28"/>
                    </a:cubicBezTo>
                    <a:cubicBezTo>
                      <a:pt x="15" y="28"/>
                      <a:pt x="8" y="26"/>
                      <a:pt x="12" y="29"/>
                    </a:cubicBezTo>
                    <a:cubicBezTo>
                      <a:pt x="13" y="30"/>
                      <a:pt x="14" y="31"/>
                      <a:pt x="15" y="32"/>
                    </a:cubicBezTo>
                    <a:cubicBezTo>
                      <a:pt x="17" y="32"/>
                      <a:pt x="18" y="32"/>
                      <a:pt x="19" y="33"/>
                    </a:cubicBezTo>
                    <a:cubicBezTo>
                      <a:pt x="21" y="34"/>
                      <a:pt x="23" y="36"/>
                      <a:pt x="25" y="38"/>
                    </a:cubicBezTo>
                    <a:cubicBezTo>
                      <a:pt x="26" y="39"/>
                      <a:pt x="25" y="41"/>
                      <a:pt x="24" y="42"/>
                    </a:cubicBezTo>
                    <a:cubicBezTo>
                      <a:pt x="23" y="43"/>
                      <a:pt x="25" y="44"/>
                      <a:pt x="26" y="44"/>
                    </a:cubicBezTo>
                    <a:cubicBezTo>
                      <a:pt x="29" y="46"/>
                      <a:pt x="31" y="48"/>
                      <a:pt x="33" y="50"/>
                    </a:cubicBezTo>
                    <a:cubicBezTo>
                      <a:pt x="34" y="51"/>
                      <a:pt x="35" y="53"/>
                      <a:pt x="36" y="53"/>
                    </a:cubicBezTo>
                    <a:cubicBezTo>
                      <a:pt x="37" y="53"/>
                      <a:pt x="38" y="51"/>
                      <a:pt x="37" y="50"/>
                    </a:cubicBezTo>
                    <a:cubicBezTo>
                      <a:pt x="37" y="49"/>
                      <a:pt x="36" y="48"/>
                      <a:pt x="36" y="47"/>
                    </a:cubicBezTo>
                    <a:cubicBezTo>
                      <a:pt x="35" y="46"/>
                      <a:pt x="33" y="47"/>
                      <a:pt x="32" y="46"/>
                    </a:cubicBezTo>
                    <a:cubicBezTo>
                      <a:pt x="30" y="44"/>
                      <a:pt x="32" y="44"/>
                      <a:pt x="32" y="42"/>
                    </a:cubicBezTo>
                    <a:cubicBezTo>
                      <a:pt x="32" y="42"/>
                      <a:pt x="30" y="40"/>
                      <a:pt x="30" y="39"/>
                    </a:cubicBezTo>
                    <a:cubicBezTo>
                      <a:pt x="28" y="37"/>
                      <a:pt x="28" y="34"/>
                      <a:pt x="26" y="32"/>
                    </a:cubicBezTo>
                    <a:cubicBezTo>
                      <a:pt x="24" y="31"/>
                      <a:pt x="22" y="29"/>
                      <a:pt x="21" y="27"/>
                    </a:cubicBezTo>
                    <a:cubicBezTo>
                      <a:pt x="21" y="26"/>
                      <a:pt x="21" y="24"/>
                      <a:pt x="20" y="23"/>
                    </a:cubicBezTo>
                    <a:cubicBezTo>
                      <a:pt x="19" y="22"/>
                      <a:pt x="18" y="21"/>
                      <a:pt x="17" y="20"/>
                    </a:cubicBezTo>
                    <a:cubicBezTo>
                      <a:pt x="16" y="18"/>
                      <a:pt x="15" y="17"/>
                      <a:pt x="13" y="16"/>
                    </a:cubicBezTo>
                    <a:cubicBezTo>
                      <a:pt x="12" y="15"/>
                      <a:pt x="12" y="13"/>
                      <a:pt x="12" y="12"/>
                    </a:cubicBezTo>
                    <a:cubicBezTo>
                      <a:pt x="12" y="11"/>
                      <a:pt x="10" y="6"/>
                      <a:pt x="11" y="5"/>
                    </a:cubicBezTo>
                    <a:cubicBezTo>
                      <a:pt x="12" y="4"/>
                      <a:pt x="13" y="7"/>
                      <a:pt x="14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7" y="6"/>
                      <a:pt x="17" y="7"/>
                      <a:pt x="18" y="8"/>
                    </a:cubicBezTo>
                    <a:cubicBezTo>
                      <a:pt x="19" y="8"/>
                      <a:pt x="20" y="8"/>
                      <a:pt x="20" y="9"/>
                    </a:cubicBezTo>
                    <a:cubicBezTo>
                      <a:pt x="20" y="11"/>
                      <a:pt x="21" y="13"/>
                      <a:pt x="22" y="15"/>
                    </a:cubicBezTo>
                    <a:cubicBezTo>
                      <a:pt x="22" y="16"/>
                      <a:pt x="23" y="18"/>
                      <a:pt x="23" y="19"/>
                    </a:cubicBezTo>
                    <a:cubicBezTo>
                      <a:pt x="23" y="20"/>
                      <a:pt x="22" y="21"/>
                      <a:pt x="22" y="22"/>
                    </a:cubicBezTo>
                    <a:cubicBezTo>
                      <a:pt x="23" y="22"/>
                      <a:pt x="23" y="20"/>
                      <a:pt x="23" y="20"/>
                    </a:cubicBezTo>
                    <a:cubicBezTo>
                      <a:pt x="24" y="19"/>
                      <a:pt x="25" y="22"/>
                      <a:pt x="26" y="22"/>
                    </a:cubicBezTo>
                    <a:cubicBezTo>
                      <a:pt x="27" y="23"/>
                      <a:pt x="32" y="26"/>
                      <a:pt x="32" y="27"/>
                    </a:cubicBezTo>
                    <a:cubicBezTo>
                      <a:pt x="32" y="29"/>
                      <a:pt x="33" y="30"/>
                      <a:pt x="34" y="30"/>
                    </a:cubicBezTo>
                    <a:cubicBezTo>
                      <a:pt x="35" y="31"/>
                      <a:pt x="35" y="32"/>
                      <a:pt x="36" y="33"/>
                    </a:cubicBezTo>
                    <a:cubicBezTo>
                      <a:pt x="37" y="34"/>
                      <a:pt x="38" y="33"/>
                      <a:pt x="38" y="34"/>
                    </a:cubicBezTo>
                    <a:cubicBezTo>
                      <a:pt x="39" y="35"/>
                      <a:pt x="37" y="36"/>
                      <a:pt x="38" y="38"/>
                    </a:cubicBezTo>
                    <a:cubicBezTo>
                      <a:pt x="40" y="39"/>
                      <a:pt x="42" y="40"/>
                      <a:pt x="44" y="42"/>
                    </a:cubicBezTo>
                    <a:cubicBezTo>
                      <a:pt x="45" y="43"/>
                      <a:pt x="45" y="44"/>
                      <a:pt x="46" y="45"/>
                    </a:cubicBezTo>
                    <a:cubicBezTo>
                      <a:pt x="47" y="46"/>
                      <a:pt x="48" y="46"/>
                      <a:pt x="49" y="48"/>
                    </a:cubicBezTo>
                    <a:cubicBezTo>
                      <a:pt x="51" y="49"/>
                      <a:pt x="52" y="51"/>
                      <a:pt x="54" y="53"/>
                    </a:cubicBezTo>
                    <a:cubicBezTo>
                      <a:pt x="55" y="54"/>
                      <a:pt x="56" y="55"/>
                      <a:pt x="57" y="56"/>
                    </a:cubicBezTo>
                    <a:cubicBezTo>
                      <a:pt x="58" y="58"/>
                      <a:pt x="56" y="58"/>
                      <a:pt x="56" y="59"/>
                    </a:cubicBezTo>
                    <a:cubicBezTo>
                      <a:pt x="56" y="60"/>
                      <a:pt x="59" y="59"/>
                      <a:pt x="59" y="61"/>
                    </a:cubicBezTo>
                    <a:cubicBezTo>
                      <a:pt x="58" y="63"/>
                      <a:pt x="57" y="63"/>
                      <a:pt x="58" y="65"/>
                    </a:cubicBezTo>
                    <a:cubicBezTo>
                      <a:pt x="58" y="65"/>
                      <a:pt x="56" y="67"/>
                      <a:pt x="57" y="68"/>
                    </a:cubicBezTo>
                    <a:cubicBezTo>
                      <a:pt x="58" y="69"/>
                      <a:pt x="59" y="71"/>
                      <a:pt x="60" y="72"/>
                    </a:cubicBezTo>
                    <a:cubicBezTo>
                      <a:pt x="61" y="73"/>
                      <a:pt x="62" y="73"/>
                      <a:pt x="63" y="73"/>
                    </a:cubicBezTo>
                    <a:cubicBezTo>
                      <a:pt x="66" y="74"/>
                      <a:pt x="66" y="76"/>
                      <a:pt x="68" y="77"/>
                    </a:cubicBezTo>
                    <a:cubicBezTo>
                      <a:pt x="71" y="79"/>
                      <a:pt x="75" y="79"/>
                      <a:pt x="77" y="81"/>
                    </a:cubicBezTo>
                    <a:cubicBezTo>
                      <a:pt x="81" y="83"/>
                      <a:pt x="85" y="85"/>
                      <a:pt x="89" y="86"/>
                    </a:cubicBezTo>
                    <a:cubicBezTo>
                      <a:pt x="92" y="88"/>
                      <a:pt x="97" y="90"/>
                      <a:pt x="101" y="91"/>
                    </a:cubicBezTo>
                    <a:cubicBezTo>
                      <a:pt x="105" y="91"/>
                      <a:pt x="108" y="87"/>
                      <a:pt x="113" y="88"/>
                    </a:cubicBezTo>
                    <a:cubicBezTo>
                      <a:pt x="117" y="89"/>
                      <a:pt x="120" y="93"/>
                      <a:pt x="123" y="96"/>
                    </a:cubicBezTo>
                    <a:cubicBezTo>
                      <a:pt x="123" y="95"/>
                      <a:pt x="124" y="90"/>
                      <a:pt x="126" y="89"/>
                    </a:cubicBezTo>
                    <a:cubicBezTo>
                      <a:pt x="127" y="89"/>
                      <a:pt x="125" y="89"/>
                      <a:pt x="126" y="8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6" name="Freeform 636">
                <a:extLst>
                  <a:ext uri="{FF2B5EF4-FFF2-40B4-BE49-F238E27FC236}">
                    <a16:creationId xmlns:a16="http://schemas.microsoft.com/office/drawing/2014/main" id="{48839A4F-031E-43BA-A114-83984BEBC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6683" y="4143826"/>
                <a:ext cx="140164" cy="74861"/>
              </a:xfrm>
              <a:custGeom>
                <a:avLst/>
                <a:gdLst>
                  <a:gd name="T0" fmla="*/ 12 w 30"/>
                  <a:gd name="T1" fmla="*/ 15 h 16"/>
                  <a:gd name="T2" fmla="*/ 13 w 30"/>
                  <a:gd name="T3" fmla="*/ 13 h 16"/>
                  <a:gd name="T4" fmla="*/ 16 w 30"/>
                  <a:gd name="T5" fmla="*/ 11 h 16"/>
                  <a:gd name="T6" fmla="*/ 20 w 30"/>
                  <a:gd name="T7" fmla="*/ 10 h 16"/>
                  <a:gd name="T8" fmla="*/ 24 w 30"/>
                  <a:gd name="T9" fmla="*/ 7 h 16"/>
                  <a:gd name="T10" fmla="*/ 30 w 30"/>
                  <a:gd name="T11" fmla="*/ 5 h 16"/>
                  <a:gd name="T12" fmla="*/ 20 w 30"/>
                  <a:gd name="T13" fmla="*/ 1 h 16"/>
                  <a:gd name="T14" fmla="*/ 14 w 30"/>
                  <a:gd name="T15" fmla="*/ 2 h 16"/>
                  <a:gd name="T16" fmla="*/ 8 w 30"/>
                  <a:gd name="T17" fmla="*/ 1 h 16"/>
                  <a:gd name="T18" fmla="*/ 2 w 30"/>
                  <a:gd name="T19" fmla="*/ 4 h 16"/>
                  <a:gd name="T20" fmla="*/ 1 w 30"/>
                  <a:gd name="T21" fmla="*/ 9 h 16"/>
                  <a:gd name="T22" fmla="*/ 8 w 30"/>
                  <a:gd name="T23" fmla="*/ 14 h 16"/>
                  <a:gd name="T24" fmla="*/ 10 w 30"/>
                  <a:gd name="T25" fmla="*/ 14 h 16"/>
                  <a:gd name="T26" fmla="*/ 9 w 30"/>
                  <a:gd name="T27" fmla="*/ 16 h 16"/>
                  <a:gd name="T28" fmla="*/ 12 w 30"/>
                  <a:gd name="T29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16">
                    <a:moveTo>
                      <a:pt x="12" y="15"/>
                    </a:moveTo>
                    <a:cubicBezTo>
                      <a:pt x="13" y="15"/>
                      <a:pt x="13" y="14"/>
                      <a:pt x="13" y="13"/>
                    </a:cubicBezTo>
                    <a:cubicBezTo>
                      <a:pt x="13" y="12"/>
                      <a:pt x="15" y="11"/>
                      <a:pt x="16" y="11"/>
                    </a:cubicBezTo>
                    <a:cubicBezTo>
                      <a:pt x="18" y="10"/>
                      <a:pt x="18" y="12"/>
                      <a:pt x="20" y="10"/>
                    </a:cubicBezTo>
                    <a:cubicBezTo>
                      <a:pt x="21" y="9"/>
                      <a:pt x="22" y="6"/>
                      <a:pt x="24" y="7"/>
                    </a:cubicBezTo>
                    <a:cubicBezTo>
                      <a:pt x="27" y="7"/>
                      <a:pt x="27" y="6"/>
                      <a:pt x="30" y="5"/>
                    </a:cubicBezTo>
                    <a:cubicBezTo>
                      <a:pt x="26" y="3"/>
                      <a:pt x="25" y="0"/>
                      <a:pt x="20" y="1"/>
                    </a:cubicBezTo>
                    <a:cubicBezTo>
                      <a:pt x="18" y="1"/>
                      <a:pt x="16" y="2"/>
                      <a:pt x="14" y="2"/>
                    </a:cubicBezTo>
                    <a:cubicBezTo>
                      <a:pt x="12" y="2"/>
                      <a:pt x="10" y="1"/>
                      <a:pt x="8" y="1"/>
                    </a:cubicBezTo>
                    <a:cubicBezTo>
                      <a:pt x="5" y="2"/>
                      <a:pt x="4" y="2"/>
                      <a:pt x="2" y="4"/>
                    </a:cubicBezTo>
                    <a:cubicBezTo>
                      <a:pt x="2" y="5"/>
                      <a:pt x="0" y="7"/>
                      <a:pt x="1" y="9"/>
                    </a:cubicBezTo>
                    <a:cubicBezTo>
                      <a:pt x="4" y="11"/>
                      <a:pt x="8" y="9"/>
                      <a:pt x="8" y="14"/>
                    </a:cubicBezTo>
                    <a:cubicBezTo>
                      <a:pt x="8" y="14"/>
                      <a:pt x="10" y="14"/>
                      <a:pt x="10" y="14"/>
                    </a:cubicBezTo>
                    <a:cubicBezTo>
                      <a:pt x="10" y="14"/>
                      <a:pt x="9" y="16"/>
                      <a:pt x="9" y="16"/>
                    </a:cubicBezTo>
                    <a:cubicBezTo>
                      <a:pt x="10" y="16"/>
                      <a:pt x="12" y="16"/>
                      <a:pt x="12" y="1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7" name="Freeform 637">
                <a:extLst>
                  <a:ext uri="{FF2B5EF4-FFF2-40B4-BE49-F238E27FC236}">
                    <a16:creationId xmlns:a16="http://schemas.microsoft.com/office/drawing/2014/main" id="{EE6CD6D5-208B-4BD1-99F0-D1B68C7BB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6683" y="4081708"/>
                <a:ext cx="33448" cy="70082"/>
              </a:xfrm>
              <a:custGeom>
                <a:avLst/>
                <a:gdLst>
                  <a:gd name="T0" fmla="*/ 5 w 7"/>
                  <a:gd name="T1" fmla="*/ 1 h 15"/>
                  <a:gd name="T2" fmla="*/ 2 w 7"/>
                  <a:gd name="T3" fmla="*/ 4 h 15"/>
                  <a:gd name="T4" fmla="*/ 1 w 7"/>
                  <a:gd name="T5" fmla="*/ 6 h 15"/>
                  <a:gd name="T6" fmla="*/ 2 w 7"/>
                  <a:gd name="T7" fmla="*/ 14 h 15"/>
                  <a:gd name="T8" fmla="*/ 6 w 7"/>
                  <a:gd name="T9" fmla="*/ 8 h 15"/>
                  <a:gd name="T10" fmla="*/ 7 w 7"/>
                  <a:gd name="T11" fmla="*/ 2 h 15"/>
                  <a:gd name="T12" fmla="*/ 5 w 7"/>
                  <a:gd name="T13" fmla="*/ 1 h 15"/>
                  <a:gd name="T14" fmla="*/ 5 w 7"/>
                  <a:gd name="T15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5">
                    <a:moveTo>
                      <a:pt x="5" y="1"/>
                    </a:moveTo>
                    <a:cubicBezTo>
                      <a:pt x="4" y="0"/>
                      <a:pt x="2" y="3"/>
                      <a:pt x="2" y="4"/>
                    </a:cubicBezTo>
                    <a:cubicBezTo>
                      <a:pt x="1" y="5"/>
                      <a:pt x="1" y="4"/>
                      <a:pt x="1" y="6"/>
                    </a:cubicBezTo>
                    <a:cubicBezTo>
                      <a:pt x="1" y="7"/>
                      <a:pt x="0" y="15"/>
                      <a:pt x="2" y="14"/>
                    </a:cubicBezTo>
                    <a:cubicBezTo>
                      <a:pt x="2" y="13"/>
                      <a:pt x="5" y="10"/>
                      <a:pt x="6" y="8"/>
                    </a:cubicBezTo>
                    <a:cubicBezTo>
                      <a:pt x="6" y="5"/>
                      <a:pt x="6" y="4"/>
                      <a:pt x="7" y="2"/>
                    </a:cubicBezTo>
                    <a:cubicBezTo>
                      <a:pt x="7" y="1"/>
                      <a:pt x="6" y="1"/>
                      <a:pt x="5" y="1"/>
                    </a:cubicBezTo>
                    <a:cubicBezTo>
                      <a:pt x="4" y="0"/>
                      <a:pt x="6" y="1"/>
                      <a:pt x="5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8" name="Freeform 640">
                <a:extLst>
                  <a:ext uri="{FF2B5EF4-FFF2-40B4-BE49-F238E27FC236}">
                    <a16:creationId xmlns:a16="http://schemas.microsoft.com/office/drawing/2014/main" id="{50EEE17C-4A80-4A18-B1A1-189859045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251" y="2482564"/>
                <a:ext cx="906290" cy="608439"/>
              </a:xfrm>
              <a:custGeom>
                <a:avLst/>
                <a:gdLst>
                  <a:gd name="T0" fmla="*/ 184 w 194"/>
                  <a:gd name="T1" fmla="*/ 118 h 130"/>
                  <a:gd name="T2" fmla="*/ 161 w 194"/>
                  <a:gd name="T3" fmla="*/ 97 h 130"/>
                  <a:gd name="T4" fmla="*/ 143 w 194"/>
                  <a:gd name="T5" fmla="*/ 92 h 130"/>
                  <a:gd name="T6" fmla="*/ 138 w 194"/>
                  <a:gd name="T7" fmla="*/ 76 h 130"/>
                  <a:gd name="T8" fmla="*/ 135 w 194"/>
                  <a:gd name="T9" fmla="*/ 14 h 130"/>
                  <a:gd name="T10" fmla="*/ 84 w 194"/>
                  <a:gd name="T11" fmla="*/ 8 h 130"/>
                  <a:gd name="T12" fmla="*/ 71 w 194"/>
                  <a:gd name="T13" fmla="*/ 5 h 130"/>
                  <a:gd name="T14" fmla="*/ 62 w 194"/>
                  <a:gd name="T15" fmla="*/ 1 h 130"/>
                  <a:gd name="T16" fmla="*/ 43 w 194"/>
                  <a:gd name="T17" fmla="*/ 8 h 130"/>
                  <a:gd name="T18" fmla="*/ 32 w 194"/>
                  <a:gd name="T19" fmla="*/ 11 h 130"/>
                  <a:gd name="T20" fmla="*/ 12 w 194"/>
                  <a:gd name="T21" fmla="*/ 23 h 130"/>
                  <a:gd name="T22" fmla="*/ 26 w 194"/>
                  <a:gd name="T23" fmla="*/ 38 h 130"/>
                  <a:gd name="T24" fmla="*/ 33 w 194"/>
                  <a:gd name="T25" fmla="*/ 42 h 130"/>
                  <a:gd name="T26" fmla="*/ 38 w 194"/>
                  <a:gd name="T27" fmla="*/ 45 h 130"/>
                  <a:gd name="T28" fmla="*/ 24 w 194"/>
                  <a:gd name="T29" fmla="*/ 42 h 130"/>
                  <a:gd name="T30" fmla="*/ 9 w 194"/>
                  <a:gd name="T31" fmla="*/ 46 h 130"/>
                  <a:gd name="T32" fmla="*/ 12 w 194"/>
                  <a:gd name="T33" fmla="*/ 58 h 130"/>
                  <a:gd name="T34" fmla="*/ 32 w 194"/>
                  <a:gd name="T35" fmla="*/ 58 h 130"/>
                  <a:gd name="T36" fmla="*/ 38 w 194"/>
                  <a:gd name="T37" fmla="*/ 61 h 130"/>
                  <a:gd name="T38" fmla="*/ 21 w 194"/>
                  <a:gd name="T39" fmla="*/ 71 h 130"/>
                  <a:gd name="T40" fmla="*/ 15 w 194"/>
                  <a:gd name="T41" fmla="*/ 78 h 130"/>
                  <a:gd name="T42" fmla="*/ 17 w 194"/>
                  <a:gd name="T43" fmla="*/ 84 h 130"/>
                  <a:gd name="T44" fmla="*/ 26 w 194"/>
                  <a:gd name="T45" fmla="*/ 89 h 130"/>
                  <a:gd name="T46" fmla="*/ 22 w 194"/>
                  <a:gd name="T47" fmla="*/ 94 h 130"/>
                  <a:gd name="T48" fmla="*/ 31 w 194"/>
                  <a:gd name="T49" fmla="*/ 93 h 130"/>
                  <a:gd name="T50" fmla="*/ 38 w 194"/>
                  <a:gd name="T51" fmla="*/ 102 h 130"/>
                  <a:gd name="T52" fmla="*/ 48 w 194"/>
                  <a:gd name="T53" fmla="*/ 105 h 130"/>
                  <a:gd name="T54" fmla="*/ 54 w 194"/>
                  <a:gd name="T55" fmla="*/ 103 h 130"/>
                  <a:gd name="T56" fmla="*/ 55 w 194"/>
                  <a:gd name="T57" fmla="*/ 106 h 130"/>
                  <a:gd name="T58" fmla="*/ 51 w 194"/>
                  <a:gd name="T59" fmla="*/ 114 h 130"/>
                  <a:gd name="T60" fmla="*/ 41 w 194"/>
                  <a:gd name="T61" fmla="*/ 124 h 130"/>
                  <a:gd name="T62" fmla="*/ 36 w 194"/>
                  <a:gd name="T63" fmla="*/ 126 h 130"/>
                  <a:gd name="T64" fmla="*/ 43 w 194"/>
                  <a:gd name="T65" fmla="*/ 125 h 130"/>
                  <a:gd name="T66" fmla="*/ 54 w 194"/>
                  <a:gd name="T67" fmla="*/ 118 h 130"/>
                  <a:gd name="T68" fmla="*/ 72 w 194"/>
                  <a:gd name="T69" fmla="*/ 107 h 130"/>
                  <a:gd name="T70" fmla="*/ 77 w 194"/>
                  <a:gd name="T71" fmla="*/ 91 h 130"/>
                  <a:gd name="T72" fmla="*/ 94 w 194"/>
                  <a:gd name="T73" fmla="*/ 86 h 130"/>
                  <a:gd name="T74" fmla="*/ 87 w 194"/>
                  <a:gd name="T75" fmla="*/ 97 h 130"/>
                  <a:gd name="T76" fmla="*/ 101 w 194"/>
                  <a:gd name="T77" fmla="*/ 88 h 130"/>
                  <a:gd name="T78" fmla="*/ 119 w 194"/>
                  <a:gd name="T79" fmla="*/ 92 h 130"/>
                  <a:gd name="T80" fmla="*/ 136 w 194"/>
                  <a:gd name="T81" fmla="*/ 95 h 130"/>
                  <a:gd name="T82" fmla="*/ 145 w 194"/>
                  <a:gd name="T83" fmla="*/ 98 h 130"/>
                  <a:gd name="T84" fmla="*/ 160 w 194"/>
                  <a:gd name="T85" fmla="*/ 102 h 130"/>
                  <a:gd name="T86" fmla="*/ 169 w 194"/>
                  <a:gd name="T87" fmla="*/ 104 h 130"/>
                  <a:gd name="T88" fmla="*/ 176 w 194"/>
                  <a:gd name="T89" fmla="*/ 111 h 130"/>
                  <a:gd name="T90" fmla="*/ 184 w 194"/>
                  <a:gd name="T91" fmla="*/ 121 h 130"/>
                  <a:gd name="T92" fmla="*/ 186 w 194"/>
                  <a:gd name="T93" fmla="*/ 125 h 130"/>
                  <a:gd name="T94" fmla="*/ 194 w 194"/>
                  <a:gd name="T95" fmla="*/ 12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4" h="130">
                    <a:moveTo>
                      <a:pt x="194" y="126"/>
                    </a:moveTo>
                    <a:cubicBezTo>
                      <a:pt x="193" y="125"/>
                      <a:pt x="191" y="125"/>
                      <a:pt x="193" y="123"/>
                    </a:cubicBezTo>
                    <a:cubicBezTo>
                      <a:pt x="193" y="122"/>
                      <a:pt x="192" y="122"/>
                      <a:pt x="191" y="122"/>
                    </a:cubicBezTo>
                    <a:cubicBezTo>
                      <a:pt x="189" y="120"/>
                      <a:pt x="185" y="119"/>
                      <a:pt x="184" y="118"/>
                    </a:cubicBezTo>
                    <a:cubicBezTo>
                      <a:pt x="180" y="113"/>
                      <a:pt x="178" y="107"/>
                      <a:pt x="174" y="103"/>
                    </a:cubicBezTo>
                    <a:cubicBezTo>
                      <a:pt x="172" y="102"/>
                      <a:pt x="170" y="100"/>
                      <a:pt x="169" y="99"/>
                    </a:cubicBezTo>
                    <a:cubicBezTo>
                      <a:pt x="167" y="98"/>
                      <a:pt x="167" y="95"/>
                      <a:pt x="165" y="95"/>
                    </a:cubicBezTo>
                    <a:cubicBezTo>
                      <a:pt x="164" y="95"/>
                      <a:pt x="161" y="97"/>
                      <a:pt x="161" y="97"/>
                    </a:cubicBezTo>
                    <a:cubicBezTo>
                      <a:pt x="162" y="99"/>
                      <a:pt x="159" y="100"/>
                      <a:pt x="158" y="100"/>
                    </a:cubicBezTo>
                    <a:cubicBezTo>
                      <a:pt x="155" y="101"/>
                      <a:pt x="152" y="97"/>
                      <a:pt x="150" y="95"/>
                    </a:cubicBezTo>
                    <a:cubicBezTo>
                      <a:pt x="149" y="94"/>
                      <a:pt x="148" y="94"/>
                      <a:pt x="147" y="92"/>
                    </a:cubicBezTo>
                    <a:cubicBezTo>
                      <a:pt x="146" y="90"/>
                      <a:pt x="144" y="91"/>
                      <a:pt x="143" y="92"/>
                    </a:cubicBezTo>
                    <a:cubicBezTo>
                      <a:pt x="141" y="92"/>
                      <a:pt x="141" y="91"/>
                      <a:pt x="139" y="92"/>
                    </a:cubicBezTo>
                    <a:cubicBezTo>
                      <a:pt x="139" y="92"/>
                      <a:pt x="138" y="92"/>
                      <a:pt x="138" y="91"/>
                    </a:cubicBezTo>
                    <a:cubicBezTo>
                      <a:pt x="138" y="90"/>
                      <a:pt x="138" y="90"/>
                      <a:pt x="138" y="89"/>
                    </a:cubicBezTo>
                    <a:cubicBezTo>
                      <a:pt x="138" y="85"/>
                      <a:pt x="138" y="80"/>
                      <a:pt x="138" y="76"/>
                    </a:cubicBezTo>
                    <a:cubicBezTo>
                      <a:pt x="138" y="64"/>
                      <a:pt x="138" y="51"/>
                      <a:pt x="138" y="38"/>
                    </a:cubicBezTo>
                    <a:cubicBezTo>
                      <a:pt x="138" y="33"/>
                      <a:pt x="138" y="27"/>
                      <a:pt x="138" y="21"/>
                    </a:cubicBezTo>
                    <a:cubicBezTo>
                      <a:pt x="138" y="20"/>
                      <a:pt x="138" y="18"/>
                      <a:pt x="138" y="16"/>
                    </a:cubicBezTo>
                    <a:cubicBezTo>
                      <a:pt x="138" y="15"/>
                      <a:pt x="137" y="15"/>
                      <a:pt x="135" y="14"/>
                    </a:cubicBezTo>
                    <a:cubicBezTo>
                      <a:pt x="130" y="12"/>
                      <a:pt x="127" y="12"/>
                      <a:pt x="122" y="12"/>
                    </a:cubicBezTo>
                    <a:cubicBezTo>
                      <a:pt x="117" y="12"/>
                      <a:pt x="113" y="11"/>
                      <a:pt x="108" y="10"/>
                    </a:cubicBezTo>
                    <a:cubicBezTo>
                      <a:pt x="102" y="10"/>
                      <a:pt x="97" y="8"/>
                      <a:pt x="92" y="8"/>
                    </a:cubicBezTo>
                    <a:cubicBezTo>
                      <a:pt x="89" y="8"/>
                      <a:pt x="87" y="9"/>
                      <a:pt x="84" y="8"/>
                    </a:cubicBezTo>
                    <a:cubicBezTo>
                      <a:pt x="84" y="8"/>
                      <a:pt x="80" y="7"/>
                      <a:pt x="80" y="7"/>
                    </a:cubicBezTo>
                    <a:cubicBezTo>
                      <a:pt x="80" y="7"/>
                      <a:pt x="81" y="5"/>
                      <a:pt x="81" y="4"/>
                    </a:cubicBezTo>
                    <a:cubicBezTo>
                      <a:pt x="81" y="4"/>
                      <a:pt x="78" y="4"/>
                      <a:pt x="78" y="4"/>
                    </a:cubicBezTo>
                    <a:cubicBezTo>
                      <a:pt x="76" y="4"/>
                      <a:pt x="73" y="5"/>
                      <a:pt x="71" y="5"/>
                    </a:cubicBezTo>
                    <a:cubicBezTo>
                      <a:pt x="69" y="5"/>
                      <a:pt x="70" y="1"/>
                      <a:pt x="67" y="3"/>
                    </a:cubicBezTo>
                    <a:cubicBezTo>
                      <a:pt x="66" y="3"/>
                      <a:pt x="65" y="5"/>
                      <a:pt x="64" y="4"/>
                    </a:cubicBezTo>
                    <a:cubicBezTo>
                      <a:pt x="62" y="4"/>
                      <a:pt x="62" y="3"/>
                      <a:pt x="64" y="2"/>
                    </a:cubicBezTo>
                    <a:cubicBezTo>
                      <a:pt x="66" y="2"/>
                      <a:pt x="63" y="1"/>
                      <a:pt x="62" y="1"/>
                    </a:cubicBezTo>
                    <a:cubicBezTo>
                      <a:pt x="58" y="0"/>
                      <a:pt x="58" y="1"/>
                      <a:pt x="56" y="3"/>
                    </a:cubicBezTo>
                    <a:cubicBezTo>
                      <a:pt x="53" y="6"/>
                      <a:pt x="49" y="4"/>
                      <a:pt x="45" y="5"/>
                    </a:cubicBezTo>
                    <a:cubicBezTo>
                      <a:pt x="41" y="6"/>
                      <a:pt x="45" y="8"/>
                      <a:pt x="45" y="8"/>
                    </a:cubicBezTo>
                    <a:cubicBezTo>
                      <a:pt x="44" y="8"/>
                      <a:pt x="43" y="8"/>
                      <a:pt x="43" y="8"/>
                    </a:cubicBezTo>
                    <a:cubicBezTo>
                      <a:pt x="43" y="8"/>
                      <a:pt x="44" y="10"/>
                      <a:pt x="43" y="10"/>
                    </a:cubicBezTo>
                    <a:cubicBezTo>
                      <a:pt x="42" y="10"/>
                      <a:pt x="42" y="8"/>
                      <a:pt x="42" y="7"/>
                    </a:cubicBezTo>
                    <a:cubicBezTo>
                      <a:pt x="41" y="7"/>
                      <a:pt x="38" y="10"/>
                      <a:pt x="38" y="10"/>
                    </a:cubicBezTo>
                    <a:cubicBezTo>
                      <a:pt x="36" y="11"/>
                      <a:pt x="34" y="9"/>
                      <a:pt x="32" y="11"/>
                    </a:cubicBezTo>
                    <a:cubicBezTo>
                      <a:pt x="30" y="12"/>
                      <a:pt x="28" y="13"/>
                      <a:pt x="27" y="15"/>
                    </a:cubicBezTo>
                    <a:cubicBezTo>
                      <a:pt x="27" y="17"/>
                      <a:pt x="27" y="19"/>
                      <a:pt x="25" y="20"/>
                    </a:cubicBezTo>
                    <a:cubicBezTo>
                      <a:pt x="23" y="21"/>
                      <a:pt x="22" y="22"/>
                      <a:pt x="20" y="22"/>
                    </a:cubicBezTo>
                    <a:cubicBezTo>
                      <a:pt x="19" y="22"/>
                      <a:pt x="13" y="22"/>
                      <a:pt x="12" y="23"/>
                    </a:cubicBezTo>
                    <a:cubicBezTo>
                      <a:pt x="12" y="24"/>
                      <a:pt x="10" y="27"/>
                      <a:pt x="10" y="27"/>
                    </a:cubicBezTo>
                    <a:cubicBezTo>
                      <a:pt x="11" y="28"/>
                      <a:pt x="14" y="28"/>
                      <a:pt x="15" y="29"/>
                    </a:cubicBezTo>
                    <a:cubicBezTo>
                      <a:pt x="18" y="30"/>
                      <a:pt x="21" y="32"/>
                      <a:pt x="23" y="34"/>
                    </a:cubicBezTo>
                    <a:cubicBezTo>
                      <a:pt x="24" y="35"/>
                      <a:pt x="24" y="37"/>
                      <a:pt x="26" y="38"/>
                    </a:cubicBezTo>
                    <a:cubicBezTo>
                      <a:pt x="28" y="38"/>
                      <a:pt x="29" y="38"/>
                      <a:pt x="31" y="37"/>
                    </a:cubicBezTo>
                    <a:cubicBezTo>
                      <a:pt x="31" y="37"/>
                      <a:pt x="34" y="38"/>
                      <a:pt x="34" y="38"/>
                    </a:cubicBezTo>
                    <a:cubicBezTo>
                      <a:pt x="36" y="41"/>
                      <a:pt x="31" y="39"/>
                      <a:pt x="31" y="39"/>
                    </a:cubicBezTo>
                    <a:cubicBezTo>
                      <a:pt x="29" y="39"/>
                      <a:pt x="32" y="41"/>
                      <a:pt x="33" y="42"/>
                    </a:cubicBezTo>
                    <a:cubicBezTo>
                      <a:pt x="34" y="44"/>
                      <a:pt x="35" y="43"/>
                      <a:pt x="37" y="42"/>
                    </a:cubicBezTo>
                    <a:cubicBezTo>
                      <a:pt x="38" y="41"/>
                      <a:pt x="41" y="41"/>
                      <a:pt x="42" y="42"/>
                    </a:cubicBezTo>
                    <a:cubicBezTo>
                      <a:pt x="43" y="43"/>
                      <a:pt x="38" y="44"/>
                      <a:pt x="38" y="44"/>
                    </a:cubicBezTo>
                    <a:cubicBezTo>
                      <a:pt x="37" y="44"/>
                      <a:pt x="38" y="44"/>
                      <a:pt x="38" y="45"/>
                    </a:cubicBezTo>
                    <a:cubicBezTo>
                      <a:pt x="38" y="46"/>
                      <a:pt x="36" y="45"/>
                      <a:pt x="36" y="45"/>
                    </a:cubicBezTo>
                    <a:cubicBezTo>
                      <a:pt x="35" y="45"/>
                      <a:pt x="34" y="46"/>
                      <a:pt x="32" y="46"/>
                    </a:cubicBezTo>
                    <a:cubicBezTo>
                      <a:pt x="30" y="46"/>
                      <a:pt x="26" y="47"/>
                      <a:pt x="24" y="46"/>
                    </a:cubicBezTo>
                    <a:cubicBezTo>
                      <a:pt x="22" y="45"/>
                      <a:pt x="25" y="43"/>
                      <a:pt x="24" y="42"/>
                    </a:cubicBezTo>
                    <a:cubicBezTo>
                      <a:pt x="23" y="42"/>
                      <a:pt x="21" y="42"/>
                      <a:pt x="20" y="43"/>
                    </a:cubicBezTo>
                    <a:cubicBezTo>
                      <a:pt x="19" y="43"/>
                      <a:pt x="17" y="43"/>
                      <a:pt x="16" y="43"/>
                    </a:cubicBezTo>
                    <a:cubicBezTo>
                      <a:pt x="14" y="44"/>
                      <a:pt x="15" y="46"/>
                      <a:pt x="15" y="46"/>
                    </a:cubicBezTo>
                    <a:cubicBezTo>
                      <a:pt x="13" y="46"/>
                      <a:pt x="11" y="45"/>
                      <a:pt x="9" y="46"/>
                    </a:cubicBezTo>
                    <a:cubicBezTo>
                      <a:pt x="8" y="47"/>
                      <a:pt x="6" y="48"/>
                      <a:pt x="5" y="49"/>
                    </a:cubicBezTo>
                    <a:cubicBezTo>
                      <a:pt x="0" y="52"/>
                      <a:pt x="12" y="52"/>
                      <a:pt x="12" y="53"/>
                    </a:cubicBezTo>
                    <a:cubicBezTo>
                      <a:pt x="11" y="54"/>
                      <a:pt x="8" y="54"/>
                      <a:pt x="10" y="55"/>
                    </a:cubicBezTo>
                    <a:cubicBezTo>
                      <a:pt x="11" y="56"/>
                      <a:pt x="11" y="58"/>
                      <a:pt x="12" y="58"/>
                    </a:cubicBezTo>
                    <a:cubicBezTo>
                      <a:pt x="16" y="59"/>
                      <a:pt x="19" y="58"/>
                      <a:pt x="23" y="58"/>
                    </a:cubicBezTo>
                    <a:cubicBezTo>
                      <a:pt x="24" y="59"/>
                      <a:pt x="25" y="59"/>
                      <a:pt x="26" y="59"/>
                    </a:cubicBezTo>
                    <a:cubicBezTo>
                      <a:pt x="28" y="59"/>
                      <a:pt x="27" y="59"/>
                      <a:pt x="29" y="60"/>
                    </a:cubicBezTo>
                    <a:cubicBezTo>
                      <a:pt x="29" y="60"/>
                      <a:pt x="31" y="58"/>
                      <a:pt x="32" y="58"/>
                    </a:cubicBezTo>
                    <a:cubicBezTo>
                      <a:pt x="33" y="57"/>
                      <a:pt x="34" y="57"/>
                      <a:pt x="35" y="57"/>
                    </a:cubicBezTo>
                    <a:cubicBezTo>
                      <a:pt x="36" y="56"/>
                      <a:pt x="37" y="55"/>
                      <a:pt x="37" y="55"/>
                    </a:cubicBezTo>
                    <a:cubicBezTo>
                      <a:pt x="38" y="56"/>
                      <a:pt x="39" y="57"/>
                      <a:pt x="38" y="58"/>
                    </a:cubicBezTo>
                    <a:cubicBezTo>
                      <a:pt x="37" y="59"/>
                      <a:pt x="36" y="59"/>
                      <a:pt x="38" y="61"/>
                    </a:cubicBezTo>
                    <a:cubicBezTo>
                      <a:pt x="40" y="65"/>
                      <a:pt x="38" y="68"/>
                      <a:pt x="33" y="67"/>
                    </a:cubicBezTo>
                    <a:cubicBezTo>
                      <a:pt x="33" y="67"/>
                      <a:pt x="32" y="66"/>
                      <a:pt x="31" y="67"/>
                    </a:cubicBezTo>
                    <a:cubicBezTo>
                      <a:pt x="30" y="68"/>
                      <a:pt x="29" y="70"/>
                      <a:pt x="28" y="70"/>
                    </a:cubicBezTo>
                    <a:cubicBezTo>
                      <a:pt x="26" y="71"/>
                      <a:pt x="20" y="68"/>
                      <a:pt x="21" y="71"/>
                    </a:cubicBezTo>
                    <a:cubicBezTo>
                      <a:pt x="21" y="71"/>
                      <a:pt x="18" y="73"/>
                      <a:pt x="19" y="73"/>
                    </a:cubicBezTo>
                    <a:cubicBezTo>
                      <a:pt x="19" y="73"/>
                      <a:pt x="20" y="73"/>
                      <a:pt x="20" y="73"/>
                    </a:cubicBezTo>
                    <a:cubicBezTo>
                      <a:pt x="21" y="74"/>
                      <a:pt x="18" y="75"/>
                      <a:pt x="17" y="76"/>
                    </a:cubicBezTo>
                    <a:cubicBezTo>
                      <a:pt x="16" y="76"/>
                      <a:pt x="15" y="77"/>
                      <a:pt x="15" y="78"/>
                    </a:cubicBezTo>
                    <a:cubicBezTo>
                      <a:pt x="14" y="80"/>
                      <a:pt x="16" y="80"/>
                      <a:pt x="14" y="81"/>
                    </a:cubicBezTo>
                    <a:cubicBezTo>
                      <a:pt x="12" y="82"/>
                      <a:pt x="14" y="84"/>
                      <a:pt x="15" y="85"/>
                    </a:cubicBezTo>
                    <a:cubicBezTo>
                      <a:pt x="15" y="86"/>
                      <a:pt x="18" y="81"/>
                      <a:pt x="19" y="81"/>
                    </a:cubicBezTo>
                    <a:cubicBezTo>
                      <a:pt x="19" y="81"/>
                      <a:pt x="17" y="84"/>
                      <a:pt x="17" y="84"/>
                    </a:cubicBezTo>
                    <a:cubicBezTo>
                      <a:pt x="16" y="85"/>
                      <a:pt x="19" y="87"/>
                      <a:pt x="20" y="87"/>
                    </a:cubicBezTo>
                    <a:cubicBezTo>
                      <a:pt x="21" y="88"/>
                      <a:pt x="21" y="89"/>
                      <a:pt x="22" y="88"/>
                    </a:cubicBezTo>
                    <a:cubicBezTo>
                      <a:pt x="23" y="87"/>
                      <a:pt x="24" y="86"/>
                      <a:pt x="24" y="86"/>
                    </a:cubicBezTo>
                    <a:cubicBezTo>
                      <a:pt x="24" y="87"/>
                      <a:pt x="25" y="89"/>
                      <a:pt x="26" y="89"/>
                    </a:cubicBezTo>
                    <a:cubicBezTo>
                      <a:pt x="24" y="90"/>
                      <a:pt x="23" y="89"/>
                      <a:pt x="22" y="89"/>
                    </a:cubicBezTo>
                    <a:cubicBezTo>
                      <a:pt x="21" y="90"/>
                      <a:pt x="20" y="87"/>
                      <a:pt x="19" y="87"/>
                    </a:cubicBezTo>
                    <a:cubicBezTo>
                      <a:pt x="18" y="87"/>
                      <a:pt x="16" y="90"/>
                      <a:pt x="18" y="91"/>
                    </a:cubicBezTo>
                    <a:cubicBezTo>
                      <a:pt x="20" y="92"/>
                      <a:pt x="20" y="93"/>
                      <a:pt x="22" y="94"/>
                    </a:cubicBezTo>
                    <a:cubicBezTo>
                      <a:pt x="23" y="96"/>
                      <a:pt x="25" y="95"/>
                      <a:pt x="27" y="95"/>
                    </a:cubicBezTo>
                    <a:cubicBezTo>
                      <a:pt x="28" y="94"/>
                      <a:pt x="30" y="95"/>
                      <a:pt x="30" y="93"/>
                    </a:cubicBezTo>
                    <a:cubicBezTo>
                      <a:pt x="30" y="91"/>
                      <a:pt x="31" y="88"/>
                      <a:pt x="33" y="89"/>
                    </a:cubicBezTo>
                    <a:cubicBezTo>
                      <a:pt x="33" y="88"/>
                      <a:pt x="31" y="92"/>
                      <a:pt x="31" y="93"/>
                    </a:cubicBezTo>
                    <a:cubicBezTo>
                      <a:pt x="31" y="94"/>
                      <a:pt x="35" y="97"/>
                      <a:pt x="34" y="98"/>
                    </a:cubicBezTo>
                    <a:cubicBezTo>
                      <a:pt x="32" y="100"/>
                      <a:pt x="35" y="101"/>
                      <a:pt x="35" y="101"/>
                    </a:cubicBezTo>
                    <a:cubicBezTo>
                      <a:pt x="34" y="101"/>
                      <a:pt x="32" y="104"/>
                      <a:pt x="32" y="104"/>
                    </a:cubicBezTo>
                    <a:cubicBezTo>
                      <a:pt x="33" y="105"/>
                      <a:pt x="38" y="102"/>
                      <a:pt x="38" y="102"/>
                    </a:cubicBezTo>
                    <a:cubicBezTo>
                      <a:pt x="38" y="103"/>
                      <a:pt x="37" y="103"/>
                      <a:pt x="37" y="104"/>
                    </a:cubicBezTo>
                    <a:cubicBezTo>
                      <a:pt x="37" y="104"/>
                      <a:pt x="39" y="102"/>
                      <a:pt x="40" y="101"/>
                    </a:cubicBezTo>
                    <a:cubicBezTo>
                      <a:pt x="41" y="101"/>
                      <a:pt x="45" y="102"/>
                      <a:pt x="45" y="103"/>
                    </a:cubicBezTo>
                    <a:cubicBezTo>
                      <a:pt x="46" y="104"/>
                      <a:pt x="48" y="107"/>
                      <a:pt x="48" y="105"/>
                    </a:cubicBezTo>
                    <a:cubicBezTo>
                      <a:pt x="48" y="104"/>
                      <a:pt x="50" y="100"/>
                      <a:pt x="50" y="100"/>
                    </a:cubicBezTo>
                    <a:cubicBezTo>
                      <a:pt x="50" y="99"/>
                      <a:pt x="53" y="102"/>
                      <a:pt x="53" y="101"/>
                    </a:cubicBezTo>
                    <a:cubicBezTo>
                      <a:pt x="53" y="101"/>
                      <a:pt x="50" y="101"/>
                      <a:pt x="50" y="102"/>
                    </a:cubicBezTo>
                    <a:cubicBezTo>
                      <a:pt x="50" y="104"/>
                      <a:pt x="53" y="104"/>
                      <a:pt x="54" y="103"/>
                    </a:cubicBezTo>
                    <a:cubicBezTo>
                      <a:pt x="55" y="102"/>
                      <a:pt x="56" y="103"/>
                      <a:pt x="57" y="102"/>
                    </a:cubicBezTo>
                    <a:cubicBezTo>
                      <a:pt x="57" y="102"/>
                      <a:pt x="59" y="100"/>
                      <a:pt x="59" y="100"/>
                    </a:cubicBezTo>
                    <a:cubicBezTo>
                      <a:pt x="59" y="100"/>
                      <a:pt x="57" y="103"/>
                      <a:pt x="56" y="104"/>
                    </a:cubicBezTo>
                    <a:cubicBezTo>
                      <a:pt x="56" y="105"/>
                      <a:pt x="56" y="105"/>
                      <a:pt x="55" y="106"/>
                    </a:cubicBezTo>
                    <a:cubicBezTo>
                      <a:pt x="55" y="107"/>
                      <a:pt x="56" y="106"/>
                      <a:pt x="56" y="107"/>
                    </a:cubicBezTo>
                    <a:cubicBezTo>
                      <a:pt x="56" y="107"/>
                      <a:pt x="55" y="108"/>
                      <a:pt x="54" y="109"/>
                    </a:cubicBezTo>
                    <a:cubicBezTo>
                      <a:pt x="54" y="111"/>
                      <a:pt x="54" y="111"/>
                      <a:pt x="55" y="112"/>
                    </a:cubicBezTo>
                    <a:cubicBezTo>
                      <a:pt x="55" y="112"/>
                      <a:pt x="52" y="114"/>
                      <a:pt x="51" y="114"/>
                    </a:cubicBezTo>
                    <a:cubicBezTo>
                      <a:pt x="50" y="116"/>
                      <a:pt x="49" y="117"/>
                      <a:pt x="47" y="118"/>
                    </a:cubicBezTo>
                    <a:cubicBezTo>
                      <a:pt x="45" y="118"/>
                      <a:pt x="43" y="120"/>
                      <a:pt x="42" y="121"/>
                    </a:cubicBezTo>
                    <a:cubicBezTo>
                      <a:pt x="41" y="121"/>
                      <a:pt x="41" y="122"/>
                      <a:pt x="40" y="122"/>
                    </a:cubicBezTo>
                    <a:cubicBezTo>
                      <a:pt x="40" y="123"/>
                      <a:pt x="41" y="124"/>
                      <a:pt x="41" y="124"/>
                    </a:cubicBezTo>
                    <a:cubicBezTo>
                      <a:pt x="40" y="125"/>
                      <a:pt x="37" y="124"/>
                      <a:pt x="36" y="124"/>
                    </a:cubicBezTo>
                    <a:cubicBezTo>
                      <a:pt x="33" y="124"/>
                      <a:pt x="32" y="125"/>
                      <a:pt x="30" y="127"/>
                    </a:cubicBezTo>
                    <a:cubicBezTo>
                      <a:pt x="29" y="128"/>
                      <a:pt x="30" y="130"/>
                      <a:pt x="31" y="129"/>
                    </a:cubicBezTo>
                    <a:cubicBezTo>
                      <a:pt x="33" y="128"/>
                      <a:pt x="35" y="125"/>
                      <a:pt x="36" y="126"/>
                    </a:cubicBezTo>
                    <a:cubicBezTo>
                      <a:pt x="36" y="125"/>
                      <a:pt x="35" y="129"/>
                      <a:pt x="38" y="126"/>
                    </a:cubicBezTo>
                    <a:cubicBezTo>
                      <a:pt x="38" y="126"/>
                      <a:pt x="40" y="129"/>
                      <a:pt x="41" y="127"/>
                    </a:cubicBezTo>
                    <a:cubicBezTo>
                      <a:pt x="41" y="126"/>
                      <a:pt x="40" y="126"/>
                      <a:pt x="41" y="126"/>
                    </a:cubicBezTo>
                    <a:cubicBezTo>
                      <a:pt x="42" y="125"/>
                      <a:pt x="42" y="125"/>
                      <a:pt x="43" y="125"/>
                    </a:cubicBezTo>
                    <a:cubicBezTo>
                      <a:pt x="44" y="125"/>
                      <a:pt x="44" y="125"/>
                      <a:pt x="45" y="124"/>
                    </a:cubicBezTo>
                    <a:cubicBezTo>
                      <a:pt x="46" y="123"/>
                      <a:pt x="48" y="123"/>
                      <a:pt x="50" y="122"/>
                    </a:cubicBezTo>
                    <a:cubicBezTo>
                      <a:pt x="53" y="121"/>
                      <a:pt x="49" y="121"/>
                      <a:pt x="51" y="120"/>
                    </a:cubicBezTo>
                    <a:cubicBezTo>
                      <a:pt x="52" y="119"/>
                      <a:pt x="53" y="118"/>
                      <a:pt x="54" y="118"/>
                    </a:cubicBezTo>
                    <a:cubicBezTo>
                      <a:pt x="56" y="117"/>
                      <a:pt x="58" y="116"/>
                      <a:pt x="59" y="116"/>
                    </a:cubicBezTo>
                    <a:cubicBezTo>
                      <a:pt x="62" y="114"/>
                      <a:pt x="60" y="115"/>
                      <a:pt x="60" y="113"/>
                    </a:cubicBezTo>
                    <a:cubicBezTo>
                      <a:pt x="60" y="113"/>
                      <a:pt x="68" y="109"/>
                      <a:pt x="69" y="108"/>
                    </a:cubicBezTo>
                    <a:cubicBezTo>
                      <a:pt x="70" y="108"/>
                      <a:pt x="72" y="108"/>
                      <a:pt x="72" y="107"/>
                    </a:cubicBezTo>
                    <a:cubicBezTo>
                      <a:pt x="72" y="104"/>
                      <a:pt x="73" y="105"/>
                      <a:pt x="75" y="104"/>
                    </a:cubicBezTo>
                    <a:cubicBezTo>
                      <a:pt x="78" y="102"/>
                      <a:pt x="69" y="101"/>
                      <a:pt x="73" y="97"/>
                    </a:cubicBezTo>
                    <a:cubicBezTo>
                      <a:pt x="75" y="96"/>
                      <a:pt x="77" y="96"/>
                      <a:pt x="78" y="95"/>
                    </a:cubicBezTo>
                    <a:cubicBezTo>
                      <a:pt x="79" y="94"/>
                      <a:pt x="79" y="91"/>
                      <a:pt x="77" y="91"/>
                    </a:cubicBezTo>
                    <a:cubicBezTo>
                      <a:pt x="79" y="91"/>
                      <a:pt x="79" y="92"/>
                      <a:pt x="81" y="91"/>
                    </a:cubicBezTo>
                    <a:cubicBezTo>
                      <a:pt x="82" y="90"/>
                      <a:pt x="83" y="88"/>
                      <a:pt x="85" y="87"/>
                    </a:cubicBezTo>
                    <a:cubicBezTo>
                      <a:pt x="86" y="86"/>
                      <a:pt x="88" y="84"/>
                      <a:pt x="89" y="84"/>
                    </a:cubicBezTo>
                    <a:cubicBezTo>
                      <a:pt x="90" y="84"/>
                      <a:pt x="95" y="84"/>
                      <a:pt x="94" y="86"/>
                    </a:cubicBezTo>
                    <a:cubicBezTo>
                      <a:pt x="93" y="87"/>
                      <a:pt x="91" y="85"/>
                      <a:pt x="89" y="86"/>
                    </a:cubicBezTo>
                    <a:cubicBezTo>
                      <a:pt x="87" y="87"/>
                      <a:pt x="87" y="88"/>
                      <a:pt x="86" y="90"/>
                    </a:cubicBezTo>
                    <a:cubicBezTo>
                      <a:pt x="86" y="92"/>
                      <a:pt x="84" y="94"/>
                      <a:pt x="84" y="96"/>
                    </a:cubicBezTo>
                    <a:cubicBezTo>
                      <a:pt x="83" y="97"/>
                      <a:pt x="87" y="96"/>
                      <a:pt x="87" y="97"/>
                    </a:cubicBezTo>
                    <a:cubicBezTo>
                      <a:pt x="86" y="97"/>
                      <a:pt x="81" y="99"/>
                      <a:pt x="85" y="99"/>
                    </a:cubicBezTo>
                    <a:cubicBezTo>
                      <a:pt x="88" y="99"/>
                      <a:pt x="90" y="97"/>
                      <a:pt x="93" y="96"/>
                    </a:cubicBezTo>
                    <a:cubicBezTo>
                      <a:pt x="95" y="94"/>
                      <a:pt x="97" y="94"/>
                      <a:pt x="99" y="93"/>
                    </a:cubicBezTo>
                    <a:cubicBezTo>
                      <a:pt x="103" y="92"/>
                      <a:pt x="101" y="90"/>
                      <a:pt x="101" y="88"/>
                    </a:cubicBezTo>
                    <a:cubicBezTo>
                      <a:pt x="100" y="84"/>
                      <a:pt x="109" y="87"/>
                      <a:pt x="111" y="88"/>
                    </a:cubicBezTo>
                    <a:cubicBezTo>
                      <a:pt x="113" y="88"/>
                      <a:pt x="114" y="90"/>
                      <a:pt x="116" y="91"/>
                    </a:cubicBezTo>
                    <a:cubicBezTo>
                      <a:pt x="116" y="91"/>
                      <a:pt x="118" y="88"/>
                      <a:pt x="119" y="89"/>
                    </a:cubicBezTo>
                    <a:cubicBezTo>
                      <a:pt x="119" y="89"/>
                      <a:pt x="119" y="91"/>
                      <a:pt x="119" y="92"/>
                    </a:cubicBezTo>
                    <a:cubicBezTo>
                      <a:pt x="121" y="93"/>
                      <a:pt x="122" y="93"/>
                      <a:pt x="123" y="93"/>
                    </a:cubicBezTo>
                    <a:cubicBezTo>
                      <a:pt x="126" y="93"/>
                      <a:pt x="129" y="92"/>
                      <a:pt x="131" y="93"/>
                    </a:cubicBezTo>
                    <a:cubicBezTo>
                      <a:pt x="132" y="93"/>
                      <a:pt x="133" y="94"/>
                      <a:pt x="134" y="93"/>
                    </a:cubicBezTo>
                    <a:cubicBezTo>
                      <a:pt x="135" y="93"/>
                      <a:pt x="135" y="94"/>
                      <a:pt x="136" y="95"/>
                    </a:cubicBezTo>
                    <a:cubicBezTo>
                      <a:pt x="137" y="95"/>
                      <a:pt x="139" y="96"/>
                      <a:pt x="140" y="96"/>
                    </a:cubicBezTo>
                    <a:cubicBezTo>
                      <a:pt x="142" y="96"/>
                      <a:pt x="143" y="94"/>
                      <a:pt x="144" y="94"/>
                    </a:cubicBezTo>
                    <a:cubicBezTo>
                      <a:pt x="146" y="93"/>
                      <a:pt x="145" y="96"/>
                      <a:pt x="145" y="96"/>
                    </a:cubicBezTo>
                    <a:cubicBezTo>
                      <a:pt x="144" y="97"/>
                      <a:pt x="144" y="97"/>
                      <a:pt x="145" y="98"/>
                    </a:cubicBezTo>
                    <a:cubicBezTo>
                      <a:pt x="148" y="99"/>
                      <a:pt x="150" y="100"/>
                      <a:pt x="152" y="101"/>
                    </a:cubicBezTo>
                    <a:cubicBezTo>
                      <a:pt x="154" y="103"/>
                      <a:pt x="156" y="105"/>
                      <a:pt x="158" y="106"/>
                    </a:cubicBezTo>
                    <a:cubicBezTo>
                      <a:pt x="159" y="106"/>
                      <a:pt x="160" y="105"/>
                      <a:pt x="161" y="105"/>
                    </a:cubicBezTo>
                    <a:cubicBezTo>
                      <a:pt x="162" y="104"/>
                      <a:pt x="160" y="103"/>
                      <a:pt x="160" y="102"/>
                    </a:cubicBezTo>
                    <a:cubicBezTo>
                      <a:pt x="160" y="101"/>
                      <a:pt x="163" y="103"/>
                      <a:pt x="163" y="103"/>
                    </a:cubicBezTo>
                    <a:cubicBezTo>
                      <a:pt x="163" y="104"/>
                      <a:pt x="166" y="106"/>
                      <a:pt x="167" y="105"/>
                    </a:cubicBezTo>
                    <a:cubicBezTo>
                      <a:pt x="167" y="105"/>
                      <a:pt x="165" y="99"/>
                      <a:pt x="165" y="99"/>
                    </a:cubicBezTo>
                    <a:cubicBezTo>
                      <a:pt x="166" y="99"/>
                      <a:pt x="168" y="104"/>
                      <a:pt x="169" y="104"/>
                    </a:cubicBezTo>
                    <a:cubicBezTo>
                      <a:pt x="169" y="105"/>
                      <a:pt x="170" y="107"/>
                      <a:pt x="171" y="107"/>
                    </a:cubicBezTo>
                    <a:cubicBezTo>
                      <a:pt x="172" y="107"/>
                      <a:pt x="173" y="105"/>
                      <a:pt x="173" y="105"/>
                    </a:cubicBezTo>
                    <a:cubicBezTo>
                      <a:pt x="171" y="106"/>
                      <a:pt x="177" y="110"/>
                      <a:pt x="177" y="111"/>
                    </a:cubicBezTo>
                    <a:cubicBezTo>
                      <a:pt x="176" y="111"/>
                      <a:pt x="176" y="111"/>
                      <a:pt x="176" y="111"/>
                    </a:cubicBezTo>
                    <a:cubicBezTo>
                      <a:pt x="175" y="112"/>
                      <a:pt x="177" y="112"/>
                      <a:pt x="177" y="113"/>
                    </a:cubicBezTo>
                    <a:cubicBezTo>
                      <a:pt x="177" y="113"/>
                      <a:pt x="175" y="114"/>
                      <a:pt x="176" y="114"/>
                    </a:cubicBezTo>
                    <a:cubicBezTo>
                      <a:pt x="177" y="115"/>
                      <a:pt x="178" y="116"/>
                      <a:pt x="179" y="117"/>
                    </a:cubicBezTo>
                    <a:cubicBezTo>
                      <a:pt x="181" y="119"/>
                      <a:pt x="182" y="120"/>
                      <a:pt x="184" y="121"/>
                    </a:cubicBezTo>
                    <a:cubicBezTo>
                      <a:pt x="184" y="121"/>
                      <a:pt x="182" y="125"/>
                      <a:pt x="183" y="125"/>
                    </a:cubicBezTo>
                    <a:cubicBezTo>
                      <a:pt x="184" y="126"/>
                      <a:pt x="184" y="124"/>
                      <a:pt x="184" y="124"/>
                    </a:cubicBezTo>
                    <a:cubicBezTo>
                      <a:pt x="185" y="123"/>
                      <a:pt x="185" y="126"/>
                      <a:pt x="186" y="127"/>
                    </a:cubicBezTo>
                    <a:cubicBezTo>
                      <a:pt x="186" y="127"/>
                      <a:pt x="186" y="126"/>
                      <a:pt x="186" y="125"/>
                    </a:cubicBezTo>
                    <a:cubicBezTo>
                      <a:pt x="186" y="127"/>
                      <a:pt x="192" y="130"/>
                      <a:pt x="193" y="127"/>
                    </a:cubicBezTo>
                    <a:cubicBezTo>
                      <a:pt x="193" y="127"/>
                      <a:pt x="193" y="128"/>
                      <a:pt x="193" y="128"/>
                    </a:cubicBezTo>
                    <a:cubicBezTo>
                      <a:pt x="193" y="128"/>
                      <a:pt x="194" y="127"/>
                      <a:pt x="194" y="126"/>
                    </a:cubicBezTo>
                    <a:cubicBezTo>
                      <a:pt x="193" y="126"/>
                      <a:pt x="194" y="127"/>
                      <a:pt x="194" y="12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9" name="Freeform 641">
                <a:extLst>
                  <a:ext uri="{FF2B5EF4-FFF2-40B4-BE49-F238E27FC236}">
                    <a16:creationId xmlns:a16="http://schemas.microsoft.com/office/drawing/2014/main" id="{155D7AD5-6F46-4507-9F9C-AC73CF918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812" y="3258243"/>
                <a:ext cx="1349080" cy="668965"/>
              </a:xfrm>
              <a:custGeom>
                <a:avLst/>
                <a:gdLst>
                  <a:gd name="T0" fmla="*/ 84 w 289"/>
                  <a:gd name="T1" fmla="*/ 106 h 143"/>
                  <a:gd name="T2" fmla="*/ 105 w 289"/>
                  <a:gd name="T3" fmla="*/ 119 h 143"/>
                  <a:gd name="T4" fmla="*/ 125 w 289"/>
                  <a:gd name="T5" fmla="*/ 127 h 143"/>
                  <a:gd name="T6" fmla="*/ 137 w 289"/>
                  <a:gd name="T7" fmla="*/ 127 h 143"/>
                  <a:gd name="T8" fmla="*/ 149 w 289"/>
                  <a:gd name="T9" fmla="*/ 119 h 143"/>
                  <a:gd name="T10" fmla="*/ 162 w 289"/>
                  <a:gd name="T11" fmla="*/ 118 h 143"/>
                  <a:gd name="T12" fmla="*/ 177 w 289"/>
                  <a:gd name="T13" fmla="*/ 119 h 143"/>
                  <a:gd name="T14" fmla="*/ 171 w 289"/>
                  <a:gd name="T15" fmla="*/ 113 h 143"/>
                  <a:gd name="T16" fmla="*/ 186 w 289"/>
                  <a:gd name="T17" fmla="*/ 113 h 143"/>
                  <a:gd name="T18" fmla="*/ 209 w 289"/>
                  <a:gd name="T19" fmla="*/ 122 h 143"/>
                  <a:gd name="T20" fmla="*/ 213 w 289"/>
                  <a:gd name="T21" fmla="*/ 133 h 143"/>
                  <a:gd name="T22" fmla="*/ 220 w 289"/>
                  <a:gd name="T23" fmla="*/ 143 h 143"/>
                  <a:gd name="T24" fmla="*/ 215 w 289"/>
                  <a:gd name="T25" fmla="*/ 108 h 143"/>
                  <a:gd name="T26" fmla="*/ 234 w 289"/>
                  <a:gd name="T27" fmla="*/ 92 h 143"/>
                  <a:gd name="T28" fmla="*/ 239 w 289"/>
                  <a:gd name="T29" fmla="*/ 86 h 143"/>
                  <a:gd name="T30" fmla="*/ 244 w 289"/>
                  <a:gd name="T31" fmla="*/ 82 h 143"/>
                  <a:gd name="T32" fmla="*/ 242 w 289"/>
                  <a:gd name="T33" fmla="*/ 78 h 143"/>
                  <a:gd name="T34" fmla="*/ 238 w 289"/>
                  <a:gd name="T35" fmla="*/ 71 h 143"/>
                  <a:gd name="T36" fmla="*/ 239 w 289"/>
                  <a:gd name="T37" fmla="*/ 69 h 143"/>
                  <a:gd name="T38" fmla="*/ 242 w 289"/>
                  <a:gd name="T39" fmla="*/ 75 h 143"/>
                  <a:gd name="T40" fmla="*/ 246 w 289"/>
                  <a:gd name="T41" fmla="*/ 62 h 143"/>
                  <a:gd name="T42" fmla="*/ 253 w 289"/>
                  <a:gd name="T43" fmla="*/ 52 h 143"/>
                  <a:gd name="T44" fmla="*/ 265 w 289"/>
                  <a:gd name="T45" fmla="*/ 48 h 143"/>
                  <a:gd name="T46" fmla="*/ 271 w 289"/>
                  <a:gd name="T47" fmla="*/ 48 h 143"/>
                  <a:gd name="T48" fmla="*/ 274 w 289"/>
                  <a:gd name="T49" fmla="*/ 35 h 143"/>
                  <a:gd name="T50" fmla="*/ 288 w 289"/>
                  <a:gd name="T51" fmla="*/ 28 h 143"/>
                  <a:gd name="T52" fmla="*/ 276 w 289"/>
                  <a:gd name="T53" fmla="*/ 13 h 143"/>
                  <a:gd name="T54" fmla="*/ 264 w 289"/>
                  <a:gd name="T55" fmla="*/ 28 h 143"/>
                  <a:gd name="T56" fmla="*/ 237 w 289"/>
                  <a:gd name="T57" fmla="*/ 39 h 143"/>
                  <a:gd name="T58" fmla="*/ 224 w 289"/>
                  <a:gd name="T59" fmla="*/ 45 h 143"/>
                  <a:gd name="T60" fmla="*/ 208 w 289"/>
                  <a:gd name="T61" fmla="*/ 44 h 143"/>
                  <a:gd name="T62" fmla="*/ 203 w 289"/>
                  <a:gd name="T63" fmla="*/ 36 h 143"/>
                  <a:gd name="T64" fmla="*/ 196 w 289"/>
                  <a:gd name="T65" fmla="*/ 28 h 143"/>
                  <a:gd name="T66" fmla="*/ 185 w 289"/>
                  <a:gd name="T67" fmla="*/ 48 h 143"/>
                  <a:gd name="T68" fmla="*/ 187 w 289"/>
                  <a:gd name="T69" fmla="*/ 25 h 143"/>
                  <a:gd name="T70" fmla="*/ 196 w 289"/>
                  <a:gd name="T71" fmla="*/ 17 h 143"/>
                  <a:gd name="T72" fmla="*/ 184 w 289"/>
                  <a:gd name="T73" fmla="*/ 13 h 143"/>
                  <a:gd name="T74" fmla="*/ 165 w 289"/>
                  <a:gd name="T75" fmla="*/ 15 h 143"/>
                  <a:gd name="T76" fmla="*/ 158 w 289"/>
                  <a:gd name="T77" fmla="*/ 5 h 143"/>
                  <a:gd name="T78" fmla="*/ 147 w 289"/>
                  <a:gd name="T79" fmla="*/ 4 h 143"/>
                  <a:gd name="T80" fmla="*/ 30 w 289"/>
                  <a:gd name="T81" fmla="*/ 4 h 143"/>
                  <a:gd name="T82" fmla="*/ 7 w 289"/>
                  <a:gd name="T83" fmla="*/ 9 h 143"/>
                  <a:gd name="T84" fmla="*/ 8 w 289"/>
                  <a:gd name="T85" fmla="*/ 21 h 143"/>
                  <a:gd name="T86" fmla="*/ 2 w 289"/>
                  <a:gd name="T87" fmla="*/ 40 h 143"/>
                  <a:gd name="T88" fmla="*/ 5 w 289"/>
                  <a:gd name="T89" fmla="*/ 63 h 143"/>
                  <a:gd name="T90" fmla="*/ 12 w 289"/>
                  <a:gd name="T91" fmla="*/ 73 h 143"/>
                  <a:gd name="T92" fmla="*/ 21 w 289"/>
                  <a:gd name="T93" fmla="*/ 88 h 143"/>
                  <a:gd name="T94" fmla="*/ 39 w 289"/>
                  <a:gd name="T95" fmla="*/ 102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89" h="143">
                    <a:moveTo>
                      <a:pt x="68" y="108"/>
                    </a:moveTo>
                    <a:cubicBezTo>
                      <a:pt x="71" y="108"/>
                      <a:pt x="74" y="108"/>
                      <a:pt x="78" y="108"/>
                    </a:cubicBezTo>
                    <a:cubicBezTo>
                      <a:pt x="79" y="108"/>
                      <a:pt x="81" y="108"/>
                      <a:pt x="82" y="108"/>
                    </a:cubicBezTo>
                    <a:cubicBezTo>
                      <a:pt x="83" y="108"/>
                      <a:pt x="83" y="106"/>
                      <a:pt x="84" y="106"/>
                    </a:cubicBezTo>
                    <a:cubicBezTo>
                      <a:pt x="85" y="105"/>
                      <a:pt x="91" y="105"/>
                      <a:pt x="91" y="106"/>
                    </a:cubicBezTo>
                    <a:cubicBezTo>
                      <a:pt x="94" y="108"/>
                      <a:pt x="97" y="110"/>
                      <a:pt x="100" y="112"/>
                    </a:cubicBezTo>
                    <a:cubicBezTo>
                      <a:pt x="100" y="112"/>
                      <a:pt x="101" y="115"/>
                      <a:pt x="101" y="116"/>
                    </a:cubicBezTo>
                    <a:cubicBezTo>
                      <a:pt x="102" y="118"/>
                      <a:pt x="102" y="118"/>
                      <a:pt x="105" y="119"/>
                    </a:cubicBezTo>
                    <a:cubicBezTo>
                      <a:pt x="107" y="120"/>
                      <a:pt x="108" y="121"/>
                      <a:pt x="109" y="119"/>
                    </a:cubicBezTo>
                    <a:cubicBezTo>
                      <a:pt x="110" y="116"/>
                      <a:pt x="111" y="116"/>
                      <a:pt x="114" y="117"/>
                    </a:cubicBezTo>
                    <a:cubicBezTo>
                      <a:pt x="116" y="117"/>
                      <a:pt x="119" y="118"/>
                      <a:pt x="119" y="120"/>
                    </a:cubicBezTo>
                    <a:cubicBezTo>
                      <a:pt x="121" y="123"/>
                      <a:pt x="123" y="124"/>
                      <a:pt x="125" y="127"/>
                    </a:cubicBezTo>
                    <a:cubicBezTo>
                      <a:pt x="127" y="129"/>
                      <a:pt x="126" y="133"/>
                      <a:pt x="129" y="134"/>
                    </a:cubicBezTo>
                    <a:cubicBezTo>
                      <a:pt x="131" y="136"/>
                      <a:pt x="135" y="136"/>
                      <a:pt x="137" y="137"/>
                    </a:cubicBezTo>
                    <a:cubicBezTo>
                      <a:pt x="137" y="136"/>
                      <a:pt x="135" y="129"/>
                      <a:pt x="135" y="129"/>
                    </a:cubicBezTo>
                    <a:cubicBezTo>
                      <a:pt x="137" y="130"/>
                      <a:pt x="136" y="127"/>
                      <a:pt x="137" y="127"/>
                    </a:cubicBezTo>
                    <a:cubicBezTo>
                      <a:pt x="137" y="126"/>
                      <a:pt x="139" y="126"/>
                      <a:pt x="140" y="125"/>
                    </a:cubicBezTo>
                    <a:cubicBezTo>
                      <a:pt x="141" y="125"/>
                      <a:pt x="142" y="122"/>
                      <a:pt x="142" y="122"/>
                    </a:cubicBezTo>
                    <a:cubicBezTo>
                      <a:pt x="143" y="123"/>
                      <a:pt x="144" y="123"/>
                      <a:pt x="145" y="122"/>
                    </a:cubicBezTo>
                    <a:cubicBezTo>
                      <a:pt x="147" y="121"/>
                      <a:pt x="148" y="121"/>
                      <a:pt x="149" y="119"/>
                    </a:cubicBezTo>
                    <a:cubicBezTo>
                      <a:pt x="151" y="118"/>
                      <a:pt x="148" y="118"/>
                      <a:pt x="148" y="117"/>
                    </a:cubicBezTo>
                    <a:cubicBezTo>
                      <a:pt x="148" y="117"/>
                      <a:pt x="151" y="118"/>
                      <a:pt x="152" y="117"/>
                    </a:cubicBezTo>
                    <a:cubicBezTo>
                      <a:pt x="154" y="116"/>
                      <a:pt x="155" y="116"/>
                      <a:pt x="157" y="116"/>
                    </a:cubicBezTo>
                    <a:cubicBezTo>
                      <a:pt x="159" y="116"/>
                      <a:pt x="160" y="119"/>
                      <a:pt x="162" y="118"/>
                    </a:cubicBezTo>
                    <a:cubicBezTo>
                      <a:pt x="165" y="116"/>
                      <a:pt x="166" y="118"/>
                      <a:pt x="168" y="119"/>
                    </a:cubicBezTo>
                    <a:cubicBezTo>
                      <a:pt x="170" y="120"/>
                      <a:pt x="171" y="118"/>
                      <a:pt x="172" y="118"/>
                    </a:cubicBezTo>
                    <a:cubicBezTo>
                      <a:pt x="173" y="117"/>
                      <a:pt x="176" y="119"/>
                      <a:pt x="176" y="120"/>
                    </a:cubicBezTo>
                    <a:cubicBezTo>
                      <a:pt x="177" y="121"/>
                      <a:pt x="178" y="120"/>
                      <a:pt x="177" y="119"/>
                    </a:cubicBezTo>
                    <a:cubicBezTo>
                      <a:pt x="177" y="119"/>
                      <a:pt x="176" y="118"/>
                      <a:pt x="175" y="118"/>
                    </a:cubicBezTo>
                    <a:cubicBezTo>
                      <a:pt x="174" y="117"/>
                      <a:pt x="176" y="117"/>
                      <a:pt x="176" y="117"/>
                    </a:cubicBezTo>
                    <a:cubicBezTo>
                      <a:pt x="175" y="115"/>
                      <a:pt x="175" y="114"/>
                      <a:pt x="173" y="115"/>
                    </a:cubicBezTo>
                    <a:cubicBezTo>
                      <a:pt x="173" y="115"/>
                      <a:pt x="169" y="115"/>
                      <a:pt x="171" y="113"/>
                    </a:cubicBezTo>
                    <a:cubicBezTo>
                      <a:pt x="173" y="113"/>
                      <a:pt x="174" y="114"/>
                      <a:pt x="175" y="114"/>
                    </a:cubicBezTo>
                    <a:cubicBezTo>
                      <a:pt x="178" y="113"/>
                      <a:pt x="180" y="113"/>
                      <a:pt x="183" y="113"/>
                    </a:cubicBezTo>
                    <a:cubicBezTo>
                      <a:pt x="184" y="113"/>
                      <a:pt x="183" y="113"/>
                      <a:pt x="184" y="114"/>
                    </a:cubicBezTo>
                    <a:cubicBezTo>
                      <a:pt x="184" y="114"/>
                      <a:pt x="185" y="114"/>
                      <a:pt x="186" y="113"/>
                    </a:cubicBezTo>
                    <a:cubicBezTo>
                      <a:pt x="188" y="113"/>
                      <a:pt x="190" y="113"/>
                      <a:pt x="192" y="113"/>
                    </a:cubicBezTo>
                    <a:cubicBezTo>
                      <a:pt x="194" y="113"/>
                      <a:pt x="194" y="115"/>
                      <a:pt x="196" y="116"/>
                    </a:cubicBezTo>
                    <a:cubicBezTo>
                      <a:pt x="198" y="118"/>
                      <a:pt x="200" y="116"/>
                      <a:pt x="202" y="115"/>
                    </a:cubicBezTo>
                    <a:cubicBezTo>
                      <a:pt x="203" y="115"/>
                      <a:pt x="209" y="121"/>
                      <a:pt x="209" y="122"/>
                    </a:cubicBezTo>
                    <a:cubicBezTo>
                      <a:pt x="210" y="123"/>
                      <a:pt x="208" y="125"/>
                      <a:pt x="209" y="126"/>
                    </a:cubicBezTo>
                    <a:cubicBezTo>
                      <a:pt x="210" y="128"/>
                      <a:pt x="209" y="128"/>
                      <a:pt x="210" y="130"/>
                    </a:cubicBezTo>
                    <a:cubicBezTo>
                      <a:pt x="210" y="131"/>
                      <a:pt x="211" y="132"/>
                      <a:pt x="211" y="132"/>
                    </a:cubicBezTo>
                    <a:cubicBezTo>
                      <a:pt x="212" y="132"/>
                      <a:pt x="212" y="133"/>
                      <a:pt x="213" y="133"/>
                    </a:cubicBezTo>
                    <a:cubicBezTo>
                      <a:pt x="214" y="134"/>
                      <a:pt x="213" y="136"/>
                      <a:pt x="214" y="137"/>
                    </a:cubicBezTo>
                    <a:cubicBezTo>
                      <a:pt x="215" y="138"/>
                      <a:pt x="216" y="138"/>
                      <a:pt x="217" y="140"/>
                    </a:cubicBezTo>
                    <a:cubicBezTo>
                      <a:pt x="219" y="143"/>
                      <a:pt x="218" y="140"/>
                      <a:pt x="220" y="141"/>
                    </a:cubicBezTo>
                    <a:cubicBezTo>
                      <a:pt x="220" y="141"/>
                      <a:pt x="220" y="143"/>
                      <a:pt x="220" y="143"/>
                    </a:cubicBezTo>
                    <a:cubicBezTo>
                      <a:pt x="221" y="143"/>
                      <a:pt x="222" y="136"/>
                      <a:pt x="222" y="135"/>
                    </a:cubicBezTo>
                    <a:cubicBezTo>
                      <a:pt x="222" y="132"/>
                      <a:pt x="221" y="130"/>
                      <a:pt x="220" y="126"/>
                    </a:cubicBezTo>
                    <a:cubicBezTo>
                      <a:pt x="218" y="123"/>
                      <a:pt x="218" y="120"/>
                      <a:pt x="217" y="117"/>
                    </a:cubicBezTo>
                    <a:cubicBezTo>
                      <a:pt x="215" y="115"/>
                      <a:pt x="214" y="111"/>
                      <a:pt x="215" y="108"/>
                    </a:cubicBezTo>
                    <a:cubicBezTo>
                      <a:pt x="216" y="105"/>
                      <a:pt x="218" y="103"/>
                      <a:pt x="221" y="101"/>
                    </a:cubicBezTo>
                    <a:cubicBezTo>
                      <a:pt x="222" y="100"/>
                      <a:pt x="223" y="100"/>
                      <a:pt x="224" y="99"/>
                    </a:cubicBezTo>
                    <a:cubicBezTo>
                      <a:pt x="225" y="98"/>
                      <a:pt x="226" y="96"/>
                      <a:pt x="227" y="96"/>
                    </a:cubicBezTo>
                    <a:cubicBezTo>
                      <a:pt x="229" y="94"/>
                      <a:pt x="232" y="94"/>
                      <a:pt x="234" y="92"/>
                    </a:cubicBezTo>
                    <a:cubicBezTo>
                      <a:pt x="235" y="91"/>
                      <a:pt x="236" y="89"/>
                      <a:pt x="238" y="89"/>
                    </a:cubicBezTo>
                    <a:cubicBezTo>
                      <a:pt x="238" y="89"/>
                      <a:pt x="242" y="89"/>
                      <a:pt x="241" y="87"/>
                    </a:cubicBezTo>
                    <a:cubicBezTo>
                      <a:pt x="241" y="87"/>
                      <a:pt x="238" y="88"/>
                      <a:pt x="238" y="88"/>
                    </a:cubicBezTo>
                    <a:cubicBezTo>
                      <a:pt x="238" y="87"/>
                      <a:pt x="240" y="88"/>
                      <a:pt x="239" y="86"/>
                    </a:cubicBezTo>
                    <a:cubicBezTo>
                      <a:pt x="239" y="86"/>
                      <a:pt x="238" y="85"/>
                      <a:pt x="239" y="85"/>
                    </a:cubicBezTo>
                    <a:cubicBezTo>
                      <a:pt x="239" y="84"/>
                      <a:pt x="239" y="85"/>
                      <a:pt x="240" y="84"/>
                    </a:cubicBezTo>
                    <a:cubicBezTo>
                      <a:pt x="239" y="85"/>
                      <a:pt x="241" y="86"/>
                      <a:pt x="241" y="85"/>
                    </a:cubicBezTo>
                    <a:cubicBezTo>
                      <a:pt x="242" y="85"/>
                      <a:pt x="245" y="83"/>
                      <a:pt x="244" y="82"/>
                    </a:cubicBezTo>
                    <a:cubicBezTo>
                      <a:pt x="244" y="83"/>
                      <a:pt x="238" y="82"/>
                      <a:pt x="239" y="81"/>
                    </a:cubicBezTo>
                    <a:cubicBezTo>
                      <a:pt x="239" y="80"/>
                      <a:pt x="240" y="82"/>
                      <a:pt x="241" y="81"/>
                    </a:cubicBezTo>
                    <a:cubicBezTo>
                      <a:pt x="241" y="81"/>
                      <a:pt x="243" y="80"/>
                      <a:pt x="243" y="80"/>
                    </a:cubicBezTo>
                    <a:cubicBezTo>
                      <a:pt x="243" y="80"/>
                      <a:pt x="242" y="79"/>
                      <a:pt x="242" y="78"/>
                    </a:cubicBezTo>
                    <a:cubicBezTo>
                      <a:pt x="243" y="77"/>
                      <a:pt x="243" y="76"/>
                      <a:pt x="241" y="76"/>
                    </a:cubicBezTo>
                    <a:cubicBezTo>
                      <a:pt x="241" y="76"/>
                      <a:pt x="237" y="74"/>
                      <a:pt x="237" y="74"/>
                    </a:cubicBezTo>
                    <a:cubicBezTo>
                      <a:pt x="238" y="73"/>
                      <a:pt x="239" y="74"/>
                      <a:pt x="240" y="74"/>
                    </a:cubicBezTo>
                    <a:cubicBezTo>
                      <a:pt x="241" y="73"/>
                      <a:pt x="239" y="71"/>
                      <a:pt x="238" y="71"/>
                    </a:cubicBezTo>
                    <a:cubicBezTo>
                      <a:pt x="237" y="70"/>
                      <a:pt x="236" y="69"/>
                      <a:pt x="236" y="68"/>
                    </a:cubicBezTo>
                    <a:cubicBezTo>
                      <a:pt x="235" y="67"/>
                      <a:pt x="238" y="65"/>
                      <a:pt x="237" y="64"/>
                    </a:cubicBezTo>
                    <a:cubicBezTo>
                      <a:pt x="238" y="65"/>
                      <a:pt x="237" y="66"/>
                      <a:pt x="237" y="67"/>
                    </a:cubicBezTo>
                    <a:cubicBezTo>
                      <a:pt x="237" y="67"/>
                      <a:pt x="239" y="69"/>
                      <a:pt x="239" y="69"/>
                    </a:cubicBezTo>
                    <a:cubicBezTo>
                      <a:pt x="241" y="67"/>
                      <a:pt x="239" y="62"/>
                      <a:pt x="242" y="61"/>
                    </a:cubicBezTo>
                    <a:cubicBezTo>
                      <a:pt x="241" y="61"/>
                      <a:pt x="241" y="66"/>
                      <a:pt x="242" y="67"/>
                    </a:cubicBezTo>
                    <a:cubicBezTo>
                      <a:pt x="242" y="69"/>
                      <a:pt x="244" y="69"/>
                      <a:pt x="244" y="71"/>
                    </a:cubicBezTo>
                    <a:cubicBezTo>
                      <a:pt x="244" y="72"/>
                      <a:pt x="241" y="74"/>
                      <a:pt x="242" y="75"/>
                    </a:cubicBezTo>
                    <a:cubicBezTo>
                      <a:pt x="242" y="75"/>
                      <a:pt x="248" y="69"/>
                      <a:pt x="247" y="67"/>
                    </a:cubicBezTo>
                    <a:cubicBezTo>
                      <a:pt x="247" y="65"/>
                      <a:pt x="245" y="64"/>
                      <a:pt x="245" y="62"/>
                    </a:cubicBezTo>
                    <a:cubicBezTo>
                      <a:pt x="244" y="61"/>
                      <a:pt x="245" y="58"/>
                      <a:pt x="247" y="59"/>
                    </a:cubicBezTo>
                    <a:cubicBezTo>
                      <a:pt x="246" y="58"/>
                      <a:pt x="245" y="61"/>
                      <a:pt x="246" y="62"/>
                    </a:cubicBezTo>
                    <a:cubicBezTo>
                      <a:pt x="248" y="64"/>
                      <a:pt x="248" y="65"/>
                      <a:pt x="250" y="62"/>
                    </a:cubicBezTo>
                    <a:cubicBezTo>
                      <a:pt x="251" y="61"/>
                      <a:pt x="253" y="58"/>
                      <a:pt x="252" y="56"/>
                    </a:cubicBezTo>
                    <a:cubicBezTo>
                      <a:pt x="252" y="56"/>
                      <a:pt x="251" y="55"/>
                      <a:pt x="252" y="54"/>
                    </a:cubicBezTo>
                    <a:cubicBezTo>
                      <a:pt x="252" y="54"/>
                      <a:pt x="253" y="52"/>
                      <a:pt x="253" y="52"/>
                    </a:cubicBezTo>
                    <a:cubicBezTo>
                      <a:pt x="253" y="52"/>
                      <a:pt x="253" y="54"/>
                      <a:pt x="253" y="54"/>
                    </a:cubicBezTo>
                    <a:cubicBezTo>
                      <a:pt x="253" y="54"/>
                      <a:pt x="258" y="51"/>
                      <a:pt x="260" y="51"/>
                    </a:cubicBezTo>
                    <a:cubicBezTo>
                      <a:pt x="261" y="50"/>
                      <a:pt x="263" y="51"/>
                      <a:pt x="264" y="51"/>
                    </a:cubicBezTo>
                    <a:cubicBezTo>
                      <a:pt x="266" y="50"/>
                      <a:pt x="265" y="49"/>
                      <a:pt x="265" y="48"/>
                    </a:cubicBezTo>
                    <a:cubicBezTo>
                      <a:pt x="266" y="48"/>
                      <a:pt x="266" y="50"/>
                      <a:pt x="267" y="50"/>
                    </a:cubicBezTo>
                    <a:cubicBezTo>
                      <a:pt x="267" y="50"/>
                      <a:pt x="269" y="49"/>
                      <a:pt x="269" y="49"/>
                    </a:cubicBezTo>
                    <a:cubicBezTo>
                      <a:pt x="271" y="51"/>
                      <a:pt x="275" y="46"/>
                      <a:pt x="272" y="46"/>
                    </a:cubicBezTo>
                    <a:cubicBezTo>
                      <a:pt x="272" y="46"/>
                      <a:pt x="272" y="48"/>
                      <a:pt x="271" y="48"/>
                    </a:cubicBezTo>
                    <a:cubicBezTo>
                      <a:pt x="270" y="48"/>
                      <a:pt x="268" y="44"/>
                      <a:pt x="268" y="44"/>
                    </a:cubicBezTo>
                    <a:cubicBezTo>
                      <a:pt x="269" y="43"/>
                      <a:pt x="268" y="42"/>
                      <a:pt x="269" y="41"/>
                    </a:cubicBezTo>
                    <a:cubicBezTo>
                      <a:pt x="270" y="39"/>
                      <a:pt x="271" y="37"/>
                      <a:pt x="272" y="36"/>
                    </a:cubicBezTo>
                    <a:cubicBezTo>
                      <a:pt x="273" y="36"/>
                      <a:pt x="274" y="35"/>
                      <a:pt x="274" y="35"/>
                    </a:cubicBezTo>
                    <a:cubicBezTo>
                      <a:pt x="276" y="36"/>
                      <a:pt x="277" y="33"/>
                      <a:pt x="278" y="32"/>
                    </a:cubicBezTo>
                    <a:cubicBezTo>
                      <a:pt x="278" y="32"/>
                      <a:pt x="280" y="33"/>
                      <a:pt x="281" y="32"/>
                    </a:cubicBezTo>
                    <a:cubicBezTo>
                      <a:pt x="283" y="31"/>
                      <a:pt x="285" y="31"/>
                      <a:pt x="286" y="30"/>
                    </a:cubicBezTo>
                    <a:cubicBezTo>
                      <a:pt x="287" y="30"/>
                      <a:pt x="289" y="29"/>
                      <a:pt x="288" y="28"/>
                    </a:cubicBezTo>
                    <a:cubicBezTo>
                      <a:pt x="286" y="26"/>
                      <a:pt x="286" y="25"/>
                      <a:pt x="285" y="24"/>
                    </a:cubicBezTo>
                    <a:cubicBezTo>
                      <a:pt x="281" y="23"/>
                      <a:pt x="287" y="14"/>
                      <a:pt x="281" y="14"/>
                    </a:cubicBezTo>
                    <a:cubicBezTo>
                      <a:pt x="280" y="13"/>
                      <a:pt x="279" y="15"/>
                      <a:pt x="278" y="14"/>
                    </a:cubicBezTo>
                    <a:cubicBezTo>
                      <a:pt x="277" y="13"/>
                      <a:pt x="277" y="12"/>
                      <a:pt x="276" y="13"/>
                    </a:cubicBezTo>
                    <a:cubicBezTo>
                      <a:pt x="275" y="14"/>
                      <a:pt x="274" y="16"/>
                      <a:pt x="273" y="17"/>
                    </a:cubicBezTo>
                    <a:cubicBezTo>
                      <a:pt x="272" y="18"/>
                      <a:pt x="272" y="20"/>
                      <a:pt x="271" y="21"/>
                    </a:cubicBezTo>
                    <a:cubicBezTo>
                      <a:pt x="271" y="23"/>
                      <a:pt x="270" y="26"/>
                      <a:pt x="268" y="26"/>
                    </a:cubicBezTo>
                    <a:cubicBezTo>
                      <a:pt x="266" y="26"/>
                      <a:pt x="266" y="28"/>
                      <a:pt x="264" y="28"/>
                    </a:cubicBezTo>
                    <a:cubicBezTo>
                      <a:pt x="259" y="28"/>
                      <a:pt x="254" y="28"/>
                      <a:pt x="249" y="28"/>
                    </a:cubicBezTo>
                    <a:cubicBezTo>
                      <a:pt x="247" y="28"/>
                      <a:pt x="247" y="28"/>
                      <a:pt x="246" y="29"/>
                    </a:cubicBezTo>
                    <a:cubicBezTo>
                      <a:pt x="245" y="31"/>
                      <a:pt x="241" y="33"/>
                      <a:pt x="241" y="34"/>
                    </a:cubicBezTo>
                    <a:cubicBezTo>
                      <a:pt x="242" y="37"/>
                      <a:pt x="239" y="39"/>
                      <a:pt x="237" y="39"/>
                    </a:cubicBezTo>
                    <a:cubicBezTo>
                      <a:pt x="235" y="39"/>
                      <a:pt x="234" y="38"/>
                      <a:pt x="232" y="38"/>
                    </a:cubicBezTo>
                    <a:cubicBezTo>
                      <a:pt x="230" y="38"/>
                      <a:pt x="228" y="39"/>
                      <a:pt x="227" y="39"/>
                    </a:cubicBezTo>
                    <a:cubicBezTo>
                      <a:pt x="227" y="39"/>
                      <a:pt x="227" y="42"/>
                      <a:pt x="228" y="42"/>
                    </a:cubicBezTo>
                    <a:cubicBezTo>
                      <a:pt x="227" y="43"/>
                      <a:pt x="226" y="44"/>
                      <a:pt x="224" y="45"/>
                    </a:cubicBezTo>
                    <a:cubicBezTo>
                      <a:pt x="222" y="46"/>
                      <a:pt x="219" y="48"/>
                      <a:pt x="216" y="49"/>
                    </a:cubicBezTo>
                    <a:cubicBezTo>
                      <a:pt x="213" y="50"/>
                      <a:pt x="210" y="50"/>
                      <a:pt x="207" y="49"/>
                    </a:cubicBezTo>
                    <a:cubicBezTo>
                      <a:pt x="206" y="48"/>
                      <a:pt x="205" y="47"/>
                      <a:pt x="206" y="46"/>
                    </a:cubicBezTo>
                    <a:cubicBezTo>
                      <a:pt x="206" y="46"/>
                      <a:pt x="207" y="44"/>
                      <a:pt x="208" y="44"/>
                    </a:cubicBezTo>
                    <a:cubicBezTo>
                      <a:pt x="208" y="44"/>
                      <a:pt x="208" y="45"/>
                      <a:pt x="208" y="46"/>
                    </a:cubicBezTo>
                    <a:cubicBezTo>
                      <a:pt x="210" y="42"/>
                      <a:pt x="211" y="39"/>
                      <a:pt x="209" y="35"/>
                    </a:cubicBezTo>
                    <a:cubicBezTo>
                      <a:pt x="208" y="34"/>
                      <a:pt x="206" y="36"/>
                      <a:pt x="205" y="36"/>
                    </a:cubicBezTo>
                    <a:cubicBezTo>
                      <a:pt x="204" y="37"/>
                      <a:pt x="204" y="36"/>
                      <a:pt x="203" y="36"/>
                    </a:cubicBezTo>
                    <a:cubicBezTo>
                      <a:pt x="202" y="35"/>
                      <a:pt x="204" y="34"/>
                      <a:pt x="204" y="34"/>
                    </a:cubicBezTo>
                    <a:cubicBezTo>
                      <a:pt x="208" y="30"/>
                      <a:pt x="205" y="26"/>
                      <a:pt x="201" y="25"/>
                    </a:cubicBezTo>
                    <a:cubicBezTo>
                      <a:pt x="198" y="24"/>
                      <a:pt x="198" y="25"/>
                      <a:pt x="196" y="26"/>
                    </a:cubicBezTo>
                    <a:cubicBezTo>
                      <a:pt x="196" y="27"/>
                      <a:pt x="196" y="27"/>
                      <a:pt x="196" y="28"/>
                    </a:cubicBezTo>
                    <a:cubicBezTo>
                      <a:pt x="196" y="29"/>
                      <a:pt x="194" y="28"/>
                      <a:pt x="193" y="28"/>
                    </a:cubicBezTo>
                    <a:cubicBezTo>
                      <a:pt x="192" y="28"/>
                      <a:pt x="190" y="36"/>
                      <a:pt x="190" y="37"/>
                    </a:cubicBezTo>
                    <a:cubicBezTo>
                      <a:pt x="191" y="42"/>
                      <a:pt x="192" y="45"/>
                      <a:pt x="188" y="47"/>
                    </a:cubicBezTo>
                    <a:cubicBezTo>
                      <a:pt x="188" y="48"/>
                      <a:pt x="185" y="49"/>
                      <a:pt x="185" y="48"/>
                    </a:cubicBezTo>
                    <a:cubicBezTo>
                      <a:pt x="185" y="46"/>
                      <a:pt x="184" y="44"/>
                      <a:pt x="184" y="42"/>
                    </a:cubicBezTo>
                    <a:cubicBezTo>
                      <a:pt x="184" y="41"/>
                      <a:pt x="186" y="30"/>
                      <a:pt x="186" y="30"/>
                    </a:cubicBezTo>
                    <a:cubicBezTo>
                      <a:pt x="185" y="30"/>
                      <a:pt x="183" y="32"/>
                      <a:pt x="183" y="31"/>
                    </a:cubicBezTo>
                    <a:cubicBezTo>
                      <a:pt x="183" y="30"/>
                      <a:pt x="186" y="26"/>
                      <a:pt x="187" y="25"/>
                    </a:cubicBezTo>
                    <a:cubicBezTo>
                      <a:pt x="188" y="23"/>
                      <a:pt x="191" y="23"/>
                      <a:pt x="193" y="22"/>
                    </a:cubicBezTo>
                    <a:cubicBezTo>
                      <a:pt x="196" y="22"/>
                      <a:pt x="199" y="23"/>
                      <a:pt x="202" y="23"/>
                    </a:cubicBezTo>
                    <a:cubicBezTo>
                      <a:pt x="205" y="23"/>
                      <a:pt x="201" y="20"/>
                      <a:pt x="199" y="20"/>
                    </a:cubicBezTo>
                    <a:cubicBezTo>
                      <a:pt x="197" y="20"/>
                      <a:pt x="199" y="17"/>
                      <a:pt x="196" y="17"/>
                    </a:cubicBezTo>
                    <a:cubicBezTo>
                      <a:pt x="194" y="18"/>
                      <a:pt x="192" y="19"/>
                      <a:pt x="189" y="19"/>
                    </a:cubicBezTo>
                    <a:cubicBezTo>
                      <a:pt x="187" y="19"/>
                      <a:pt x="185" y="17"/>
                      <a:pt x="183" y="16"/>
                    </a:cubicBezTo>
                    <a:cubicBezTo>
                      <a:pt x="183" y="16"/>
                      <a:pt x="180" y="16"/>
                      <a:pt x="181" y="15"/>
                    </a:cubicBezTo>
                    <a:cubicBezTo>
                      <a:pt x="182" y="15"/>
                      <a:pt x="184" y="14"/>
                      <a:pt x="184" y="13"/>
                    </a:cubicBezTo>
                    <a:cubicBezTo>
                      <a:pt x="184" y="13"/>
                      <a:pt x="176" y="16"/>
                      <a:pt x="175" y="16"/>
                    </a:cubicBezTo>
                    <a:cubicBezTo>
                      <a:pt x="174" y="17"/>
                      <a:pt x="173" y="18"/>
                      <a:pt x="172" y="18"/>
                    </a:cubicBezTo>
                    <a:cubicBezTo>
                      <a:pt x="170" y="18"/>
                      <a:pt x="170" y="16"/>
                      <a:pt x="168" y="16"/>
                    </a:cubicBezTo>
                    <a:cubicBezTo>
                      <a:pt x="167" y="16"/>
                      <a:pt x="162" y="18"/>
                      <a:pt x="165" y="15"/>
                    </a:cubicBezTo>
                    <a:cubicBezTo>
                      <a:pt x="168" y="13"/>
                      <a:pt x="171" y="11"/>
                      <a:pt x="174" y="9"/>
                    </a:cubicBezTo>
                    <a:cubicBezTo>
                      <a:pt x="172" y="9"/>
                      <a:pt x="170" y="7"/>
                      <a:pt x="168" y="9"/>
                    </a:cubicBezTo>
                    <a:cubicBezTo>
                      <a:pt x="165" y="10"/>
                      <a:pt x="164" y="8"/>
                      <a:pt x="161" y="7"/>
                    </a:cubicBezTo>
                    <a:cubicBezTo>
                      <a:pt x="160" y="7"/>
                      <a:pt x="159" y="6"/>
                      <a:pt x="158" y="5"/>
                    </a:cubicBezTo>
                    <a:cubicBezTo>
                      <a:pt x="156" y="5"/>
                      <a:pt x="155" y="6"/>
                      <a:pt x="153" y="6"/>
                    </a:cubicBezTo>
                    <a:cubicBezTo>
                      <a:pt x="152" y="5"/>
                      <a:pt x="150" y="5"/>
                      <a:pt x="150" y="3"/>
                    </a:cubicBezTo>
                    <a:cubicBezTo>
                      <a:pt x="150" y="3"/>
                      <a:pt x="148" y="0"/>
                      <a:pt x="148" y="1"/>
                    </a:cubicBezTo>
                    <a:cubicBezTo>
                      <a:pt x="147" y="1"/>
                      <a:pt x="148" y="4"/>
                      <a:pt x="147" y="4"/>
                    </a:cubicBezTo>
                    <a:cubicBezTo>
                      <a:pt x="146" y="4"/>
                      <a:pt x="145" y="4"/>
                      <a:pt x="145" y="4"/>
                    </a:cubicBezTo>
                    <a:cubicBezTo>
                      <a:pt x="142" y="4"/>
                      <a:pt x="139" y="4"/>
                      <a:pt x="136" y="4"/>
                    </a:cubicBezTo>
                    <a:cubicBezTo>
                      <a:pt x="125" y="4"/>
                      <a:pt x="115" y="4"/>
                      <a:pt x="105" y="4"/>
                    </a:cubicBezTo>
                    <a:cubicBezTo>
                      <a:pt x="80" y="4"/>
                      <a:pt x="55" y="4"/>
                      <a:pt x="30" y="4"/>
                    </a:cubicBezTo>
                    <a:cubicBezTo>
                      <a:pt x="24" y="4"/>
                      <a:pt x="17" y="4"/>
                      <a:pt x="11" y="4"/>
                    </a:cubicBezTo>
                    <a:cubicBezTo>
                      <a:pt x="12" y="5"/>
                      <a:pt x="14" y="13"/>
                      <a:pt x="11" y="14"/>
                    </a:cubicBezTo>
                    <a:cubicBezTo>
                      <a:pt x="9" y="14"/>
                      <a:pt x="8" y="14"/>
                      <a:pt x="10" y="12"/>
                    </a:cubicBezTo>
                    <a:cubicBezTo>
                      <a:pt x="12" y="9"/>
                      <a:pt x="9" y="9"/>
                      <a:pt x="7" y="9"/>
                    </a:cubicBezTo>
                    <a:cubicBezTo>
                      <a:pt x="5" y="9"/>
                      <a:pt x="2" y="7"/>
                      <a:pt x="1" y="7"/>
                    </a:cubicBezTo>
                    <a:cubicBezTo>
                      <a:pt x="0" y="8"/>
                      <a:pt x="2" y="12"/>
                      <a:pt x="2" y="12"/>
                    </a:cubicBezTo>
                    <a:cubicBezTo>
                      <a:pt x="3" y="15"/>
                      <a:pt x="4" y="16"/>
                      <a:pt x="4" y="18"/>
                    </a:cubicBezTo>
                    <a:cubicBezTo>
                      <a:pt x="4" y="19"/>
                      <a:pt x="7" y="21"/>
                      <a:pt x="8" y="21"/>
                    </a:cubicBezTo>
                    <a:cubicBezTo>
                      <a:pt x="7" y="21"/>
                      <a:pt x="6" y="21"/>
                      <a:pt x="5" y="22"/>
                    </a:cubicBezTo>
                    <a:cubicBezTo>
                      <a:pt x="4" y="23"/>
                      <a:pt x="5" y="24"/>
                      <a:pt x="5" y="25"/>
                    </a:cubicBezTo>
                    <a:cubicBezTo>
                      <a:pt x="5" y="28"/>
                      <a:pt x="5" y="30"/>
                      <a:pt x="4" y="32"/>
                    </a:cubicBezTo>
                    <a:cubicBezTo>
                      <a:pt x="4" y="35"/>
                      <a:pt x="3" y="37"/>
                      <a:pt x="2" y="40"/>
                    </a:cubicBezTo>
                    <a:cubicBezTo>
                      <a:pt x="1" y="43"/>
                      <a:pt x="3" y="46"/>
                      <a:pt x="4" y="49"/>
                    </a:cubicBezTo>
                    <a:cubicBezTo>
                      <a:pt x="4" y="52"/>
                      <a:pt x="3" y="54"/>
                      <a:pt x="3" y="56"/>
                    </a:cubicBezTo>
                    <a:cubicBezTo>
                      <a:pt x="3" y="57"/>
                      <a:pt x="4" y="58"/>
                      <a:pt x="4" y="59"/>
                    </a:cubicBezTo>
                    <a:cubicBezTo>
                      <a:pt x="5" y="60"/>
                      <a:pt x="5" y="62"/>
                      <a:pt x="5" y="63"/>
                    </a:cubicBezTo>
                    <a:cubicBezTo>
                      <a:pt x="6" y="66"/>
                      <a:pt x="9" y="67"/>
                      <a:pt x="10" y="70"/>
                    </a:cubicBezTo>
                    <a:cubicBezTo>
                      <a:pt x="11" y="72"/>
                      <a:pt x="11" y="71"/>
                      <a:pt x="12" y="70"/>
                    </a:cubicBezTo>
                    <a:cubicBezTo>
                      <a:pt x="12" y="70"/>
                      <a:pt x="13" y="73"/>
                      <a:pt x="13" y="73"/>
                    </a:cubicBezTo>
                    <a:cubicBezTo>
                      <a:pt x="13" y="73"/>
                      <a:pt x="12" y="72"/>
                      <a:pt x="12" y="73"/>
                    </a:cubicBezTo>
                    <a:cubicBezTo>
                      <a:pt x="12" y="74"/>
                      <a:pt x="12" y="75"/>
                      <a:pt x="13" y="76"/>
                    </a:cubicBezTo>
                    <a:cubicBezTo>
                      <a:pt x="14" y="76"/>
                      <a:pt x="14" y="76"/>
                      <a:pt x="15" y="77"/>
                    </a:cubicBezTo>
                    <a:cubicBezTo>
                      <a:pt x="16" y="78"/>
                      <a:pt x="14" y="79"/>
                      <a:pt x="15" y="80"/>
                    </a:cubicBezTo>
                    <a:cubicBezTo>
                      <a:pt x="17" y="83"/>
                      <a:pt x="21" y="85"/>
                      <a:pt x="21" y="88"/>
                    </a:cubicBezTo>
                    <a:cubicBezTo>
                      <a:pt x="22" y="90"/>
                      <a:pt x="23" y="90"/>
                      <a:pt x="25" y="91"/>
                    </a:cubicBezTo>
                    <a:cubicBezTo>
                      <a:pt x="27" y="92"/>
                      <a:pt x="29" y="93"/>
                      <a:pt x="31" y="93"/>
                    </a:cubicBezTo>
                    <a:cubicBezTo>
                      <a:pt x="33" y="93"/>
                      <a:pt x="35" y="95"/>
                      <a:pt x="36" y="96"/>
                    </a:cubicBezTo>
                    <a:cubicBezTo>
                      <a:pt x="36" y="97"/>
                      <a:pt x="40" y="101"/>
                      <a:pt x="39" y="102"/>
                    </a:cubicBezTo>
                    <a:cubicBezTo>
                      <a:pt x="43" y="101"/>
                      <a:pt x="48" y="100"/>
                      <a:pt x="52" y="101"/>
                    </a:cubicBezTo>
                    <a:cubicBezTo>
                      <a:pt x="58" y="103"/>
                      <a:pt x="63" y="106"/>
                      <a:pt x="68" y="1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0" name="Freeform 642">
                <a:extLst>
                  <a:ext uri="{FF2B5EF4-FFF2-40B4-BE49-F238E27FC236}">
                    <a16:creationId xmlns:a16="http://schemas.microsoft.com/office/drawing/2014/main" id="{D02A7657-49C6-4F33-BE44-2B39A16494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67324" y="2453894"/>
                <a:ext cx="1992560" cy="1024154"/>
              </a:xfrm>
              <a:custGeom>
                <a:avLst/>
                <a:gdLst>
                  <a:gd name="T0" fmla="*/ 255 w 427"/>
                  <a:gd name="T1" fmla="*/ 181 h 219"/>
                  <a:gd name="T2" fmla="*/ 299 w 427"/>
                  <a:gd name="T3" fmla="*/ 195 h 219"/>
                  <a:gd name="T4" fmla="*/ 296 w 427"/>
                  <a:gd name="T5" fmla="*/ 215 h 219"/>
                  <a:gd name="T6" fmla="*/ 332 w 427"/>
                  <a:gd name="T7" fmla="*/ 200 h 219"/>
                  <a:gd name="T8" fmla="*/ 366 w 427"/>
                  <a:gd name="T9" fmla="*/ 196 h 219"/>
                  <a:gd name="T10" fmla="*/ 383 w 427"/>
                  <a:gd name="T11" fmla="*/ 200 h 219"/>
                  <a:gd name="T12" fmla="*/ 391 w 427"/>
                  <a:gd name="T13" fmla="*/ 201 h 219"/>
                  <a:gd name="T14" fmla="*/ 380 w 427"/>
                  <a:gd name="T15" fmla="*/ 188 h 219"/>
                  <a:gd name="T16" fmla="*/ 382 w 427"/>
                  <a:gd name="T17" fmla="*/ 176 h 219"/>
                  <a:gd name="T18" fmla="*/ 354 w 427"/>
                  <a:gd name="T19" fmla="*/ 180 h 219"/>
                  <a:gd name="T20" fmla="*/ 414 w 427"/>
                  <a:gd name="T21" fmla="*/ 160 h 219"/>
                  <a:gd name="T22" fmla="*/ 417 w 427"/>
                  <a:gd name="T23" fmla="*/ 144 h 219"/>
                  <a:gd name="T24" fmla="*/ 415 w 427"/>
                  <a:gd name="T25" fmla="*/ 139 h 219"/>
                  <a:gd name="T26" fmla="*/ 394 w 427"/>
                  <a:gd name="T27" fmla="*/ 126 h 219"/>
                  <a:gd name="T28" fmla="*/ 390 w 427"/>
                  <a:gd name="T29" fmla="*/ 110 h 219"/>
                  <a:gd name="T30" fmla="*/ 378 w 427"/>
                  <a:gd name="T31" fmla="*/ 104 h 219"/>
                  <a:gd name="T32" fmla="*/ 364 w 427"/>
                  <a:gd name="T33" fmla="*/ 112 h 219"/>
                  <a:gd name="T34" fmla="*/ 356 w 427"/>
                  <a:gd name="T35" fmla="*/ 107 h 219"/>
                  <a:gd name="T36" fmla="*/ 342 w 427"/>
                  <a:gd name="T37" fmla="*/ 85 h 219"/>
                  <a:gd name="T38" fmla="*/ 314 w 427"/>
                  <a:gd name="T39" fmla="*/ 91 h 219"/>
                  <a:gd name="T40" fmla="*/ 320 w 427"/>
                  <a:gd name="T41" fmla="*/ 116 h 219"/>
                  <a:gd name="T42" fmla="*/ 306 w 427"/>
                  <a:gd name="T43" fmla="*/ 159 h 219"/>
                  <a:gd name="T44" fmla="*/ 292 w 427"/>
                  <a:gd name="T45" fmla="*/ 135 h 219"/>
                  <a:gd name="T46" fmla="*/ 250 w 427"/>
                  <a:gd name="T47" fmla="*/ 119 h 219"/>
                  <a:gd name="T48" fmla="*/ 237 w 427"/>
                  <a:gd name="T49" fmla="*/ 86 h 219"/>
                  <a:gd name="T50" fmla="*/ 246 w 427"/>
                  <a:gd name="T51" fmla="*/ 77 h 219"/>
                  <a:gd name="T52" fmla="*/ 246 w 427"/>
                  <a:gd name="T53" fmla="*/ 70 h 219"/>
                  <a:gd name="T54" fmla="*/ 263 w 427"/>
                  <a:gd name="T55" fmla="*/ 58 h 219"/>
                  <a:gd name="T56" fmla="*/ 276 w 427"/>
                  <a:gd name="T57" fmla="*/ 48 h 219"/>
                  <a:gd name="T58" fmla="*/ 293 w 427"/>
                  <a:gd name="T59" fmla="*/ 36 h 219"/>
                  <a:gd name="T60" fmla="*/ 276 w 427"/>
                  <a:gd name="T61" fmla="*/ 23 h 219"/>
                  <a:gd name="T62" fmla="*/ 262 w 427"/>
                  <a:gd name="T63" fmla="*/ 35 h 219"/>
                  <a:gd name="T64" fmla="*/ 252 w 427"/>
                  <a:gd name="T65" fmla="*/ 23 h 219"/>
                  <a:gd name="T66" fmla="*/ 241 w 427"/>
                  <a:gd name="T67" fmla="*/ 10 h 219"/>
                  <a:gd name="T68" fmla="*/ 223 w 427"/>
                  <a:gd name="T69" fmla="*/ 6 h 219"/>
                  <a:gd name="T70" fmla="*/ 232 w 427"/>
                  <a:gd name="T71" fmla="*/ 27 h 219"/>
                  <a:gd name="T72" fmla="*/ 226 w 427"/>
                  <a:gd name="T73" fmla="*/ 40 h 219"/>
                  <a:gd name="T74" fmla="*/ 218 w 427"/>
                  <a:gd name="T75" fmla="*/ 37 h 219"/>
                  <a:gd name="T76" fmla="*/ 164 w 427"/>
                  <a:gd name="T77" fmla="*/ 29 h 219"/>
                  <a:gd name="T78" fmla="*/ 166 w 427"/>
                  <a:gd name="T79" fmla="*/ 41 h 219"/>
                  <a:gd name="T80" fmla="*/ 160 w 427"/>
                  <a:gd name="T81" fmla="*/ 40 h 219"/>
                  <a:gd name="T82" fmla="*/ 133 w 427"/>
                  <a:gd name="T83" fmla="*/ 30 h 219"/>
                  <a:gd name="T84" fmla="*/ 83 w 427"/>
                  <a:gd name="T85" fmla="*/ 23 h 219"/>
                  <a:gd name="T86" fmla="*/ 71 w 427"/>
                  <a:gd name="T87" fmla="*/ 18 h 219"/>
                  <a:gd name="T88" fmla="*/ 50 w 427"/>
                  <a:gd name="T89" fmla="*/ 24 h 219"/>
                  <a:gd name="T90" fmla="*/ 49 w 427"/>
                  <a:gd name="T91" fmla="*/ 22 h 219"/>
                  <a:gd name="T92" fmla="*/ 29 w 427"/>
                  <a:gd name="T93" fmla="*/ 23 h 219"/>
                  <a:gd name="T94" fmla="*/ 21 w 427"/>
                  <a:gd name="T95" fmla="*/ 28 h 219"/>
                  <a:gd name="T96" fmla="*/ 3 w 427"/>
                  <a:gd name="T97" fmla="*/ 97 h 219"/>
                  <a:gd name="T98" fmla="*/ 40 w 427"/>
                  <a:gd name="T99" fmla="*/ 116 h 219"/>
                  <a:gd name="T100" fmla="*/ 53 w 427"/>
                  <a:gd name="T101" fmla="*/ 141 h 219"/>
                  <a:gd name="T102" fmla="*/ 62 w 427"/>
                  <a:gd name="T103" fmla="*/ 150 h 219"/>
                  <a:gd name="T104" fmla="*/ 67 w 427"/>
                  <a:gd name="T105" fmla="*/ 160 h 219"/>
                  <a:gd name="T106" fmla="*/ 80 w 427"/>
                  <a:gd name="T107" fmla="*/ 166 h 219"/>
                  <a:gd name="T108" fmla="*/ 133 w 427"/>
                  <a:gd name="T109" fmla="*/ 176 h 219"/>
                  <a:gd name="T110" fmla="*/ 97 w 427"/>
                  <a:gd name="T111" fmla="*/ 57 h 219"/>
                  <a:gd name="T112" fmla="*/ 87 w 427"/>
                  <a:gd name="T113" fmla="*/ 51 h 219"/>
                  <a:gd name="T114" fmla="*/ 113 w 427"/>
                  <a:gd name="T115" fmla="*/ 49 h 219"/>
                  <a:gd name="T116" fmla="*/ 142 w 427"/>
                  <a:gd name="T117" fmla="*/ 85 h 219"/>
                  <a:gd name="T118" fmla="*/ 131 w 427"/>
                  <a:gd name="T119" fmla="*/ 85 h 219"/>
                  <a:gd name="T120" fmla="*/ 160 w 427"/>
                  <a:gd name="T121" fmla="*/ 78 h 219"/>
                  <a:gd name="T122" fmla="*/ 210 w 427"/>
                  <a:gd name="T123" fmla="*/ 150 h 219"/>
                  <a:gd name="T124" fmla="*/ 222 w 427"/>
                  <a:gd name="T125" fmla="*/ 165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7" h="219">
                    <a:moveTo>
                      <a:pt x="229" y="174"/>
                    </a:moveTo>
                    <a:cubicBezTo>
                      <a:pt x="229" y="174"/>
                      <a:pt x="229" y="173"/>
                      <a:pt x="229" y="173"/>
                    </a:cubicBezTo>
                    <a:cubicBezTo>
                      <a:pt x="229" y="173"/>
                      <a:pt x="232" y="177"/>
                      <a:pt x="232" y="177"/>
                    </a:cubicBezTo>
                    <a:cubicBezTo>
                      <a:pt x="234" y="177"/>
                      <a:pt x="235" y="178"/>
                      <a:pt x="236" y="178"/>
                    </a:cubicBezTo>
                    <a:cubicBezTo>
                      <a:pt x="238" y="178"/>
                      <a:pt x="238" y="177"/>
                      <a:pt x="239" y="178"/>
                    </a:cubicBezTo>
                    <a:cubicBezTo>
                      <a:pt x="242" y="179"/>
                      <a:pt x="244" y="180"/>
                      <a:pt x="246" y="181"/>
                    </a:cubicBezTo>
                    <a:cubicBezTo>
                      <a:pt x="247" y="182"/>
                      <a:pt x="248" y="181"/>
                      <a:pt x="249" y="181"/>
                    </a:cubicBezTo>
                    <a:cubicBezTo>
                      <a:pt x="250" y="180"/>
                      <a:pt x="251" y="180"/>
                      <a:pt x="252" y="180"/>
                    </a:cubicBezTo>
                    <a:cubicBezTo>
                      <a:pt x="253" y="180"/>
                      <a:pt x="254" y="181"/>
                      <a:pt x="255" y="181"/>
                    </a:cubicBezTo>
                    <a:cubicBezTo>
                      <a:pt x="257" y="181"/>
                      <a:pt x="258" y="180"/>
                      <a:pt x="259" y="179"/>
                    </a:cubicBezTo>
                    <a:cubicBezTo>
                      <a:pt x="260" y="178"/>
                      <a:pt x="263" y="175"/>
                      <a:pt x="264" y="175"/>
                    </a:cubicBezTo>
                    <a:cubicBezTo>
                      <a:pt x="264" y="175"/>
                      <a:pt x="265" y="176"/>
                      <a:pt x="265" y="176"/>
                    </a:cubicBezTo>
                    <a:cubicBezTo>
                      <a:pt x="267" y="176"/>
                      <a:pt x="268" y="176"/>
                      <a:pt x="269" y="176"/>
                    </a:cubicBezTo>
                    <a:cubicBezTo>
                      <a:pt x="273" y="176"/>
                      <a:pt x="272" y="179"/>
                      <a:pt x="274" y="181"/>
                    </a:cubicBezTo>
                    <a:cubicBezTo>
                      <a:pt x="275" y="182"/>
                      <a:pt x="279" y="181"/>
                      <a:pt x="279" y="183"/>
                    </a:cubicBezTo>
                    <a:cubicBezTo>
                      <a:pt x="279" y="185"/>
                      <a:pt x="280" y="187"/>
                      <a:pt x="281" y="189"/>
                    </a:cubicBezTo>
                    <a:cubicBezTo>
                      <a:pt x="281" y="194"/>
                      <a:pt x="290" y="193"/>
                      <a:pt x="293" y="194"/>
                    </a:cubicBezTo>
                    <a:cubicBezTo>
                      <a:pt x="295" y="194"/>
                      <a:pt x="298" y="194"/>
                      <a:pt x="299" y="195"/>
                    </a:cubicBezTo>
                    <a:cubicBezTo>
                      <a:pt x="300" y="196"/>
                      <a:pt x="305" y="201"/>
                      <a:pt x="304" y="201"/>
                    </a:cubicBezTo>
                    <a:cubicBezTo>
                      <a:pt x="302" y="203"/>
                      <a:pt x="302" y="203"/>
                      <a:pt x="300" y="202"/>
                    </a:cubicBezTo>
                    <a:cubicBezTo>
                      <a:pt x="299" y="201"/>
                      <a:pt x="295" y="199"/>
                      <a:pt x="295" y="199"/>
                    </a:cubicBezTo>
                    <a:cubicBezTo>
                      <a:pt x="295" y="200"/>
                      <a:pt x="298" y="201"/>
                      <a:pt x="297" y="203"/>
                    </a:cubicBezTo>
                    <a:cubicBezTo>
                      <a:pt x="296" y="204"/>
                      <a:pt x="295" y="206"/>
                      <a:pt x="295" y="207"/>
                    </a:cubicBezTo>
                    <a:cubicBezTo>
                      <a:pt x="295" y="209"/>
                      <a:pt x="295" y="210"/>
                      <a:pt x="294" y="211"/>
                    </a:cubicBezTo>
                    <a:cubicBezTo>
                      <a:pt x="294" y="212"/>
                      <a:pt x="291" y="213"/>
                      <a:pt x="291" y="213"/>
                    </a:cubicBezTo>
                    <a:cubicBezTo>
                      <a:pt x="290" y="214"/>
                      <a:pt x="287" y="219"/>
                      <a:pt x="291" y="219"/>
                    </a:cubicBezTo>
                    <a:cubicBezTo>
                      <a:pt x="292" y="219"/>
                      <a:pt x="294" y="217"/>
                      <a:pt x="296" y="215"/>
                    </a:cubicBezTo>
                    <a:cubicBezTo>
                      <a:pt x="298" y="214"/>
                      <a:pt x="299" y="216"/>
                      <a:pt x="301" y="215"/>
                    </a:cubicBezTo>
                    <a:cubicBezTo>
                      <a:pt x="304" y="215"/>
                      <a:pt x="305" y="213"/>
                      <a:pt x="308" y="213"/>
                    </a:cubicBezTo>
                    <a:cubicBezTo>
                      <a:pt x="308" y="211"/>
                      <a:pt x="308" y="212"/>
                      <a:pt x="306" y="211"/>
                    </a:cubicBezTo>
                    <a:cubicBezTo>
                      <a:pt x="305" y="211"/>
                      <a:pt x="305" y="210"/>
                      <a:pt x="306" y="210"/>
                    </a:cubicBezTo>
                    <a:cubicBezTo>
                      <a:pt x="307" y="208"/>
                      <a:pt x="308" y="207"/>
                      <a:pt x="311" y="207"/>
                    </a:cubicBezTo>
                    <a:cubicBezTo>
                      <a:pt x="312" y="207"/>
                      <a:pt x="315" y="205"/>
                      <a:pt x="317" y="206"/>
                    </a:cubicBezTo>
                    <a:cubicBezTo>
                      <a:pt x="319" y="207"/>
                      <a:pt x="320" y="203"/>
                      <a:pt x="322" y="206"/>
                    </a:cubicBezTo>
                    <a:cubicBezTo>
                      <a:pt x="324" y="204"/>
                      <a:pt x="325" y="203"/>
                      <a:pt x="327" y="201"/>
                    </a:cubicBezTo>
                    <a:cubicBezTo>
                      <a:pt x="329" y="200"/>
                      <a:pt x="330" y="200"/>
                      <a:pt x="332" y="200"/>
                    </a:cubicBezTo>
                    <a:cubicBezTo>
                      <a:pt x="335" y="200"/>
                      <a:pt x="339" y="200"/>
                      <a:pt x="342" y="200"/>
                    </a:cubicBezTo>
                    <a:cubicBezTo>
                      <a:pt x="345" y="200"/>
                      <a:pt x="346" y="201"/>
                      <a:pt x="347" y="199"/>
                    </a:cubicBezTo>
                    <a:cubicBezTo>
                      <a:pt x="348" y="198"/>
                      <a:pt x="349" y="199"/>
                      <a:pt x="350" y="198"/>
                    </a:cubicBezTo>
                    <a:cubicBezTo>
                      <a:pt x="351" y="196"/>
                      <a:pt x="352" y="195"/>
                      <a:pt x="352" y="193"/>
                    </a:cubicBezTo>
                    <a:cubicBezTo>
                      <a:pt x="353" y="191"/>
                      <a:pt x="353" y="190"/>
                      <a:pt x="354" y="188"/>
                    </a:cubicBezTo>
                    <a:cubicBezTo>
                      <a:pt x="355" y="187"/>
                      <a:pt x="356" y="186"/>
                      <a:pt x="357" y="185"/>
                    </a:cubicBezTo>
                    <a:cubicBezTo>
                      <a:pt x="358" y="184"/>
                      <a:pt x="359" y="187"/>
                      <a:pt x="361" y="186"/>
                    </a:cubicBezTo>
                    <a:cubicBezTo>
                      <a:pt x="363" y="184"/>
                      <a:pt x="365" y="187"/>
                      <a:pt x="365" y="189"/>
                    </a:cubicBezTo>
                    <a:cubicBezTo>
                      <a:pt x="365" y="190"/>
                      <a:pt x="364" y="196"/>
                      <a:pt x="366" y="196"/>
                    </a:cubicBezTo>
                    <a:cubicBezTo>
                      <a:pt x="367" y="197"/>
                      <a:pt x="368" y="199"/>
                      <a:pt x="369" y="201"/>
                    </a:cubicBezTo>
                    <a:cubicBezTo>
                      <a:pt x="370" y="199"/>
                      <a:pt x="381" y="196"/>
                      <a:pt x="381" y="196"/>
                    </a:cubicBezTo>
                    <a:cubicBezTo>
                      <a:pt x="381" y="195"/>
                      <a:pt x="380" y="195"/>
                      <a:pt x="380" y="194"/>
                    </a:cubicBezTo>
                    <a:cubicBezTo>
                      <a:pt x="380" y="194"/>
                      <a:pt x="382" y="196"/>
                      <a:pt x="382" y="196"/>
                    </a:cubicBezTo>
                    <a:cubicBezTo>
                      <a:pt x="382" y="197"/>
                      <a:pt x="380" y="197"/>
                      <a:pt x="380" y="197"/>
                    </a:cubicBezTo>
                    <a:cubicBezTo>
                      <a:pt x="380" y="197"/>
                      <a:pt x="386" y="198"/>
                      <a:pt x="386" y="198"/>
                    </a:cubicBezTo>
                    <a:cubicBezTo>
                      <a:pt x="386" y="198"/>
                      <a:pt x="386" y="198"/>
                      <a:pt x="386" y="198"/>
                    </a:cubicBezTo>
                    <a:cubicBezTo>
                      <a:pt x="386" y="198"/>
                      <a:pt x="386" y="199"/>
                      <a:pt x="386" y="199"/>
                    </a:cubicBezTo>
                    <a:cubicBezTo>
                      <a:pt x="385" y="199"/>
                      <a:pt x="384" y="199"/>
                      <a:pt x="383" y="200"/>
                    </a:cubicBezTo>
                    <a:cubicBezTo>
                      <a:pt x="383" y="201"/>
                      <a:pt x="382" y="198"/>
                      <a:pt x="382" y="198"/>
                    </a:cubicBezTo>
                    <a:cubicBezTo>
                      <a:pt x="381" y="198"/>
                      <a:pt x="381" y="199"/>
                      <a:pt x="381" y="199"/>
                    </a:cubicBezTo>
                    <a:cubicBezTo>
                      <a:pt x="381" y="199"/>
                      <a:pt x="381" y="198"/>
                      <a:pt x="380" y="199"/>
                    </a:cubicBezTo>
                    <a:cubicBezTo>
                      <a:pt x="379" y="200"/>
                      <a:pt x="378" y="200"/>
                      <a:pt x="377" y="201"/>
                    </a:cubicBezTo>
                    <a:cubicBezTo>
                      <a:pt x="375" y="202"/>
                      <a:pt x="371" y="205"/>
                      <a:pt x="373" y="208"/>
                    </a:cubicBezTo>
                    <a:cubicBezTo>
                      <a:pt x="376" y="210"/>
                      <a:pt x="378" y="208"/>
                      <a:pt x="379" y="207"/>
                    </a:cubicBezTo>
                    <a:cubicBezTo>
                      <a:pt x="380" y="206"/>
                      <a:pt x="384" y="203"/>
                      <a:pt x="384" y="202"/>
                    </a:cubicBezTo>
                    <a:cubicBezTo>
                      <a:pt x="384" y="203"/>
                      <a:pt x="386" y="204"/>
                      <a:pt x="387" y="203"/>
                    </a:cubicBezTo>
                    <a:cubicBezTo>
                      <a:pt x="387" y="202"/>
                      <a:pt x="390" y="201"/>
                      <a:pt x="391" y="201"/>
                    </a:cubicBezTo>
                    <a:cubicBezTo>
                      <a:pt x="393" y="200"/>
                      <a:pt x="395" y="199"/>
                      <a:pt x="397" y="199"/>
                    </a:cubicBezTo>
                    <a:cubicBezTo>
                      <a:pt x="398" y="199"/>
                      <a:pt x="398" y="199"/>
                      <a:pt x="398" y="198"/>
                    </a:cubicBezTo>
                    <a:cubicBezTo>
                      <a:pt x="397" y="197"/>
                      <a:pt x="398" y="197"/>
                      <a:pt x="398" y="197"/>
                    </a:cubicBezTo>
                    <a:cubicBezTo>
                      <a:pt x="398" y="196"/>
                      <a:pt x="396" y="197"/>
                      <a:pt x="395" y="196"/>
                    </a:cubicBezTo>
                    <a:cubicBezTo>
                      <a:pt x="394" y="196"/>
                      <a:pt x="395" y="194"/>
                      <a:pt x="393" y="196"/>
                    </a:cubicBezTo>
                    <a:cubicBezTo>
                      <a:pt x="391" y="197"/>
                      <a:pt x="387" y="196"/>
                      <a:pt x="385" y="195"/>
                    </a:cubicBezTo>
                    <a:cubicBezTo>
                      <a:pt x="384" y="195"/>
                      <a:pt x="385" y="193"/>
                      <a:pt x="384" y="193"/>
                    </a:cubicBezTo>
                    <a:cubicBezTo>
                      <a:pt x="384" y="193"/>
                      <a:pt x="382" y="193"/>
                      <a:pt x="381" y="192"/>
                    </a:cubicBezTo>
                    <a:cubicBezTo>
                      <a:pt x="380" y="192"/>
                      <a:pt x="380" y="189"/>
                      <a:pt x="380" y="188"/>
                    </a:cubicBezTo>
                    <a:cubicBezTo>
                      <a:pt x="380" y="187"/>
                      <a:pt x="378" y="188"/>
                      <a:pt x="377" y="187"/>
                    </a:cubicBezTo>
                    <a:cubicBezTo>
                      <a:pt x="377" y="187"/>
                      <a:pt x="379" y="185"/>
                      <a:pt x="379" y="185"/>
                    </a:cubicBezTo>
                    <a:cubicBezTo>
                      <a:pt x="380" y="184"/>
                      <a:pt x="380" y="181"/>
                      <a:pt x="378" y="181"/>
                    </a:cubicBezTo>
                    <a:cubicBezTo>
                      <a:pt x="378" y="181"/>
                      <a:pt x="376" y="185"/>
                      <a:pt x="375" y="183"/>
                    </a:cubicBezTo>
                    <a:cubicBezTo>
                      <a:pt x="375" y="181"/>
                      <a:pt x="374" y="182"/>
                      <a:pt x="373" y="181"/>
                    </a:cubicBezTo>
                    <a:cubicBezTo>
                      <a:pt x="373" y="180"/>
                      <a:pt x="376" y="181"/>
                      <a:pt x="376" y="181"/>
                    </a:cubicBezTo>
                    <a:cubicBezTo>
                      <a:pt x="378" y="181"/>
                      <a:pt x="379" y="180"/>
                      <a:pt x="380" y="180"/>
                    </a:cubicBezTo>
                    <a:cubicBezTo>
                      <a:pt x="381" y="179"/>
                      <a:pt x="382" y="179"/>
                      <a:pt x="383" y="179"/>
                    </a:cubicBezTo>
                    <a:cubicBezTo>
                      <a:pt x="384" y="178"/>
                      <a:pt x="382" y="176"/>
                      <a:pt x="382" y="176"/>
                    </a:cubicBezTo>
                    <a:cubicBezTo>
                      <a:pt x="382" y="176"/>
                      <a:pt x="383" y="176"/>
                      <a:pt x="383" y="176"/>
                    </a:cubicBezTo>
                    <a:cubicBezTo>
                      <a:pt x="383" y="176"/>
                      <a:pt x="379" y="174"/>
                      <a:pt x="379" y="174"/>
                    </a:cubicBezTo>
                    <a:cubicBezTo>
                      <a:pt x="377" y="173"/>
                      <a:pt x="375" y="173"/>
                      <a:pt x="373" y="174"/>
                    </a:cubicBezTo>
                    <a:cubicBezTo>
                      <a:pt x="369" y="175"/>
                      <a:pt x="366" y="176"/>
                      <a:pt x="363" y="178"/>
                    </a:cubicBezTo>
                    <a:cubicBezTo>
                      <a:pt x="360" y="179"/>
                      <a:pt x="358" y="181"/>
                      <a:pt x="355" y="183"/>
                    </a:cubicBezTo>
                    <a:cubicBezTo>
                      <a:pt x="354" y="184"/>
                      <a:pt x="353" y="185"/>
                      <a:pt x="352" y="187"/>
                    </a:cubicBezTo>
                    <a:cubicBezTo>
                      <a:pt x="352" y="187"/>
                      <a:pt x="348" y="189"/>
                      <a:pt x="348" y="189"/>
                    </a:cubicBezTo>
                    <a:cubicBezTo>
                      <a:pt x="348" y="188"/>
                      <a:pt x="353" y="184"/>
                      <a:pt x="354" y="183"/>
                    </a:cubicBezTo>
                    <a:cubicBezTo>
                      <a:pt x="354" y="182"/>
                      <a:pt x="355" y="181"/>
                      <a:pt x="354" y="180"/>
                    </a:cubicBezTo>
                    <a:cubicBezTo>
                      <a:pt x="353" y="180"/>
                      <a:pt x="351" y="179"/>
                      <a:pt x="350" y="179"/>
                    </a:cubicBezTo>
                    <a:cubicBezTo>
                      <a:pt x="351" y="179"/>
                      <a:pt x="353" y="180"/>
                      <a:pt x="354" y="180"/>
                    </a:cubicBezTo>
                    <a:cubicBezTo>
                      <a:pt x="356" y="181"/>
                      <a:pt x="358" y="178"/>
                      <a:pt x="359" y="177"/>
                    </a:cubicBezTo>
                    <a:cubicBezTo>
                      <a:pt x="360" y="176"/>
                      <a:pt x="361" y="174"/>
                      <a:pt x="363" y="173"/>
                    </a:cubicBezTo>
                    <a:cubicBezTo>
                      <a:pt x="365" y="173"/>
                      <a:pt x="367" y="174"/>
                      <a:pt x="368" y="172"/>
                    </a:cubicBezTo>
                    <a:cubicBezTo>
                      <a:pt x="369" y="168"/>
                      <a:pt x="371" y="167"/>
                      <a:pt x="375" y="167"/>
                    </a:cubicBezTo>
                    <a:cubicBezTo>
                      <a:pt x="379" y="167"/>
                      <a:pt x="383" y="167"/>
                      <a:pt x="387" y="167"/>
                    </a:cubicBezTo>
                    <a:cubicBezTo>
                      <a:pt x="394" y="167"/>
                      <a:pt x="404" y="169"/>
                      <a:pt x="409" y="163"/>
                    </a:cubicBezTo>
                    <a:cubicBezTo>
                      <a:pt x="411" y="161"/>
                      <a:pt x="412" y="160"/>
                      <a:pt x="414" y="160"/>
                    </a:cubicBezTo>
                    <a:cubicBezTo>
                      <a:pt x="416" y="160"/>
                      <a:pt x="418" y="160"/>
                      <a:pt x="421" y="158"/>
                    </a:cubicBezTo>
                    <a:cubicBezTo>
                      <a:pt x="422" y="158"/>
                      <a:pt x="425" y="156"/>
                      <a:pt x="425" y="155"/>
                    </a:cubicBezTo>
                    <a:cubicBezTo>
                      <a:pt x="427" y="152"/>
                      <a:pt x="422" y="153"/>
                      <a:pt x="422" y="152"/>
                    </a:cubicBezTo>
                    <a:cubicBezTo>
                      <a:pt x="422" y="151"/>
                      <a:pt x="424" y="151"/>
                      <a:pt x="424" y="151"/>
                    </a:cubicBezTo>
                    <a:cubicBezTo>
                      <a:pt x="425" y="150"/>
                      <a:pt x="424" y="149"/>
                      <a:pt x="424" y="148"/>
                    </a:cubicBezTo>
                    <a:cubicBezTo>
                      <a:pt x="424" y="148"/>
                      <a:pt x="425" y="147"/>
                      <a:pt x="425" y="147"/>
                    </a:cubicBezTo>
                    <a:cubicBezTo>
                      <a:pt x="425" y="146"/>
                      <a:pt x="423" y="145"/>
                      <a:pt x="423" y="145"/>
                    </a:cubicBezTo>
                    <a:cubicBezTo>
                      <a:pt x="422" y="144"/>
                      <a:pt x="421" y="144"/>
                      <a:pt x="421" y="143"/>
                    </a:cubicBezTo>
                    <a:cubicBezTo>
                      <a:pt x="420" y="143"/>
                      <a:pt x="418" y="146"/>
                      <a:pt x="417" y="144"/>
                    </a:cubicBezTo>
                    <a:cubicBezTo>
                      <a:pt x="417" y="144"/>
                      <a:pt x="419" y="143"/>
                      <a:pt x="418" y="143"/>
                    </a:cubicBezTo>
                    <a:cubicBezTo>
                      <a:pt x="418" y="142"/>
                      <a:pt x="417" y="141"/>
                      <a:pt x="416" y="141"/>
                    </a:cubicBezTo>
                    <a:cubicBezTo>
                      <a:pt x="415" y="140"/>
                      <a:pt x="411" y="141"/>
                      <a:pt x="410" y="142"/>
                    </a:cubicBezTo>
                    <a:cubicBezTo>
                      <a:pt x="409" y="144"/>
                      <a:pt x="406" y="145"/>
                      <a:pt x="404" y="146"/>
                    </a:cubicBezTo>
                    <a:cubicBezTo>
                      <a:pt x="403" y="146"/>
                      <a:pt x="400" y="144"/>
                      <a:pt x="400" y="143"/>
                    </a:cubicBezTo>
                    <a:cubicBezTo>
                      <a:pt x="400" y="142"/>
                      <a:pt x="403" y="145"/>
                      <a:pt x="403" y="145"/>
                    </a:cubicBezTo>
                    <a:cubicBezTo>
                      <a:pt x="404" y="145"/>
                      <a:pt x="408" y="142"/>
                      <a:pt x="408" y="142"/>
                    </a:cubicBezTo>
                    <a:cubicBezTo>
                      <a:pt x="408" y="142"/>
                      <a:pt x="406" y="141"/>
                      <a:pt x="406" y="141"/>
                    </a:cubicBezTo>
                    <a:cubicBezTo>
                      <a:pt x="409" y="140"/>
                      <a:pt x="412" y="140"/>
                      <a:pt x="415" y="139"/>
                    </a:cubicBezTo>
                    <a:cubicBezTo>
                      <a:pt x="415" y="139"/>
                      <a:pt x="417" y="138"/>
                      <a:pt x="416" y="137"/>
                    </a:cubicBezTo>
                    <a:cubicBezTo>
                      <a:pt x="416" y="137"/>
                      <a:pt x="414" y="135"/>
                      <a:pt x="414" y="135"/>
                    </a:cubicBezTo>
                    <a:cubicBezTo>
                      <a:pt x="412" y="136"/>
                      <a:pt x="410" y="136"/>
                      <a:pt x="409" y="134"/>
                    </a:cubicBezTo>
                    <a:cubicBezTo>
                      <a:pt x="408" y="134"/>
                      <a:pt x="404" y="137"/>
                      <a:pt x="404" y="136"/>
                    </a:cubicBezTo>
                    <a:cubicBezTo>
                      <a:pt x="404" y="136"/>
                      <a:pt x="407" y="133"/>
                      <a:pt x="404" y="134"/>
                    </a:cubicBezTo>
                    <a:cubicBezTo>
                      <a:pt x="404" y="134"/>
                      <a:pt x="400" y="135"/>
                      <a:pt x="400" y="135"/>
                    </a:cubicBezTo>
                    <a:cubicBezTo>
                      <a:pt x="401" y="133"/>
                      <a:pt x="404" y="133"/>
                      <a:pt x="402" y="130"/>
                    </a:cubicBezTo>
                    <a:cubicBezTo>
                      <a:pt x="402" y="130"/>
                      <a:pt x="398" y="128"/>
                      <a:pt x="398" y="128"/>
                    </a:cubicBezTo>
                    <a:cubicBezTo>
                      <a:pt x="396" y="128"/>
                      <a:pt x="396" y="126"/>
                      <a:pt x="394" y="126"/>
                    </a:cubicBezTo>
                    <a:cubicBezTo>
                      <a:pt x="395" y="126"/>
                      <a:pt x="392" y="122"/>
                      <a:pt x="392" y="122"/>
                    </a:cubicBezTo>
                    <a:cubicBezTo>
                      <a:pt x="392" y="122"/>
                      <a:pt x="393" y="123"/>
                      <a:pt x="394" y="123"/>
                    </a:cubicBezTo>
                    <a:cubicBezTo>
                      <a:pt x="395" y="124"/>
                      <a:pt x="395" y="122"/>
                      <a:pt x="396" y="122"/>
                    </a:cubicBezTo>
                    <a:cubicBezTo>
                      <a:pt x="400" y="121"/>
                      <a:pt x="393" y="118"/>
                      <a:pt x="392" y="117"/>
                    </a:cubicBezTo>
                    <a:cubicBezTo>
                      <a:pt x="392" y="118"/>
                      <a:pt x="394" y="116"/>
                      <a:pt x="394" y="116"/>
                    </a:cubicBezTo>
                    <a:cubicBezTo>
                      <a:pt x="395" y="115"/>
                      <a:pt x="393" y="115"/>
                      <a:pt x="392" y="114"/>
                    </a:cubicBezTo>
                    <a:cubicBezTo>
                      <a:pt x="392" y="114"/>
                      <a:pt x="391" y="113"/>
                      <a:pt x="390" y="113"/>
                    </a:cubicBezTo>
                    <a:cubicBezTo>
                      <a:pt x="390" y="113"/>
                      <a:pt x="388" y="113"/>
                      <a:pt x="388" y="113"/>
                    </a:cubicBezTo>
                    <a:cubicBezTo>
                      <a:pt x="389" y="112"/>
                      <a:pt x="391" y="113"/>
                      <a:pt x="390" y="110"/>
                    </a:cubicBezTo>
                    <a:cubicBezTo>
                      <a:pt x="389" y="110"/>
                      <a:pt x="386" y="111"/>
                      <a:pt x="386" y="111"/>
                    </a:cubicBezTo>
                    <a:cubicBezTo>
                      <a:pt x="386" y="110"/>
                      <a:pt x="389" y="110"/>
                      <a:pt x="388" y="108"/>
                    </a:cubicBezTo>
                    <a:cubicBezTo>
                      <a:pt x="388" y="107"/>
                      <a:pt x="388" y="106"/>
                      <a:pt x="387" y="105"/>
                    </a:cubicBezTo>
                    <a:cubicBezTo>
                      <a:pt x="387" y="105"/>
                      <a:pt x="386" y="106"/>
                      <a:pt x="386" y="105"/>
                    </a:cubicBezTo>
                    <a:cubicBezTo>
                      <a:pt x="386" y="106"/>
                      <a:pt x="384" y="102"/>
                      <a:pt x="384" y="102"/>
                    </a:cubicBezTo>
                    <a:cubicBezTo>
                      <a:pt x="383" y="100"/>
                      <a:pt x="382" y="99"/>
                      <a:pt x="382" y="98"/>
                    </a:cubicBezTo>
                    <a:cubicBezTo>
                      <a:pt x="381" y="96"/>
                      <a:pt x="381" y="94"/>
                      <a:pt x="379" y="97"/>
                    </a:cubicBezTo>
                    <a:cubicBezTo>
                      <a:pt x="379" y="97"/>
                      <a:pt x="378" y="101"/>
                      <a:pt x="379" y="100"/>
                    </a:cubicBezTo>
                    <a:cubicBezTo>
                      <a:pt x="375" y="101"/>
                      <a:pt x="377" y="101"/>
                      <a:pt x="378" y="104"/>
                    </a:cubicBezTo>
                    <a:cubicBezTo>
                      <a:pt x="378" y="103"/>
                      <a:pt x="377" y="103"/>
                      <a:pt x="377" y="104"/>
                    </a:cubicBezTo>
                    <a:cubicBezTo>
                      <a:pt x="376" y="104"/>
                      <a:pt x="376" y="104"/>
                      <a:pt x="375" y="105"/>
                    </a:cubicBezTo>
                    <a:cubicBezTo>
                      <a:pt x="375" y="105"/>
                      <a:pt x="377" y="106"/>
                      <a:pt x="377" y="106"/>
                    </a:cubicBezTo>
                    <a:cubicBezTo>
                      <a:pt x="376" y="107"/>
                      <a:pt x="374" y="106"/>
                      <a:pt x="374" y="107"/>
                    </a:cubicBezTo>
                    <a:cubicBezTo>
                      <a:pt x="373" y="108"/>
                      <a:pt x="375" y="110"/>
                      <a:pt x="373" y="111"/>
                    </a:cubicBezTo>
                    <a:cubicBezTo>
                      <a:pt x="374" y="111"/>
                      <a:pt x="372" y="107"/>
                      <a:pt x="370" y="109"/>
                    </a:cubicBezTo>
                    <a:cubicBezTo>
                      <a:pt x="370" y="110"/>
                      <a:pt x="366" y="113"/>
                      <a:pt x="366" y="113"/>
                    </a:cubicBezTo>
                    <a:cubicBezTo>
                      <a:pt x="365" y="113"/>
                      <a:pt x="365" y="112"/>
                      <a:pt x="365" y="111"/>
                    </a:cubicBezTo>
                    <a:cubicBezTo>
                      <a:pt x="364" y="111"/>
                      <a:pt x="364" y="112"/>
                      <a:pt x="364" y="112"/>
                    </a:cubicBezTo>
                    <a:cubicBezTo>
                      <a:pt x="363" y="111"/>
                      <a:pt x="364" y="111"/>
                      <a:pt x="364" y="110"/>
                    </a:cubicBezTo>
                    <a:cubicBezTo>
                      <a:pt x="364" y="111"/>
                      <a:pt x="357" y="116"/>
                      <a:pt x="357" y="115"/>
                    </a:cubicBezTo>
                    <a:cubicBezTo>
                      <a:pt x="356" y="114"/>
                      <a:pt x="360" y="113"/>
                      <a:pt x="361" y="113"/>
                    </a:cubicBezTo>
                    <a:cubicBezTo>
                      <a:pt x="363" y="111"/>
                      <a:pt x="363" y="110"/>
                      <a:pt x="362" y="108"/>
                    </a:cubicBezTo>
                    <a:cubicBezTo>
                      <a:pt x="361" y="107"/>
                      <a:pt x="358" y="107"/>
                      <a:pt x="357" y="107"/>
                    </a:cubicBezTo>
                    <a:cubicBezTo>
                      <a:pt x="356" y="107"/>
                      <a:pt x="356" y="108"/>
                      <a:pt x="356" y="108"/>
                    </a:cubicBezTo>
                    <a:cubicBezTo>
                      <a:pt x="355" y="110"/>
                      <a:pt x="353" y="108"/>
                      <a:pt x="352" y="108"/>
                    </a:cubicBezTo>
                    <a:cubicBezTo>
                      <a:pt x="353" y="108"/>
                      <a:pt x="355" y="106"/>
                      <a:pt x="355" y="106"/>
                    </a:cubicBezTo>
                    <a:cubicBezTo>
                      <a:pt x="355" y="106"/>
                      <a:pt x="356" y="107"/>
                      <a:pt x="356" y="107"/>
                    </a:cubicBezTo>
                    <a:cubicBezTo>
                      <a:pt x="355" y="107"/>
                      <a:pt x="357" y="105"/>
                      <a:pt x="357" y="105"/>
                    </a:cubicBezTo>
                    <a:cubicBezTo>
                      <a:pt x="358" y="103"/>
                      <a:pt x="356" y="104"/>
                      <a:pt x="355" y="103"/>
                    </a:cubicBezTo>
                    <a:cubicBezTo>
                      <a:pt x="355" y="103"/>
                      <a:pt x="356" y="98"/>
                      <a:pt x="354" y="99"/>
                    </a:cubicBezTo>
                    <a:cubicBezTo>
                      <a:pt x="355" y="98"/>
                      <a:pt x="356" y="98"/>
                      <a:pt x="355" y="96"/>
                    </a:cubicBezTo>
                    <a:cubicBezTo>
                      <a:pt x="353" y="95"/>
                      <a:pt x="357" y="94"/>
                      <a:pt x="356" y="92"/>
                    </a:cubicBezTo>
                    <a:cubicBezTo>
                      <a:pt x="356" y="91"/>
                      <a:pt x="354" y="93"/>
                      <a:pt x="353" y="92"/>
                    </a:cubicBezTo>
                    <a:cubicBezTo>
                      <a:pt x="352" y="91"/>
                      <a:pt x="350" y="91"/>
                      <a:pt x="349" y="91"/>
                    </a:cubicBezTo>
                    <a:cubicBezTo>
                      <a:pt x="347" y="90"/>
                      <a:pt x="346" y="90"/>
                      <a:pt x="345" y="88"/>
                    </a:cubicBezTo>
                    <a:cubicBezTo>
                      <a:pt x="345" y="86"/>
                      <a:pt x="342" y="87"/>
                      <a:pt x="342" y="85"/>
                    </a:cubicBezTo>
                    <a:cubicBezTo>
                      <a:pt x="342" y="84"/>
                      <a:pt x="340" y="85"/>
                      <a:pt x="340" y="85"/>
                    </a:cubicBezTo>
                    <a:cubicBezTo>
                      <a:pt x="341" y="83"/>
                      <a:pt x="339" y="83"/>
                      <a:pt x="338" y="82"/>
                    </a:cubicBezTo>
                    <a:cubicBezTo>
                      <a:pt x="336" y="81"/>
                      <a:pt x="336" y="80"/>
                      <a:pt x="334" y="81"/>
                    </a:cubicBezTo>
                    <a:cubicBezTo>
                      <a:pt x="332" y="82"/>
                      <a:pt x="331" y="83"/>
                      <a:pt x="329" y="82"/>
                    </a:cubicBezTo>
                    <a:cubicBezTo>
                      <a:pt x="327" y="81"/>
                      <a:pt x="326" y="83"/>
                      <a:pt x="324" y="82"/>
                    </a:cubicBezTo>
                    <a:cubicBezTo>
                      <a:pt x="322" y="80"/>
                      <a:pt x="320" y="80"/>
                      <a:pt x="318" y="80"/>
                    </a:cubicBezTo>
                    <a:cubicBezTo>
                      <a:pt x="316" y="80"/>
                      <a:pt x="314" y="80"/>
                      <a:pt x="313" y="82"/>
                    </a:cubicBezTo>
                    <a:cubicBezTo>
                      <a:pt x="312" y="84"/>
                      <a:pt x="315" y="85"/>
                      <a:pt x="315" y="86"/>
                    </a:cubicBezTo>
                    <a:cubicBezTo>
                      <a:pt x="316" y="87"/>
                      <a:pt x="315" y="90"/>
                      <a:pt x="314" y="91"/>
                    </a:cubicBezTo>
                    <a:cubicBezTo>
                      <a:pt x="314" y="92"/>
                      <a:pt x="314" y="91"/>
                      <a:pt x="313" y="92"/>
                    </a:cubicBezTo>
                    <a:cubicBezTo>
                      <a:pt x="313" y="92"/>
                      <a:pt x="315" y="94"/>
                      <a:pt x="315" y="94"/>
                    </a:cubicBezTo>
                    <a:cubicBezTo>
                      <a:pt x="315" y="96"/>
                      <a:pt x="316" y="98"/>
                      <a:pt x="316" y="99"/>
                    </a:cubicBezTo>
                    <a:cubicBezTo>
                      <a:pt x="316" y="100"/>
                      <a:pt x="316" y="100"/>
                      <a:pt x="316" y="101"/>
                    </a:cubicBezTo>
                    <a:cubicBezTo>
                      <a:pt x="316" y="102"/>
                      <a:pt x="315" y="101"/>
                      <a:pt x="315" y="101"/>
                    </a:cubicBezTo>
                    <a:cubicBezTo>
                      <a:pt x="314" y="102"/>
                      <a:pt x="314" y="104"/>
                      <a:pt x="314" y="104"/>
                    </a:cubicBezTo>
                    <a:cubicBezTo>
                      <a:pt x="313" y="105"/>
                      <a:pt x="312" y="106"/>
                      <a:pt x="312" y="107"/>
                    </a:cubicBezTo>
                    <a:cubicBezTo>
                      <a:pt x="311" y="109"/>
                      <a:pt x="311" y="109"/>
                      <a:pt x="312" y="110"/>
                    </a:cubicBezTo>
                    <a:cubicBezTo>
                      <a:pt x="315" y="112"/>
                      <a:pt x="318" y="114"/>
                      <a:pt x="320" y="116"/>
                    </a:cubicBezTo>
                    <a:cubicBezTo>
                      <a:pt x="321" y="119"/>
                      <a:pt x="322" y="124"/>
                      <a:pt x="321" y="127"/>
                    </a:cubicBezTo>
                    <a:cubicBezTo>
                      <a:pt x="319" y="131"/>
                      <a:pt x="313" y="133"/>
                      <a:pt x="310" y="135"/>
                    </a:cubicBezTo>
                    <a:cubicBezTo>
                      <a:pt x="309" y="136"/>
                      <a:pt x="308" y="136"/>
                      <a:pt x="307" y="137"/>
                    </a:cubicBezTo>
                    <a:cubicBezTo>
                      <a:pt x="304" y="138"/>
                      <a:pt x="308" y="141"/>
                      <a:pt x="308" y="143"/>
                    </a:cubicBezTo>
                    <a:cubicBezTo>
                      <a:pt x="308" y="143"/>
                      <a:pt x="309" y="145"/>
                      <a:pt x="309" y="146"/>
                    </a:cubicBezTo>
                    <a:cubicBezTo>
                      <a:pt x="309" y="148"/>
                      <a:pt x="309" y="149"/>
                      <a:pt x="310" y="151"/>
                    </a:cubicBezTo>
                    <a:cubicBezTo>
                      <a:pt x="311" y="153"/>
                      <a:pt x="311" y="154"/>
                      <a:pt x="309" y="156"/>
                    </a:cubicBezTo>
                    <a:cubicBezTo>
                      <a:pt x="309" y="156"/>
                      <a:pt x="310" y="160"/>
                      <a:pt x="309" y="161"/>
                    </a:cubicBezTo>
                    <a:cubicBezTo>
                      <a:pt x="308" y="161"/>
                      <a:pt x="307" y="157"/>
                      <a:pt x="306" y="159"/>
                    </a:cubicBezTo>
                    <a:cubicBezTo>
                      <a:pt x="305" y="161"/>
                      <a:pt x="307" y="164"/>
                      <a:pt x="307" y="164"/>
                    </a:cubicBezTo>
                    <a:cubicBezTo>
                      <a:pt x="307" y="163"/>
                      <a:pt x="301" y="158"/>
                      <a:pt x="298" y="161"/>
                    </a:cubicBezTo>
                    <a:cubicBezTo>
                      <a:pt x="299" y="160"/>
                      <a:pt x="302" y="159"/>
                      <a:pt x="300" y="157"/>
                    </a:cubicBezTo>
                    <a:cubicBezTo>
                      <a:pt x="299" y="156"/>
                      <a:pt x="298" y="155"/>
                      <a:pt x="297" y="155"/>
                    </a:cubicBezTo>
                    <a:cubicBezTo>
                      <a:pt x="297" y="154"/>
                      <a:pt x="295" y="154"/>
                      <a:pt x="294" y="154"/>
                    </a:cubicBezTo>
                    <a:cubicBezTo>
                      <a:pt x="294" y="153"/>
                      <a:pt x="295" y="153"/>
                      <a:pt x="294" y="151"/>
                    </a:cubicBezTo>
                    <a:cubicBezTo>
                      <a:pt x="293" y="150"/>
                      <a:pt x="292" y="148"/>
                      <a:pt x="293" y="146"/>
                    </a:cubicBezTo>
                    <a:cubicBezTo>
                      <a:pt x="294" y="143"/>
                      <a:pt x="291" y="142"/>
                      <a:pt x="291" y="140"/>
                    </a:cubicBezTo>
                    <a:cubicBezTo>
                      <a:pt x="291" y="138"/>
                      <a:pt x="293" y="137"/>
                      <a:pt x="292" y="135"/>
                    </a:cubicBezTo>
                    <a:cubicBezTo>
                      <a:pt x="290" y="133"/>
                      <a:pt x="286" y="133"/>
                      <a:pt x="283" y="133"/>
                    </a:cubicBezTo>
                    <a:cubicBezTo>
                      <a:pt x="282" y="133"/>
                      <a:pt x="281" y="133"/>
                      <a:pt x="279" y="133"/>
                    </a:cubicBezTo>
                    <a:cubicBezTo>
                      <a:pt x="279" y="133"/>
                      <a:pt x="277" y="135"/>
                      <a:pt x="277" y="135"/>
                    </a:cubicBezTo>
                    <a:cubicBezTo>
                      <a:pt x="277" y="134"/>
                      <a:pt x="278" y="134"/>
                      <a:pt x="277" y="133"/>
                    </a:cubicBezTo>
                    <a:cubicBezTo>
                      <a:pt x="277" y="132"/>
                      <a:pt x="276" y="131"/>
                      <a:pt x="275" y="131"/>
                    </a:cubicBezTo>
                    <a:cubicBezTo>
                      <a:pt x="273" y="130"/>
                      <a:pt x="271" y="130"/>
                      <a:pt x="269" y="129"/>
                    </a:cubicBezTo>
                    <a:cubicBezTo>
                      <a:pt x="266" y="128"/>
                      <a:pt x="264" y="125"/>
                      <a:pt x="261" y="123"/>
                    </a:cubicBezTo>
                    <a:cubicBezTo>
                      <a:pt x="259" y="122"/>
                      <a:pt x="257" y="121"/>
                      <a:pt x="256" y="121"/>
                    </a:cubicBezTo>
                    <a:cubicBezTo>
                      <a:pt x="254" y="121"/>
                      <a:pt x="252" y="119"/>
                      <a:pt x="250" y="119"/>
                    </a:cubicBezTo>
                    <a:cubicBezTo>
                      <a:pt x="249" y="119"/>
                      <a:pt x="240" y="121"/>
                      <a:pt x="240" y="121"/>
                    </a:cubicBezTo>
                    <a:cubicBezTo>
                      <a:pt x="240" y="120"/>
                      <a:pt x="241" y="120"/>
                      <a:pt x="242" y="119"/>
                    </a:cubicBezTo>
                    <a:cubicBezTo>
                      <a:pt x="242" y="118"/>
                      <a:pt x="241" y="117"/>
                      <a:pt x="241" y="117"/>
                    </a:cubicBezTo>
                    <a:cubicBezTo>
                      <a:pt x="240" y="114"/>
                      <a:pt x="239" y="112"/>
                      <a:pt x="238" y="110"/>
                    </a:cubicBezTo>
                    <a:cubicBezTo>
                      <a:pt x="237" y="108"/>
                      <a:pt x="236" y="108"/>
                      <a:pt x="234" y="108"/>
                    </a:cubicBezTo>
                    <a:cubicBezTo>
                      <a:pt x="231" y="108"/>
                      <a:pt x="230" y="108"/>
                      <a:pt x="230" y="105"/>
                    </a:cubicBezTo>
                    <a:cubicBezTo>
                      <a:pt x="231" y="103"/>
                      <a:pt x="230" y="100"/>
                      <a:pt x="230" y="98"/>
                    </a:cubicBezTo>
                    <a:cubicBezTo>
                      <a:pt x="231" y="95"/>
                      <a:pt x="233" y="93"/>
                      <a:pt x="234" y="90"/>
                    </a:cubicBezTo>
                    <a:cubicBezTo>
                      <a:pt x="235" y="88"/>
                      <a:pt x="235" y="87"/>
                      <a:pt x="237" y="86"/>
                    </a:cubicBezTo>
                    <a:cubicBezTo>
                      <a:pt x="238" y="86"/>
                      <a:pt x="237" y="85"/>
                      <a:pt x="237" y="84"/>
                    </a:cubicBezTo>
                    <a:cubicBezTo>
                      <a:pt x="238" y="84"/>
                      <a:pt x="240" y="82"/>
                      <a:pt x="240" y="82"/>
                    </a:cubicBezTo>
                    <a:cubicBezTo>
                      <a:pt x="240" y="82"/>
                      <a:pt x="240" y="82"/>
                      <a:pt x="239" y="81"/>
                    </a:cubicBezTo>
                    <a:cubicBezTo>
                      <a:pt x="239" y="81"/>
                      <a:pt x="240" y="81"/>
                      <a:pt x="240" y="81"/>
                    </a:cubicBezTo>
                    <a:cubicBezTo>
                      <a:pt x="240" y="79"/>
                      <a:pt x="242" y="80"/>
                      <a:pt x="243" y="80"/>
                    </a:cubicBezTo>
                    <a:cubicBezTo>
                      <a:pt x="244" y="80"/>
                      <a:pt x="244" y="79"/>
                      <a:pt x="244" y="79"/>
                    </a:cubicBezTo>
                    <a:cubicBezTo>
                      <a:pt x="245" y="77"/>
                      <a:pt x="243" y="78"/>
                      <a:pt x="242" y="77"/>
                    </a:cubicBezTo>
                    <a:cubicBezTo>
                      <a:pt x="242" y="77"/>
                      <a:pt x="244" y="77"/>
                      <a:pt x="244" y="77"/>
                    </a:cubicBezTo>
                    <a:cubicBezTo>
                      <a:pt x="245" y="76"/>
                      <a:pt x="246" y="77"/>
                      <a:pt x="246" y="77"/>
                    </a:cubicBezTo>
                    <a:cubicBezTo>
                      <a:pt x="248" y="79"/>
                      <a:pt x="248" y="77"/>
                      <a:pt x="250" y="76"/>
                    </a:cubicBezTo>
                    <a:cubicBezTo>
                      <a:pt x="252" y="74"/>
                      <a:pt x="248" y="72"/>
                      <a:pt x="246" y="71"/>
                    </a:cubicBezTo>
                    <a:cubicBezTo>
                      <a:pt x="245" y="71"/>
                      <a:pt x="241" y="72"/>
                      <a:pt x="241" y="72"/>
                    </a:cubicBezTo>
                    <a:cubicBezTo>
                      <a:pt x="240" y="70"/>
                      <a:pt x="243" y="70"/>
                      <a:pt x="240" y="69"/>
                    </a:cubicBezTo>
                    <a:cubicBezTo>
                      <a:pt x="239" y="69"/>
                      <a:pt x="234" y="69"/>
                      <a:pt x="234" y="68"/>
                    </a:cubicBezTo>
                    <a:cubicBezTo>
                      <a:pt x="234" y="67"/>
                      <a:pt x="236" y="67"/>
                      <a:pt x="236" y="67"/>
                    </a:cubicBezTo>
                    <a:cubicBezTo>
                      <a:pt x="237" y="66"/>
                      <a:pt x="237" y="67"/>
                      <a:pt x="238" y="67"/>
                    </a:cubicBezTo>
                    <a:cubicBezTo>
                      <a:pt x="237" y="68"/>
                      <a:pt x="240" y="68"/>
                      <a:pt x="240" y="68"/>
                    </a:cubicBezTo>
                    <a:cubicBezTo>
                      <a:pt x="242" y="68"/>
                      <a:pt x="245" y="70"/>
                      <a:pt x="246" y="70"/>
                    </a:cubicBezTo>
                    <a:cubicBezTo>
                      <a:pt x="247" y="70"/>
                      <a:pt x="248" y="71"/>
                      <a:pt x="249" y="71"/>
                    </a:cubicBezTo>
                    <a:cubicBezTo>
                      <a:pt x="251" y="72"/>
                      <a:pt x="250" y="71"/>
                      <a:pt x="251" y="71"/>
                    </a:cubicBezTo>
                    <a:cubicBezTo>
                      <a:pt x="252" y="71"/>
                      <a:pt x="255" y="71"/>
                      <a:pt x="254" y="70"/>
                    </a:cubicBezTo>
                    <a:cubicBezTo>
                      <a:pt x="253" y="69"/>
                      <a:pt x="254" y="67"/>
                      <a:pt x="255" y="66"/>
                    </a:cubicBezTo>
                    <a:cubicBezTo>
                      <a:pt x="255" y="67"/>
                      <a:pt x="258" y="68"/>
                      <a:pt x="258" y="68"/>
                    </a:cubicBezTo>
                    <a:cubicBezTo>
                      <a:pt x="260" y="68"/>
                      <a:pt x="261" y="68"/>
                      <a:pt x="263" y="67"/>
                    </a:cubicBezTo>
                    <a:cubicBezTo>
                      <a:pt x="264" y="66"/>
                      <a:pt x="265" y="64"/>
                      <a:pt x="266" y="63"/>
                    </a:cubicBezTo>
                    <a:cubicBezTo>
                      <a:pt x="267" y="62"/>
                      <a:pt x="269" y="61"/>
                      <a:pt x="268" y="59"/>
                    </a:cubicBezTo>
                    <a:cubicBezTo>
                      <a:pt x="267" y="57"/>
                      <a:pt x="264" y="58"/>
                      <a:pt x="263" y="58"/>
                    </a:cubicBezTo>
                    <a:cubicBezTo>
                      <a:pt x="260" y="58"/>
                      <a:pt x="258" y="57"/>
                      <a:pt x="256" y="56"/>
                    </a:cubicBezTo>
                    <a:cubicBezTo>
                      <a:pt x="255" y="55"/>
                      <a:pt x="254" y="54"/>
                      <a:pt x="252" y="53"/>
                    </a:cubicBezTo>
                    <a:cubicBezTo>
                      <a:pt x="252" y="53"/>
                      <a:pt x="247" y="53"/>
                      <a:pt x="247" y="53"/>
                    </a:cubicBezTo>
                    <a:cubicBezTo>
                      <a:pt x="247" y="52"/>
                      <a:pt x="252" y="53"/>
                      <a:pt x="253" y="53"/>
                    </a:cubicBezTo>
                    <a:cubicBezTo>
                      <a:pt x="255" y="53"/>
                      <a:pt x="255" y="52"/>
                      <a:pt x="257" y="53"/>
                    </a:cubicBezTo>
                    <a:cubicBezTo>
                      <a:pt x="261" y="55"/>
                      <a:pt x="265" y="59"/>
                      <a:pt x="269" y="56"/>
                    </a:cubicBezTo>
                    <a:cubicBezTo>
                      <a:pt x="271" y="54"/>
                      <a:pt x="272" y="53"/>
                      <a:pt x="273" y="51"/>
                    </a:cubicBezTo>
                    <a:cubicBezTo>
                      <a:pt x="274" y="50"/>
                      <a:pt x="268" y="49"/>
                      <a:pt x="271" y="47"/>
                    </a:cubicBezTo>
                    <a:cubicBezTo>
                      <a:pt x="272" y="47"/>
                      <a:pt x="275" y="47"/>
                      <a:pt x="276" y="48"/>
                    </a:cubicBezTo>
                    <a:cubicBezTo>
                      <a:pt x="279" y="48"/>
                      <a:pt x="279" y="50"/>
                      <a:pt x="282" y="48"/>
                    </a:cubicBezTo>
                    <a:cubicBezTo>
                      <a:pt x="282" y="48"/>
                      <a:pt x="285" y="49"/>
                      <a:pt x="284" y="47"/>
                    </a:cubicBezTo>
                    <a:cubicBezTo>
                      <a:pt x="283" y="46"/>
                      <a:pt x="279" y="44"/>
                      <a:pt x="278" y="44"/>
                    </a:cubicBezTo>
                    <a:cubicBezTo>
                      <a:pt x="280" y="43"/>
                      <a:pt x="282" y="45"/>
                      <a:pt x="284" y="45"/>
                    </a:cubicBezTo>
                    <a:cubicBezTo>
                      <a:pt x="285" y="45"/>
                      <a:pt x="287" y="50"/>
                      <a:pt x="289" y="49"/>
                    </a:cubicBezTo>
                    <a:cubicBezTo>
                      <a:pt x="289" y="49"/>
                      <a:pt x="288" y="48"/>
                      <a:pt x="288" y="48"/>
                    </a:cubicBezTo>
                    <a:cubicBezTo>
                      <a:pt x="289" y="47"/>
                      <a:pt x="290" y="47"/>
                      <a:pt x="292" y="46"/>
                    </a:cubicBezTo>
                    <a:cubicBezTo>
                      <a:pt x="293" y="45"/>
                      <a:pt x="296" y="42"/>
                      <a:pt x="297" y="41"/>
                    </a:cubicBezTo>
                    <a:cubicBezTo>
                      <a:pt x="297" y="38"/>
                      <a:pt x="295" y="38"/>
                      <a:pt x="293" y="36"/>
                    </a:cubicBezTo>
                    <a:cubicBezTo>
                      <a:pt x="293" y="36"/>
                      <a:pt x="290" y="30"/>
                      <a:pt x="290" y="31"/>
                    </a:cubicBezTo>
                    <a:cubicBezTo>
                      <a:pt x="291" y="30"/>
                      <a:pt x="295" y="30"/>
                      <a:pt x="296" y="30"/>
                    </a:cubicBezTo>
                    <a:cubicBezTo>
                      <a:pt x="299" y="29"/>
                      <a:pt x="294" y="28"/>
                      <a:pt x="294" y="27"/>
                    </a:cubicBezTo>
                    <a:cubicBezTo>
                      <a:pt x="293" y="26"/>
                      <a:pt x="297" y="26"/>
                      <a:pt x="297" y="25"/>
                    </a:cubicBezTo>
                    <a:cubicBezTo>
                      <a:pt x="297" y="25"/>
                      <a:pt x="287" y="21"/>
                      <a:pt x="287" y="21"/>
                    </a:cubicBezTo>
                    <a:cubicBezTo>
                      <a:pt x="288" y="21"/>
                      <a:pt x="290" y="20"/>
                      <a:pt x="291" y="20"/>
                    </a:cubicBezTo>
                    <a:cubicBezTo>
                      <a:pt x="288" y="20"/>
                      <a:pt x="285" y="19"/>
                      <a:pt x="282" y="19"/>
                    </a:cubicBezTo>
                    <a:cubicBezTo>
                      <a:pt x="280" y="19"/>
                      <a:pt x="277" y="20"/>
                      <a:pt x="276" y="19"/>
                    </a:cubicBezTo>
                    <a:cubicBezTo>
                      <a:pt x="278" y="20"/>
                      <a:pt x="275" y="21"/>
                      <a:pt x="276" y="23"/>
                    </a:cubicBezTo>
                    <a:cubicBezTo>
                      <a:pt x="277" y="24"/>
                      <a:pt x="280" y="25"/>
                      <a:pt x="280" y="26"/>
                    </a:cubicBezTo>
                    <a:cubicBezTo>
                      <a:pt x="280" y="26"/>
                      <a:pt x="278" y="27"/>
                      <a:pt x="278" y="27"/>
                    </a:cubicBezTo>
                    <a:cubicBezTo>
                      <a:pt x="278" y="27"/>
                      <a:pt x="280" y="28"/>
                      <a:pt x="279" y="28"/>
                    </a:cubicBezTo>
                    <a:cubicBezTo>
                      <a:pt x="277" y="29"/>
                      <a:pt x="276" y="27"/>
                      <a:pt x="275" y="31"/>
                    </a:cubicBezTo>
                    <a:cubicBezTo>
                      <a:pt x="274" y="33"/>
                      <a:pt x="274" y="35"/>
                      <a:pt x="273" y="37"/>
                    </a:cubicBezTo>
                    <a:cubicBezTo>
                      <a:pt x="272" y="37"/>
                      <a:pt x="271" y="38"/>
                      <a:pt x="271" y="39"/>
                    </a:cubicBezTo>
                    <a:cubicBezTo>
                      <a:pt x="271" y="40"/>
                      <a:pt x="270" y="40"/>
                      <a:pt x="270" y="41"/>
                    </a:cubicBezTo>
                    <a:cubicBezTo>
                      <a:pt x="267" y="42"/>
                      <a:pt x="268" y="43"/>
                      <a:pt x="266" y="40"/>
                    </a:cubicBezTo>
                    <a:cubicBezTo>
                      <a:pt x="265" y="39"/>
                      <a:pt x="262" y="37"/>
                      <a:pt x="262" y="35"/>
                    </a:cubicBezTo>
                    <a:cubicBezTo>
                      <a:pt x="262" y="35"/>
                      <a:pt x="262" y="32"/>
                      <a:pt x="263" y="32"/>
                    </a:cubicBezTo>
                    <a:cubicBezTo>
                      <a:pt x="263" y="32"/>
                      <a:pt x="265" y="33"/>
                      <a:pt x="265" y="31"/>
                    </a:cubicBezTo>
                    <a:cubicBezTo>
                      <a:pt x="264" y="29"/>
                      <a:pt x="264" y="28"/>
                      <a:pt x="262" y="26"/>
                    </a:cubicBezTo>
                    <a:cubicBezTo>
                      <a:pt x="260" y="25"/>
                      <a:pt x="258" y="23"/>
                      <a:pt x="256" y="25"/>
                    </a:cubicBezTo>
                    <a:cubicBezTo>
                      <a:pt x="255" y="26"/>
                      <a:pt x="255" y="28"/>
                      <a:pt x="255" y="30"/>
                    </a:cubicBezTo>
                    <a:cubicBezTo>
                      <a:pt x="255" y="31"/>
                      <a:pt x="251" y="31"/>
                      <a:pt x="251" y="30"/>
                    </a:cubicBezTo>
                    <a:cubicBezTo>
                      <a:pt x="251" y="29"/>
                      <a:pt x="251" y="26"/>
                      <a:pt x="250" y="25"/>
                    </a:cubicBezTo>
                    <a:cubicBezTo>
                      <a:pt x="246" y="22"/>
                      <a:pt x="251" y="25"/>
                      <a:pt x="251" y="24"/>
                    </a:cubicBezTo>
                    <a:cubicBezTo>
                      <a:pt x="252" y="24"/>
                      <a:pt x="253" y="23"/>
                      <a:pt x="252" y="23"/>
                    </a:cubicBezTo>
                    <a:cubicBezTo>
                      <a:pt x="252" y="22"/>
                      <a:pt x="251" y="21"/>
                      <a:pt x="250" y="22"/>
                    </a:cubicBezTo>
                    <a:cubicBezTo>
                      <a:pt x="249" y="23"/>
                      <a:pt x="249" y="21"/>
                      <a:pt x="248" y="21"/>
                    </a:cubicBezTo>
                    <a:cubicBezTo>
                      <a:pt x="247" y="20"/>
                      <a:pt x="246" y="22"/>
                      <a:pt x="245" y="21"/>
                    </a:cubicBezTo>
                    <a:cubicBezTo>
                      <a:pt x="243" y="20"/>
                      <a:pt x="242" y="21"/>
                      <a:pt x="243" y="18"/>
                    </a:cubicBezTo>
                    <a:cubicBezTo>
                      <a:pt x="243" y="18"/>
                      <a:pt x="243" y="18"/>
                      <a:pt x="244" y="18"/>
                    </a:cubicBezTo>
                    <a:cubicBezTo>
                      <a:pt x="244" y="17"/>
                      <a:pt x="244" y="17"/>
                      <a:pt x="244" y="16"/>
                    </a:cubicBezTo>
                    <a:cubicBezTo>
                      <a:pt x="245" y="16"/>
                      <a:pt x="245" y="16"/>
                      <a:pt x="246" y="16"/>
                    </a:cubicBezTo>
                    <a:cubicBezTo>
                      <a:pt x="245" y="16"/>
                      <a:pt x="244" y="13"/>
                      <a:pt x="244" y="13"/>
                    </a:cubicBezTo>
                    <a:cubicBezTo>
                      <a:pt x="243" y="11"/>
                      <a:pt x="241" y="11"/>
                      <a:pt x="241" y="10"/>
                    </a:cubicBezTo>
                    <a:cubicBezTo>
                      <a:pt x="239" y="9"/>
                      <a:pt x="240" y="9"/>
                      <a:pt x="239" y="7"/>
                    </a:cubicBezTo>
                    <a:cubicBezTo>
                      <a:pt x="239" y="5"/>
                      <a:pt x="237" y="4"/>
                      <a:pt x="237" y="3"/>
                    </a:cubicBezTo>
                    <a:cubicBezTo>
                      <a:pt x="236" y="1"/>
                      <a:pt x="234" y="1"/>
                      <a:pt x="232" y="1"/>
                    </a:cubicBezTo>
                    <a:cubicBezTo>
                      <a:pt x="231" y="1"/>
                      <a:pt x="232" y="0"/>
                      <a:pt x="230" y="0"/>
                    </a:cubicBezTo>
                    <a:cubicBezTo>
                      <a:pt x="229" y="0"/>
                      <a:pt x="228" y="0"/>
                      <a:pt x="228" y="2"/>
                    </a:cubicBezTo>
                    <a:cubicBezTo>
                      <a:pt x="228" y="2"/>
                      <a:pt x="225" y="3"/>
                      <a:pt x="225" y="3"/>
                    </a:cubicBezTo>
                    <a:cubicBezTo>
                      <a:pt x="226" y="3"/>
                      <a:pt x="228" y="3"/>
                      <a:pt x="228" y="4"/>
                    </a:cubicBezTo>
                    <a:cubicBezTo>
                      <a:pt x="228" y="4"/>
                      <a:pt x="226" y="5"/>
                      <a:pt x="226" y="5"/>
                    </a:cubicBezTo>
                    <a:cubicBezTo>
                      <a:pt x="225" y="6"/>
                      <a:pt x="224" y="4"/>
                      <a:pt x="223" y="6"/>
                    </a:cubicBezTo>
                    <a:cubicBezTo>
                      <a:pt x="222" y="6"/>
                      <a:pt x="221" y="9"/>
                      <a:pt x="221" y="10"/>
                    </a:cubicBezTo>
                    <a:cubicBezTo>
                      <a:pt x="222" y="10"/>
                      <a:pt x="224" y="10"/>
                      <a:pt x="225" y="11"/>
                    </a:cubicBezTo>
                    <a:cubicBezTo>
                      <a:pt x="224" y="10"/>
                      <a:pt x="222" y="14"/>
                      <a:pt x="222" y="15"/>
                    </a:cubicBezTo>
                    <a:cubicBezTo>
                      <a:pt x="222" y="16"/>
                      <a:pt x="224" y="18"/>
                      <a:pt x="225" y="19"/>
                    </a:cubicBezTo>
                    <a:cubicBezTo>
                      <a:pt x="226" y="19"/>
                      <a:pt x="228" y="21"/>
                      <a:pt x="229" y="21"/>
                    </a:cubicBezTo>
                    <a:cubicBezTo>
                      <a:pt x="231" y="20"/>
                      <a:pt x="231" y="20"/>
                      <a:pt x="232" y="21"/>
                    </a:cubicBezTo>
                    <a:cubicBezTo>
                      <a:pt x="233" y="21"/>
                      <a:pt x="235" y="23"/>
                      <a:pt x="235" y="23"/>
                    </a:cubicBezTo>
                    <a:cubicBezTo>
                      <a:pt x="234" y="24"/>
                      <a:pt x="233" y="22"/>
                      <a:pt x="233" y="24"/>
                    </a:cubicBezTo>
                    <a:cubicBezTo>
                      <a:pt x="233" y="26"/>
                      <a:pt x="232" y="26"/>
                      <a:pt x="232" y="27"/>
                    </a:cubicBezTo>
                    <a:cubicBezTo>
                      <a:pt x="231" y="29"/>
                      <a:pt x="233" y="29"/>
                      <a:pt x="234" y="28"/>
                    </a:cubicBezTo>
                    <a:cubicBezTo>
                      <a:pt x="234" y="28"/>
                      <a:pt x="236" y="25"/>
                      <a:pt x="236" y="26"/>
                    </a:cubicBezTo>
                    <a:cubicBezTo>
                      <a:pt x="237" y="27"/>
                      <a:pt x="236" y="29"/>
                      <a:pt x="236" y="30"/>
                    </a:cubicBezTo>
                    <a:cubicBezTo>
                      <a:pt x="235" y="31"/>
                      <a:pt x="234" y="31"/>
                      <a:pt x="233" y="31"/>
                    </a:cubicBezTo>
                    <a:cubicBezTo>
                      <a:pt x="233" y="32"/>
                      <a:pt x="233" y="33"/>
                      <a:pt x="232" y="34"/>
                    </a:cubicBezTo>
                    <a:cubicBezTo>
                      <a:pt x="231" y="34"/>
                      <a:pt x="229" y="34"/>
                      <a:pt x="228" y="35"/>
                    </a:cubicBezTo>
                    <a:cubicBezTo>
                      <a:pt x="227" y="35"/>
                      <a:pt x="226" y="37"/>
                      <a:pt x="226" y="37"/>
                    </a:cubicBezTo>
                    <a:cubicBezTo>
                      <a:pt x="227" y="38"/>
                      <a:pt x="228" y="39"/>
                      <a:pt x="228" y="41"/>
                    </a:cubicBezTo>
                    <a:cubicBezTo>
                      <a:pt x="228" y="42"/>
                      <a:pt x="227" y="41"/>
                      <a:pt x="226" y="40"/>
                    </a:cubicBezTo>
                    <a:cubicBezTo>
                      <a:pt x="226" y="40"/>
                      <a:pt x="225" y="40"/>
                      <a:pt x="225" y="41"/>
                    </a:cubicBezTo>
                    <a:cubicBezTo>
                      <a:pt x="224" y="41"/>
                      <a:pt x="222" y="40"/>
                      <a:pt x="222" y="39"/>
                    </a:cubicBezTo>
                    <a:cubicBezTo>
                      <a:pt x="222" y="38"/>
                      <a:pt x="224" y="35"/>
                      <a:pt x="224" y="34"/>
                    </a:cubicBezTo>
                    <a:cubicBezTo>
                      <a:pt x="225" y="32"/>
                      <a:pt x="222" y="34"/>
                      <a:pt x="222" y="34"/>
                    </a:cubicBezTo>
                    <a:cubicBezTo>
                      <a:pt x="221" y="34"/>
                      <a:pt x="218" y="32"/>
                      <a:pt x="217" y="31"/>
                    </a:cubicBezTo>
                    <a:cubicBezTo>
                      <a:pt x="215" y="30"/>
                      <a:pt x="216" y="32"/>
                      <a:pt x="214" y="32"/>
                    </a:cubicBezTo>
                    <a:cubicBezTo>
                      <a:pt x="213" y="32"/>
                      <a:pt x="210" y="31"/>
                      <a:pt x="212" y="33"/>
                    </a:cubicBezTo>
                    <a:cubicBezTo>
                      <a:pt x="213" y="34"/>
                      <a:pt x="213" y="35"/>
                      <a:pt x="215" y="35"/>
                    </a:cubicBezTo>
                    <a:cubicBezTo>
                      <a:pt x="216" y="35"/>
                      <a:pt x="218" y="35"/>
                      <a:pt x="218" y="37"/>
                    </a:cubicBezTo>
                    <a:cubicBezTo>
                      <a:pt x="220" y="41"/>
                      <a:pt x="214" y="36"/>
                      <a:pt x="213" y="35"/>
                    </a:cubicBezTo>
                    <a:cubicBezTo>
                      <a:pt x="211" y="35"/>
                      <a:pt x="211" y="37"/>
                      <a:pt x="209" y="37"/>
                    </a:cubicBezTo>
                    <a:cubicBezTo>
                      <a:pt x="207" y="37"/>
                      <a:pt x="206" y="36"/>
                      <a:pt x="204" y="36"/>
                    </a:cubicBezTo>
                    <a:cubicBezTo>
                      <a:pt x="200" y="37"/>
                      <a:pt x="197" y="37"/>
                      <a:pt x="193" y="37"/>
                    </a:cubicBezTo>
                    <a:cubicBezTo>
                      <a:pt x="190" y="36"/>
                      <a:pt x="186" y="34"/>
                      <a:pt x="182" y="33"/>
                    </a:cubicBezTo>
                    <a:cubicBezTo>
                      <a:pt x="181" y="33"/>
                      <a:pt x="179" y="33"/>
                      <a:pt x="178" y="32"/>
                    </a:cubicBezTo>
                    <a:cubicBezTo>
                      <a:pt x="177" y="30"/>
                      <a:pt x="177" y="28"/>
                      <a:pt x="176" y="28"/>
                    </a:cubicBezTo>
                    <a:cubicBezTo>
                      <a:pt x="174" y="27"/>
                      <a:pt x="172" y="28"/>
                      <a:pt x="171" y="28"/>
                    </a:cubicBezTo>
                    <a:cubicBezTo>
                      <a:pt x="168" y="29"/>
                      <a:pt x="166" y="29"/>
                      <a:pt x="164" y="29"/>
                    </a:cubicBezTo>
                    <a:cubicBezTo>
                      <a:pt x="163" y="30"/>
                      <a:pt x="161" y="31"/>
                      <a:pt x="161" y="32"/>
                    </a:cubicBezTo>
                    <a:cubicBezTo>
                      <a:pt x="161" y="32"/>
                      <a:pt x="165" y="34"/>
                      <a:pt x="166" y="34"/>
                    </a:cubicBezTo>
                    <a:cubicBezTo>
                      <a:pt x="166" y="34"/>
                      <a:pt x="165" y="31"/>
                      <a:pt x="167" y="32"/>
                    </a:cubicBezTo>
                    <a:cubicBezTo>
                      <a:pt x="168" y="32"/>
                      <a:pt x="168" y="33"/>
                      <a:pt x="169" y="32"/>
                    </a:cubicBezTo>
                    <a:cubicBezTo>
                      <a:pt x="170" y="32"/>
                      <a:pt x="176" y="28"/>
                      <a:pt x="176" y="30"/>
                    </a:cubicBezTo>
                    <a:cubicBezTo>
                      <a:pt x="176" y="31"/>
                      <a:pt x="173" y="32"/>
                      <a:pt x="172" y="33"/>
                    </a:cubicBezTo>
                    <a:cubicBezTo>
                      <a:pt x="171" y="34"/>
                      <a:pt x="169" y="34"/>
                      <a:pt x="167" y="34"/>
                    </a:cubicBezTo>
                    <a:cubicBezTo>
                      <a:pt x="166" y="35"/>
                      <a:pt x="163" y="37"/>
                      <a:pt x="165" y="38"/>
                    </a:cubicBezTo>
                    <a:cubicBezTo>
                      <a:pt x="167" y="38"/>
                      <a:pt x="167" y="39"/>
                      <a:pt x="166" y="41"/>
                    </a:cubicBezTo>
                    <a:cubicBezTo>
                      <a:pt x="166" y="42"/>
                      <a:pt x="168" y="42"/>
                      <a:pt x="168" y="43"/>
                    </a:cubicBezTo>
                    <a:cubicBezTo>
                      <a:pt x="169" y="44"/>
                      <a:pt x="169" y="46"/>
                      <a:pt x="167" y="44"/>
                    </a:cubicBezTo>
                    <a:cubicBezTo>
                      <a:pt x="165" y="42"/>
                      <a:pt x="167" y="46"/>
                      <a:pt x="166" y="45"/>
                    </a:cubicBezTo>
                    <a:cubicBezTo>
                      <a:pt x="165" y="45"/>
                      <a:pt x="163" y="42"/>
                      <a:pt x="162" y="43"/>
                    </a:cubicBezTo>
                    <a:cubicBezTo>
                      <a:pt x="164" y="42"/>
                      <a:pt x="167" y="43"/>
                      <a:pt x="164" y="41"/>
                    </a:cubicBezTo>
                    <a:cubicBezTo>
                      <a:pt x="165" y="41"/>
                      <a:pt x="166" y="40"/>
                      <a:pt x="164" y="39"/>
                    </a:cubicBezTo>
                    <a:cubicBezTo>
                      <a:pt x="166" y="40"/>
                      <a:pt x="161" y="40"/>
                      <a:pt x="162" y="40"/>
                    </a:cubicBezTo>
                    <a:cubicBezTo>
                      <a:pt x="162" y="39"/>
                      <a:pt x="162" y="39"/>
                      <a:pt x="163" y="39"/>
                    </a:cubicBezTo>
                    <a:cubicBezTo>
                      <a:pt x="163" y="38"/>
                      <a:pt x="160" y="40"/>
                      <a:pt x="160" y="40"/>
                    </a:cubicBezTo>
                    <a:cubicBezTo>
                      <a:pt x="159" y="40"/>
                      <a:pt x="160" y="38"/>
                      <a:pt x="159" y="37"/>
                    </a:cubicBezTo>
                    <a:cubicBezTo>
                      <a:pt x="159" y="37"/>
                      <a:pt x="157" y="37"/>
                      <a:pt x="157" y="37"/>
                    </a:cubicBezTo>
                    <a:cubicBezTo>
                      <a:pt x="155" y="37"/>
                      <a:pt x="155" y="34"/>
                      <a:pt x="153" y="35"/>
                    </a:cubicBezTo>
                    <a:cubicBezTo>
                      <a:pt x="151" y="37"/>
                      <a:pt x="150" y="37"/>
                      <a:pt x="147" y="37"/>
                    </a:cubicBezTo>
                    <a:cubicBezTo>
                      <a:pt x="143" y="37"/>
                      <a:pt x="140" y="37"/>
                      <a:pt x="136" y="37"/>
                    </a:cubicBezTo>
                    <a:cubicBezTo>
                      <a:pt x="135" y="37"/>
                      <a:pt x="128" y="37"/>
                      <a:pt x="128" y="36"/>
                    </a:cubicBezTo>
                    <a:cubicBezTo>
                      <a:pt x="127" y="36"/>
                      <a:pt x="130" y="34"/>
                      <a:pt x="131" y="33"/>
                    </a:cubicBezTo>
                    <a:cubicBezTo>
                      <a:pt x="132" y="32"/>
                      <a:pt x="133" y="33"/>
                      <a:pt x="135" y="33"/>
                    </a:cubicBezTo>
                    <a:cubicBezTo>
                      <a:pt x="136" y="32"/>
                      <a:pt x="133" y="30"/>
                      <a:pt x="133" y="30"/>
                    </a:cubicBezTo>
                    <a:cubicBezTo>
                      <a:pt x="131" y="28"/>
                      <a:pt x="130" y="28"/>
                      <a:pt x="128" y="27"/>
                    </a:cubicBezTo>
                    <a:cubicBezTo>
                      <a:pt x="127" y="27"/>
                      <a:pt x="126" y="26"/>
                      <a:pt x="125" y="27"/>
                    </a:cubicBezTo>
                    <a:cubicBezTo>
                      <a:pt x="124" y="28"/>
                      <a:pt x="123" y="29"/>
                      <a:pt x="122" y="28"/>
                    </a:cubicBezTo>
                    <a:cubicBezTo>
                      <a:pt x="119" y="26"/>
                      <a:pt x="116" y="26"/>
                      <a:pt x="113" y="25"/>
                    </a:cubicBezTo>
                    <a:cubicBezTo>
                      <a:pt x="109" y="24"/>
                      <a:pt x="106" y="24"/>
                      <a:pt x="102" y="22"/>
                    </a:cubicBezTo>
                    <a:cubicBezTo>
                      <a:pt x="99" y="20"/>
                      <a:pt x="97" y="19"/>
                      <a:pt x="93" y="19"/>
                    </a:cubicBezTo>
                    <a:cubicBezTo>
                      <a:pt x="92" y="19"/>
                      <a:pt x="91" y="19"/>
                      <a:pt x="90" y="20"/>
                    </a:cubicBezTo>
                    <a:cubicBezTo>
                      <a:pt x="89" y="21"/>
                      <a:pt x="88" y="23"/>
                      <a:pt x="87" y="23"/>
                    </a:cubicBezTo>
                    <a:cubicBezTo>
                      <a:pt x="86" y="23"/>
                      <a:pt x="83" y="24"/>
                      <a:pt x="83" y="23"/>
                    </a:cubicBezTo>
                    <a:cubicBezTo>
                      <a:pt x="83" y="22"/>
                      <a:pt x="85" y="21"/>
                      <a:pt x="85" y="20"/>
                    </a:cubicBezTo>
                    <a:cubicBezTo>
                      <a:pt x="85" y="20"/>
                      <a:pt x="82" y="21"/>
                      <a:pt x="82" y="20"/>
                    </a:cubicBezTo>
                    <a:cubicBezTo>
                      <a:pt x="83" y="19"/>
                      <a:pt x="83" y="18"/>
                      <a:pt x="82" y="17"/>
                    </a:cubicBezTo>
                    <a:cubicBezTo>
                      <a:pt x="82" y="15"/>
                      <a:pt x="78" y="17"/>
                      <a:pt x="78" y="18"/>
                    </a:cubicBezTo>
                    <a:cubicBezTo>
                      <a:pt x="78" y="18"/>
                      <a:pt x="80" y="17"/>
                      <a:pt x="80" y="18"/>
                    </a:cubicBezTo>
                    <a:cubicBezTo>
                      <a:pt x="81" y="18"/>
                      <a:pt x="77" y="20"/>
                      <a:pt x="80" y="20"/>
                    </a:cubicBezTo>
                    <a:cubicBezTo>
                      <a:pt x="79" y="20"/>
                      <a:pt x="78" y="20"/>
                      <a:pt x="78" y="22"/>
                    </a:cubicBezTo>
                    <a:cubicBezTo>
                      <a:pt x="78" y="23"/>
                      <a:pt x="77" y="24"/>
                      <a:pt x="76" y="23"/>
                    </a:cubicBezTo>
                    <a:cubicBezTo>
                      <a:pt x="73" y="22"/>
                      <a:pt x="72" y="21"/>
                      <a:pt x="71" y="18"/>
                    </a:cubicBezTo>
                    <a:cubicBezTo>
                      <a:pt x="70" y="16"/>
                      <a:pt x="68" y="15"/>
                      <a:pt x="66" y="13"/>
                    </a:cubicBezTo>
                    <a:cubicBezTo>
                      <a:pt x="65" y="13"/>
                      <a:pt x="64" y="11"/>
                      <a:pt x="63" y="12"/>
                    </a:cubicBezTo>
                    <a:cubicBezTo>
                      <a:pt x="63" y="14"/>
                      <a:pt x="66" y="15"/>
                      <a:pt x="67" y="16"/>
                    </a:cubicBezTo>
                    <a:cubicBezTo>
                      <a:pt x="67" y="15"/>
                      <a:pt x="63" y="16"/>
                      <a:pt x="63" y="17"/>
                    </a:cubicBezTo>
                    <a:cubicBezTo>
                      <a:pt x="62" y="18"/>
                      <a:pt x="63" y="18"/>
                      <a:pt x="62" y="19"/>
                    </a:cubicBezTo>
                    <a:cubicBezTo>
                      <a:pt x="61" y="19"/>
                      <a:pt x="60" y="21"/>
                      <a:pt x="59" y="20"/>
                    </a:cubicBezTo>
                    <a:cubicBezTo>
                      <a:pt x="59" y="20"/>
                      <a:pt x="59" y="19"/>
                      <a:pt x="59" y="19"/>
                    </a:cubicBezTo>
                    <a:cubicBezTo>
                      <a:pt x="59" y="18"/>
                      <a:pt x="54" y="20"/>
                      <a:pt x="54" y="21"/>
                    </a:cubicBezTo>
                    <a:cubicBezTo>
                      <a:pt x="53" y="22"/>
                      <a:pt x="52" y="23"/>
                      <a:pt x="50" y="24"/>
                    </a:cubicBezTo>
                    <a:cubicBezTo>
                      <a:pt x="49" y="25"/>
                      <a:pt x="50" y="22"/>
                      <a:pt x="49" y="22"/>
                    </a:cubicBezTo>
                    <a:cubicBezTo>
                      <a:pt x="48" y="22"/>
                      <a:pt x="47" y="23"/>
                      <a:pt x="46" y="23"/>
                    </a:cubicBezTo>
                    <a:cubicBezTo>
                      <a:pt x="45" y="23"/>
                      <a:pt x="45" y="25"/>
                      <a:pt x="44" y="25"/>
                    </a:cubicBezTo>
                    <a:cubicBezTo>
                      <a:pt x="43" y="25"/>
                      <a:pt x="40" y="27"/>
                      <a:pt x="41" y="27"/>
                    </a:cubicBezTo>
                    <a:cubicBezTo>
                      <a:pt x="41" y="28"/>
                      <a:pt x="43" y="28"/>
                      <a:pt x="40" y="29"/>
                    </a:cubicBezTo>
                    <a:cubicBezTo>
                      <a:pt x="40" y="29"/>
                      <a:pt x="37" y="29"/>
                      <a:pt x="37" y="28"/>
                    </a:cubicBezTo>
                    <a:cubicBezTo>
                      <a:pt x="37" y="27"/>
                      <a:pt x="40" y="26"/>
                      <a:pt x="40" y="26"/>
                    </a:cubicBezTo>
                    <a:cubicBezTo>
                      <a:pt x="41" y="24"/>
                      <a:pt x="43" y="23"/>
                      <a:pt x="44" y="22"/>
                    </a:cubicBezTo>
                    <a:cubicBezTo>
                      <a:pt x="46" y="21"/>
                      <a:pt x="47" y="21"/>
                      <a:pt x="49" y="22"/>
                    </a:cubicBezTo>
                    <a:cubicBezTo>
                      <a:pt x="48" y="22"/>
                      <a:pt x="56" y="18"/>
                      <a:pt x="56" y="18"/>
                    </a:cubicBezTo>
                    <a:cubicBezTo>
                      <a:pt x="58" y="17"/>
                      <a:pt x="57" y="16"/>
                      <a:pt x="56" y="16"/>
                    </a:cubicBezTo>
                    <a:cubicBezTo>
                      <a:pt x="54" y="16"/>
                      <a:pt x="52" y="16"/>
                      <a:pt x="50" y="17"/>
                    </a:cubicBezTo>
                    <a:cubicBezTo>
                      <a:pt x="49" y="17"/>
                      <a:pt x="49" y="19"/>
                      <a:pt x="47" y="19"/>
                    </a:cubicBezTo>
                    <a:cubicBezTo>
                      <a:pt x="46" y="19"/>
                      <a:pt x="44" y="20"/>
                      <a:pt x="43" y="20"/>
                    </a:cubicBezTo>
                    <a:cubicBezTo>
                      <a:pt x="41" y="20"/>
                      <a:pt x="36" y="25"/>
                      <a:pt x="35" y="24"/>
                    </a:cubicBezTo>
                    <a:cubicBezTo>
                      <a:pt x="34" y="24"/>
                      <a:pt x="36" y="23"/>
                      <a:pt x="36" y="22"/>
                    </a:cubicBezTo>
                    <a:cubicBezTo>
                      <a:pt x="36" y="22"/>
                      <a:pt x="33" y="21"/>
                      <a:pt x="33" y="21"/>
                    </a:cubicBezTo>
                    <a:cubicBezTo>
                      <a:pt x="33" y="21"/>
                      <a:pt x="30" y="23"/>
                      <a:pt x="29" y="23"/>
                    </a:cubicBezTo>
                    <a:cubicBezTo>
                      <a:pt x="28" y="23"/>
                      <a:pt x="26" y="24"/>
                      <a:pt x="25" y="25"/>
                    </a:cubicBezTo>
                    <a:cubicBezTo>
                      <a:pt x="24" y="25"/>
                      <a:pt x="26" y="26"/>
                      <a:pt x="26" y="26"/>
                    </a:cubicBezTo>
                    <a:cubicBezTo>
                      <a:pt x="27" y="26"/>
                      <a:pt x="26" y="27"/>
                      <a:pt x="26" y="27"/>
                    </a:cubicBezTo>
                    <a:cubicBezTo>
                      <a:pt x="26" y="28"/>
                      <a:pt x="30" y="27"/>
                      <a:pt x="30" y="27"/>
                    </a:cubicBezTo>
                    <a:cubicBezTo>
                      <a:pt x="31" y="26"/>
                      <a:pt x="33" y="25"/>
                      <a:pt x="34" y="24"/>
                    </a:cubicBezTo>
                    <a:cubicBezTo>
                      <a:pt x="29" y="26"/>
                      <a:pt x="34" y="27"/>
                      <a:pt x="33" y="29"/>
                    </a:cubicBezTo>
                    <a:cubicBezTo>
                      <a:pt x="33" y="29"/>
                      <a:pt x="32" y="28"/>
                      <a:pt x="32" y="28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7" y="29"/>
                      <a:pt x="23" y="28"/>
                      <a:pt x="21" y="28"/>
                    </a:cubicBezTo>
                    <a:cubicBezTo>
                      <a:pt x="19" y="28"/>
                      <a:pt x="16" y="26"/>
                      <a:pt x="14" y="25"/>
                    </a:cubicBezTo>
                    <a:cubicBezTo>
                      <a:pt x="13" y="25"/>
                      <a:pt x="12" y="24"/>
                      <a:pt x="11" y="24"/>
                    </a:cubicBezTo>
                    <a:cubicBezTo>
                      <a:pt x="10" y="23"/>
                      <a:pt x="9" y="21"/>
                      <a:pt x="10" y="21"/>
                    </a:cubicBezTo>
                    <a:cubicBezTo>
                      <a:pt x="9" y="21"/>
                      <a:pt x="7" y="21"/>
                      <a:pt x="6" y="22"/>
                    </a:cubicBezTo>
                    <a:cubicBezTo>
                      <a:pt x="4" y="22"/>
                      <a:pt x="2" y="22"/>
                      <a:pt x="0" y="21"/>
                    </a:cubicBezTo>
                    <a:cubicBezTo>
                      <a:pt x="0" y="41"/>
                      <a:pt x="0" y="61"/>
                      <a:pt x="0" y="80"/>
                    </a:cubicBezTo>
                    <a:cubicBezTo>
                      <a:pt x="0" y="85"/>
                      <a:pt x="0" y="89"/>
                      <a:pt x="0" y="94"/>
                    </a:cubicBezTo>
                    <a:cubicBezTo>
                      <a:pt x="0" y="95"/>
                      <a:pt x="0" y="96"/>
                      <a:pt x="0" y="97"/>
                    </a:cubicBezTo>
                    <a:cubicBezTo>
                      <a:pt x="0" y="99"/>
                      <a:pt x="2" y="97"/>
                      <a:pt x="3" y="97"/>
                    </a:cubicBezTo>
                    <a:cubicBezTo>
                      <a:pt x="5" y="98"/>
                      <a:pt x="5" y="97"/>
                      <a:pt x="7" y="97"/>
                    </a:cubicBezTo>
                    <a:cubicBezTo>
                      <a:pt x="9" y="97"/>
                      <a:pt x="9" y="98"/>
                      <a:pt x="10" y="99"/>
                    </a:cubicBezTo>
                    <a:cubicBezTo>
                      <a:pt x="11" y="101"/>
                      <a:pt x="16" y="107"/>
                      <a:pt x="18" y="107"/>
                    </a:cubicBezTo>
                    <a:cubicBezTo>
                      <a:pt x="19" y="107"/>
                      <a:pt x="21" y="106"/>
                      <a:pt x="22" y="105"/>
                    </a:cubicBezTo>
                    <a:cubicBezTo>
                      <a:pt x="23" y="104"/>
                      <a:pt x="22" y="103"/>
                      <a:pt x="23" y="102"/>
                    </a:cubicBezTo>
                    <a:cubicBezTo>
                      <a:pt x="24" y="102"/>
                      <a:pt x="28" y="101"/>
                      <a:pt x="28" y="102"/>
                    </a:cubicBezTo>
                    <a:cubicBezTo>
                      <a:pt x="30" y="104"/>
                      <a:pt x="32" y="105"/>
                      <a:pt x="33" y="107"/>
                    </a:cubicBezTo>
                    <a:cubicBezTo>
                      <a:pt x="35" y="109"/>
                      <a:pt x="37" y="110"/>
                      <a:pt x="38" y="112"/>
                    </a:cubicBezTo>
                    <a:cubicBezTo>
                      <a:pt x="39" y="113"/>
                      <a:pt x="39" y="114"/>
                      <a:pt x="40" y="116"/>
                    </a:cubicBezTo>
                    <a:cubicBezTo>
                      <a:pt x="42" y="118"/>
                      <a:pt x="43" y="122"/>
                      <a:pt x="46" y="124"/>
                    </a:cubicBezTo>
                    <a:cubicBezTo>
                      <a:pt x="48" y="126"/>
                      <a:pt x="52" y="127"/>
                      <a:pt x="54" y="128"/>
                    </a:cubicBezTo>
                    <a:cubicBezTo>
                      <a:pt x="56" y="129"/>
                      <a:pt x="53" y="130"/>
                      <a:pt x="54" y="132"/>
                    </a:cubicBezTo>
                    <a:cubicBezTo>
                      <a:pt x="55" y="132"/>
                      <a:pt x="56" y="132"/>
                      <a:pt x="56" y="133"/>
                    </a:cubicBezTo>
                    <a:cubicBezTo>
                      <a:pt x="56" y="133"/>
                      <a:pt x="55" y="136"/>
                      <a:pt x="56" y="135"/>
                    </a:cubicBezTo>
                    <a:cubicBezTo>
                      <a:pt x="55" y="136"/>
                      <a:pt x="53" y="136"/>
                      <a:pt x="53" y="138"/>
                    </a:cubicBezTo>
                    <a:cubicBezTo>
                      <a:pt x="52" y="139"/>
                      <a:pt x="55" y="141"/>
                      <a:pt x="56" y="141"/>
                    </a:cubicBezTo>
                    <a:cubicBezTo>
                      <a:pt x="56" y="141"/>
                      <a:pt x="54" y="143"/>
                      <a:pt x="54" y="143"/>
                    </a:cubicBezTo>
                    <a:cubicBezTo>
                      <a:pt x="54" y="143"/>
                      <a:pt x="53" y="142"/>
                      <a:pt x="53" y="141"/>
                    </a:cubicBezTo>
                    <a:cubicBezTo>
                      <a:pt x="52" y="141"/>
                      <a:pt x="53" y="143"/>
                      <a:pt x="53" y="143"/>
                    </a:cubicBezTo>
                    <a:cubicBezTo>
                      <a:pt x="54" y="144"/>
                      <a:pt x="53" y="145"/>
                      <a:pt x="54" y="146"/>
                    </a:cubicBezTo>
                    <a:cubicBezTo>
                      <a:pt x="55" y="148"/>
                      <a:pt x="55" y="148"/>
                      <a:pt x="57" y="147"/>
                    </a:cubicBezTo>
                    <a:cubicBezTo>
                      <a:pt x="57" y="147"/>
                      <a:pt x="58" y="147"/>
                      <a:pt x="58" y="147"/>
                    </a:cubicBezTo>
                    <a:cubicBezTo>
                      <a:pt x="59" y="147"/>
                      <a:pt x="59" y="145"/>
                      <a:pt x="59" y="145"/>
                    </a:cubicBezTo>
                    <a:cubicBezTo>
                      <a:pt x="59" y="145"/>
                      <a:pt x="60" y="147"/>
                      <a:pt x="61" y="147"/>
                    </a:cubicBezTo>
                    <a:cubicBezTo>
                      <a:pt x="61" y="147"/>
                      <a:pt x="60" y="149"/>
                      <a:pt x="60" y="150"/>
                    </a:cubicBezTo>
                    <a:cubicBezTo>
                      <a:pt x="59" y="151"/>
                      <a:pt x="59" y="152"/>
                      <a:pt x="61" y="151"/>
                    </a:cubicBezTo>
                    <a:cubicBezTo>
                      <a:pt x="61" y="150"/>
                      <a:pt x="62" y="150"/>
                      <a:pt x="62" y="150"/>
                    </a:cubicBezTo>
                    <a:cubicBezTo>
                      <a:pt x="63" y="150"/>
                      <a:pt x="63" y="149"/>
                      <a:pt x="63" y="149"/>
                    </a:cubicBezTo>
                    <a:cubicBezTo>
                      <a:pt x="65" y="148"/>
                      <a:pt x="64" y="151"/>
                      <a:pt x="64" y="152"/>
                    </a:cubicBezTo>
                    <a:cubicBezTo>
                      <a:pt x="64" y="153"/>
                      <a:pt x="65" y="154"/>
                      <a:pt x="66" y="154"/>
                    </a:cubicBezTo>
                    <a:cubicBezTo>
                      <a:pt x="67" y="154"/>
                      <a:pt x="68" y="152"/>
                      <a:pt x="69" y="152"/>
                    </a:cubicBezTo>
                    <a:cubicBezTo>
                      <a:pt x="69" y="152"/>
                      <a:pt x="68" y="153"/>
                      <a:pt x="68" y="153"/>
                    </a:cubicBezTo>
                    <a:cubicBezTo>
                      <a:pt x="68" y="153"/>
                      <a:pt x="70" y="154"/>
                      <a:pt x="70" y="154"/>
                    </a:cubicBezTo>
                    <a:cubicBezTo>
                      <a:pt x="70" y="154"/>
                      <a:pt x="63" y="156"/>
                      <a:pt x="66" y="158"/>
                    </a:cubicBezTo>
                    <a:cubicBezTo>
                      <a:pt x="66" y="158"/>
                      <a:pt x="72" y="157"/>
                      <a:pt x="71" y="158"/>
                    </a:cubicBezTo>
                    <a:cubicBezTo>
                      <a:pt x="71" y="158"/>
                      <a:pt x="66" y="158"/>
                      <a:pt x="67" y="160"/>
                    </a:cubicBezTo>
                    <a:cubicBezTo>
                      <a:pt x="67" y="160"/>
                      <a:pt x="69" y="160"/>
                      <a:pt x="69" y="160"/>
                    </a:cubicBezTo>
                    <a:cubicBezTo>
                      <a:pt x="68" y="161"/>
                      <a:pt x="66" y="161"/>
                      <a:pt x="67" y="162"/>
                    </a:cubicBezTo>
                    <a:cubicBezTo>
                      <a:pt x="69" y="163"/>
                      <a:pt x="71" y="163"/>
                      <a:pt x="72" y="163"/>
                    </a:cubicBezTo>
                    <a:cubicBezTo>
                      <a:pt x="74" y="163"/>
                      <a:pt x="73" y="164"/>
                      <a:pt x="74" y="164"/>
                    </a:cubicBezTo>
                    <a:cubicBezTo>
                      <a:pt x="76" y="165"/>
                      <a:pt x="76" y="162"/>
                      <a:pt x="77" y="162"/>
                    </a:cubicBezTo>
                    <a:cubicBezTo>
                      <a:pt x="78" y="162"/>
                      <a:pt x="77" y="164"/>
                      <a:pt x="77" y="164"/>
                    </a:cubicBezTo>
                    <a:cubicBezTo>
                      <a:pt x="76" y="165"/>
                      <a:pt x="76" y="165"/>
                      <a:pt x="77" y="166"/>
                    </a:cubicBezTo>
                    <a:cubicBezTo>
                      <a:pt x="80" y="168"/>
                      <a:pt x="81" y="163"/>
                      <a:pt x="81" y="163"/>
                    </a:cubicBezTo>
                    <a:cubicBezTo>
                      <a:pt x="81" y="163"/>
                      <a:pt x="81" y="166"/>
                      <a:pt x="80" y="166"/>
                    </a:cubicBezTo>
                    <a:cubicBezTo>
                      <a:pt x="80" y="167"/>
                      <a:pt x="82" y="166"/>
                      <a:pt x="83" y="166"/>
                    </a:cubicBezTo>
                    <a:cubicBezTo>
                      <a:pt x="82" y="168"/>
                      <a:pt x="81" y="169"/>
                      <a:pt x="83" y="170"/>
                    </a:cubicBezTo>
                    <a:cubicBezTo>
                      <a:pt x="85" y="171"/>
                      <a:pt x="86" y="168"/>
                      <a:pt x="86" y="168"/>
                    </a:cubicBezTo>
                    <a:cubicBezTo>
                      <a:pt x="86" y="168"/>
                      <a:pt x="86" y="169"/>
                      <a:pt x="86" y="170"/>
                    </a:cubicBezTo>
                    <a:cubicBezTo>
                      <a:pt x="87" y="172"/>
                      <a:pt x="86" y="171"/>
                      <a:pt x="85" y="171"/>
                    </a:cubicBezTo>
                    <a:cubicBezTo>
                      <a:pt x="84" y="172"/>
                      <a:pt x="90" y="173"/>
                      <a:pt x="89" y="171"/>
                    </a:cubicBezTo>
                    <a:cubicBezTo>
                      <a:pt x="91" y="174"/>
                      <a:pt x="90" y="176"/>
                      <a:pt x="94" y="176"/>
                    </a:cubicBezTo>
                    <a:cubicBezTo>
                      <a:pt x="97" y="176"/>
                      <a:pt x="99" y="176"/>
                      <a:pt x="102" y="176"/>
                    </a:cubicBezTo>
                    <a:cubicBezTo>
                      <a:pt x="113" y="176"/>
                      <a:pt x="123" y="176"/>
                      <a:pt x="133" y="176"/>
                    </a:cubicBezTo>
                    <a:cubicBezTo>
                      <a:pt x="158" y="176"/>
                      <a:pt x="183" y="176"/>
                      <a:pt x="208" y="176"/>
                    </a:cubicBezTo>
                    <a:cubicBezTo>
                      <a:pt x="213" y="176"/>
                      <a:pt x="218" y="176"/>
                      <a:pt x="223" y="176"/>
                    </a:cubicBezTo>
                    <a:cubicBezTo>
                      <a:pt x="224" y="176"/>
                      <a:pt x="229" y="177"/>
                      <a:pt x="229" y="174"/>
                    </a:cubicBezTo>
                    <a:close/>
                    <a:moveTo>
                      <a:pt x="112" y="54"/>
                    </a:moveTo>
                    <a:cubicBezTo>
                      <a:pt x="110" y="54"/>
                      <a:pt x="108" y="53"/>
                      <a:pt x="106" y="54"/>
                    </a:cubicBezTo>
                    <a:cubicBezTo>
                      <a:pt x="104" y="57"/>
                      <a:pt x="108" y="56"/>
                      <a:pt x="108" y="57"/>
                    </a:cubicBezTo>
                    <a:cubicBezTo>
                      <a:pt x="108" y="56"/>
                      <a:pt x="100" y="60"/>
                      <a:pt x="100" y="60"/>
                    </a:cubicBezTo>
                    <a:cubicBezTo>
                      <a:pt x="98" y="59"/>
                      <a:pt x="107" y="53"/>
                      <a:pt x="99" y="56"/>
                    </a:cubicBezTo>
                    <a:cubicBezTo>
                      <a:pt x="98" y="56"/>
                      <a:pt x="97" y="57"/>
                      <a:pt x="97" y="57"/>
                    </a:cubicBezTo>
                    <a:cubicBezTo>
                      <a:pt x="96" y="58"/>
                      <a:pt x="97" y="59"/>
                      <a:pt x="96" y="60"/>
                    </a:cubicBezTo>
                    <a:cubicBezTo>
                      <a:pt x="95" y="60"/>
                      <a:pt x="88" y="59"/>
                      <a:pt x="88" y="59"/>
                    </a:cubicBezTo>
                    <a:cubicBezTo>
                      <a:pt x="88" y="58"/>
                      <a:pt x="91" y="59"/>
                      <a:pt x="91" y="58"/>
                    </a:cubicBezTo>
                    <a:cubicBezTo>
                      <a:pt x="92" y="57"/>
                      <a:pt x="91" y="57"/>
                      <a:pt x="92" y="56"/>
                    </a:cubicBezTo>
                    <a:cubicBezTo>
                      <a:pt x="92" y="55"/>
                      <a:pt x="94" y="54"/>
                      <a:pt x="94" y="54"/>
                    </a:cubicBezTo>
                    <a:cubicBezTo>
                      <a:pt x="94" y="53"/>
                      <a:pt x="91" y="52"/>
                      <a:pt x="94" y="52"/>
                    </a:cubicBezTo>
                    <a:cubicBezTo>
                      <a:pt x="94" y="52"/>
                      <a:pt x="98" y="53"/>
                      <a:pt x="98" y="52"/>
                    </a:cubicBezTo>
                    <a:cubicBezTo>
                      <a:pt x="98" y="51"/>
                      <a:pt x="93" y="50"/>
                      <a:pt x="92" y="50"/>
                    </a:cubicBezTo>
                    <a:cubicBezTo>
                      <a:pt x="91" y="50"/>
                      <a:pt x="89" y="51"/>
                      <a:pt x="87" y="51"/>
                    </a:cubicBezTo>
                    <a:cubicBezTo>
                      <a:pt x="86" y="51"/>
                      <a:pt x="84" y="50"/>
                      <a:pt x="82" y="51"/>
                    </a:cubicBezTo>
                    <a:cubicBezTo>
                      <a:pt x="81" y="51"/>
                      <a:pt x="79" y="53"/>
                      <a:pt x="80" y="51"/>
                    </a:cubicBezTo>
                    <a:cubicBezTo>
                      <a:pt x="81" y="49"/>
                      <a:pt x="83" y="50"/>
                      <a:pt x="84" y="49"/>
                    </a:cubicBezTo>
                    <a:cubicBezTo>
                      <a:pt x="86" y="49"/>
                      <a:pt x="89" y="48"/>
                      <a:pt x="91" y="47"/>
                    </a:cubicBezTo>
                    <a:cubicBezTo>
                      <a:pt x="95" y="46"/>
                      <a:pt x="99" y="46"/>
                      <a:pt x="102" y="44"/>
                    </a:cubicBezTo>
                    <a:cubicBezTo>
                      <a:pt x="104" y="44"/>
                      <a:pt x="107" y="43"/>
                      <a:pt x="108" y="45"/>
                    </a:cubicBezTo>
                    <a:cubicBezTo>
                      <a:pt x="109" y="46"/>
                      <a:pt x="105" y="47"/>
                      <a:pt x="104" y="48"/>
                    </a:cubicBezTo>
                    <a:cubicBezTo>
                      <a:pt x="102" y="49"/>
                      <a:pt x="110" y="49"/>
                      <a:pt x="111" y="49"/>
                    </a:cubicBezTo>
                    <a:cubicBezTo>
                      <a:pt x="111" y="49"/>
                      <a:pt x="113" y="49"/>
                      <a:pt x="113" y="49"/>
                    </a:cubicBezTo>
                    <a:cubicBezTo>
                      <a:pt x="114" y="48"/>
                      <a:pt x="116" y="46"/>
                      <a:pt x="117" y="47"/>
                    </a:cubicBezTo>
                    <a:cubicBezTo>
                      <a:pt x="118" y="48"/>
                      <a:pt x="113" y="54"/>
                      <a:pt x="112" y="54"/>
                    </a:cubicBezTo>
                    <a:cubicBezTo>
                      <a:pt x="110" y="54"/>
                      <a:pt x="114" y="54"/>
                      <a:pt x="112" y="54"/>
                    </a:cubicBezTo>
                    <a:close/>
                    <a:moveTo>
                      <a:pt x="157" y="78"/>
                    </a:moveTo>
                    <a:cubicBezTo>
                      <a:pt x="157" y="78"/>
                      <a:pt x="152" y="78"/>
                      <a:pt x="153" y="78"/>
                    </a:cubicBezTo>
                    <a:cubicBezTo>
                      <a:pt x="153" y="79"/>
                      <a:pt x="155" y="78"/>
                      <a:pt x="155" y="79"/>
                    </a:cubicBezTo>
                    <a:cubicBezTo>
                      <a:pt x="155" y="80"/>
                      <a:pt x="151" y="81"/>
                      <a:pt x="150" y="81"/>
                    </a:cubicBezTo>
                    <a:cubicBezTo>
                      <a:pt x="148" y="81"/>
                      <a:pt x="147" y="83"/>
                      <a:pt x="145" y="84"/>
                    </a:cubicBezTo>
                    <a:cubicBezTo>
                      <a:pt x="145" y="84"/>
                      <a:pt x="141" y="84"/>
                      <a:pt x="142" y="85"/>
                    </a:cubicBezTo>
                    <a:cubicBezTo>
                      <a:pt x="142" y="86"/>
                      <a:pt x="145" y="86"/>
                      <a:pt x="142" y="88"/>
                    </a:cubicBezTo>
                    <a:cubicBezTo>
                      <a:pt x="141" y="88"/>
                      <a:pt x="137" y="88"/>
                      <a:pt x="137" y="89"/>
                    </a:cubicBezTo>
                    <a:cubicBezTo>
                      <a:pt x="136" y="89"/>
                      <a:pt x="137" y="90"/>
                      <a:pt x="137" y="90"/>
                    </a:cubicBezTo>
                    <a:cubicBezTo>
                      <a:pt x="137" y="92"/>
                      <a:pt x="135" y="92"/>
                      <a:pt x="134" y="92"/>
                    </a:cubicBezTo>
                    <a:cubicBezTo>
                      <a:pt x="131" y="93"/>
                      <a:pt x="128" y="93"/>
                      <a:pt x="125" y="93"/>
                    </a:cubicBezTo>
                    <a:cubicBezTo>
                      <a:pt x="125" y="93"/>
                      <a:pt x="120" y="90"/>
                      <a:pt x="120" y="90"/>
                    </a:cubicBezTo>
                    <a:cubicBezTo>
                      <a:pt x="122" y="89"/>
                      <a:pt x="125" y="90"/>
                      <a:pt x="126" y="89"/>
                    </a:cubicBezTo>
                    <a:cubicBezTo>
                      <a:pt x="127" y="89"/>
                      <a:pt x="126" y="87"/>
                      <a:pt x="127" y="87"/>
                    </a:cubicBezTo>
                    <a:cubicBezTo>
                      <a:pt x="128" y="85"/>
                      <a:pt x="130" y="86"/>
                      <a:pt x="131" y="85"/>
                    </a:cubicBezTo>
                    <a:cubicBezTo>
                      <a:pt x="132" y="85"/>
                      <a:pt x="130" y="83"/>
                      <a:pt x="130" y="83"/>
                    </a:cubicBezTo>
                    <a:cubicBezTo>
                      <a:pt x="128" y="82"/>
                      <a:pt x="128" y="82"/>
                      <a:pt x="128" y="81"/>
                    </a:cubicBezTo>
                    <a:cubicBezTo>
                      <a:pt x="128" y="79"/>
                      <a:pt x="126" y="80"/>
                      <a:pt x="126" y="79"/>
                    </a:cubicBezTo>
                    <a:cubicBezTo>
                      <a:pt x="125" y="78"/>
                      <a:pt x="128" y="79"/>
                      <a:pt x="128" y="79"/>
                    </a:cubicBezTo>
                    <a:cubicBezTo>
                      <a:pt x="131" y="80"/>
                      <a:pt x="134" y="81"/>
                      <a:pt x="136" y="82"/>
                    </a:cubicBezTo>
                    <a:cubicBezTo>
                      <a:pt x="138" y="84"/>
                      <a:pt x="142" y="83"/>
                      <a:pt x="144" y="82"/>
                    </a:cubicBezTo>
                    <a:cubicBezTo>
                      <a:pt x="147" y="81"/>
                      <a:pt x="148" y="78"/>
                      <a:pt x="152" y="77"/>
                    </a:cubicBezTo>
                    <a:cubicBezTo>
                      <a:pt x="153" y="76"/>
                      <a:pt x="155" y="76"/>
                      <a:pt x="157" y="77"/>
                    </a:cubicBezTo>
                    <a:cubicBezTo>
                      <a:pt x="157" y="77"/>
                      <a:pt x="160" y="78"/>
                      <a:pt x="160" y="78"/>
                    </a:cubicBezTo>
                    <a:cubicBezTo>
                      <a:pt x="160" y="78"/>
                      <a:pt x="158" y="78"/>
                      <a:pt x="157" y="78"/>
                    </a:cubicBezTo>
                    <a:close/>
                    <a:moveTo>
                      <a:pt x="222" y="165"/>
                    </a:moveTo>
                    <a:cubicBezTo>
                      <a:pt x="221" y="167"/>
                      <a:pt x="219" y="163"/>
                      <a:pt x="219" y="162"/>
                    </a:cubicBezTo>
                    <a:cubicBezTo>
                      <a:pt x="219" y="160"/>
                      <a:pt x="221" y="159"/>
                      <a:pt x="221" y="157"/>
                    </a:cubicBezTo>
                    <a:cubicBezTo>
                      <a:pt x="220" y="156"/>
                      <a:pt x="219" y="159"/>
                      <a:pt x="218" y="158"/>
                    </a:cubicBezTo>
                    <a:cubicBezTo>
                      <a:pt x="218" y="157"/>
                      <a:pt x="218" y="154"/>
                      <a:pt x="216" y="154"/>
                    </a:cubicBezTo>
                    <a:cubicBezTo>
                      <a:pt x="216" y="154"/>
                      <a:pt x="216" y="156"/>
                      <a:pt x="215" y="156"/>
                    </a:cubicBezTo>
                    <a:cubicBezTo>
                      <a:pt x="214" y="155"/>
                      <a:pt x="214" y="154"/>
                      <a:pt x="213" y="153"/>
                    </a:cubicBezTo>
                    <a:cubicBezTo>
                      <a:pt x="212" y="152"/>
                      <a:pt x="211" y="151"/>
                      <a:pt x="210" y="150"/>
                    </a:cubicBezTo>
                    <a:cubicBezTo>
                      <a:pt x="209" y="149"/>
                      <a:pt x="212" y="149"/>
                      <a:pt x="212" y="148"/>
                    </a:cubicBezTo>
                    <a:cubicBezTo>
                      <a:pt x="211" y="147"/>
                      <a:pt x="209" y="148"/>
                      <a:pt x="209" y="147"/>
                    </a:cubicBezTo>
                    <a:cubicBezTo>
                      <a:pt x="209" y="146"/>
                      <a:pt x="210" y="143"/>
                      <a:pt x="210" y="142"/>
                    </a:cubicBezTo>
                    <a:cubicBezTo>
                      <a:pt x="212" y="140"/>
                      <a:pt x="217" y="147"/>
                      <a:pt x="217" y="148"/>
                    </a:cubicBezTo>
                    <a:cubicBezTo>
                      <a:pt x="218" y="150"/>
                      <a:pt x="219" y="151"/>
                      <a:pt x="219" y="153"/>
                    </a:cubicBezTo>
                    <a:cubicBezTo>
                      <a:pt x="220" y="155"/>
                      <a:pt x="220" y="154"/>
                      <a:pt x="221" y="156"/>
                    </a:cubicBezTo>
                    <a:cubicBezTo>
                      <a:pt x="221" y="157"/>
                      <a:pt x="222" y="158"/>
                      <a:pt x="222" y="159"/>
                    </a:cubicBezTo>
                    <a:cubicBezTo>
                      <a:pt x="223" y="161"/>
                      <a:pt x="222" y="163"/>
                      <a:pt x="222" y="165"/>
                    </a:cubicBezTo>
                    <a:cubicBezTo>
                      <a:pt x="221" y="166"/>
                      <a:pt x="222" y="164"/>
                      <a:pt x="222" y="16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  <p:sp>
            <p:nvSpPr>
              <p:cNvPr id="241" name="Freeform 643">
                <a:extLst>
                  <a:ext uri="{FF2B5EF4-FFF2-40B4-BE49-F238E27FC236}">
                    <a16:creationId xmlns:a16="http://schemas.microsoft.com/office/drawing/2014/main" id="{65594430-C892-47B3-80DA-268518E01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4017" y="4733151"/>
                <a:ext cx="47783" cy="41414"/>
              </a:xfrm>
              <a:custGeom>
                <a:avLst/>
                <a:gdLst>
                  <a:gd name="T0" fmla="*/ 9 w 10"/>
                  <a:gd name="T1" fmla="*/ 0 h 9"/>
                  <a:gd name="T2" fmla="*/ 2 w 10"/>
                  <a:gd name="T3" fmla="*/ 7 h 9"/>
                  <a:gd name="T4" fmla="*/ 10 w 10"/>
                  <a:gd name="T5" fmla="*/ 3 h 9"/>
                  <a:gd name="T6" fmla="*/ 9 w 10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9">
                    <a:moveTo>
                      <a:pt x="9" y="0"/>
                    </a:moveTo>
                    <a:cubicBezTo>
                      <a:pt x="7" y="1"/>
                      <a:pt x="0" y="4"/>
                      <a:pt x="2" y="7"/>
                    </a:cubicBezTo>
                    <a:cubicBezTo>
                      <a:pt x="4" y="9"/>
                      <a:pt x="9" y="3"/>
                      <a:pt x="10" y="3"/>
                    </a:cubicBezTo>
                    <a:cubicBezTo>
                      <a:pt x="10" y="2"/>
                      <a:pt x="9" y="1"/>
                      <a:pt x="9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2" name="Freeform 644">
                <a:extLst>
                  <a:ext uri="{FF2B5EF4-FFF2-40B4-BE49-F238E27FC236}">
                    <a16:creationId xmlns:a16="http://schemas.microsoft.com/office/drawing/2014/main" id="{DE9A8FB7-C879-4CEF-BFFF-4F325350FA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2243" y="4723594"/>
                <a:ext cx="60525" cy="22298"/>
              </a:xfrm>
              <a:custGeom>
                <a:avLst/>
                <a:gdLst>
                  <a:gd name="T0" fmla="*/ 12 w 13"/>
                  <a:gd name="T1" fmla="*/ 0 h 5"/>
                  <a:gd name="T2" fmla="*/ 7 w 13"/>
                  <a:gd name="T3" fmla="*/ 0 h 5"/>
                  <a:gd name="T4" fmla="*/ 1 w 13"/>
                  <a:gd name="T5" fmla="*/ 2 h 5"/>
                  <a:gd name="T6" fmla="*/ 5 w 13"/>
                  <a:gd name="T7" fmla="*/ 3 h 5"/>
                  <a:gd name="T8" fmla="*/ 12 w 1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5">
                    <a:moveTo>
                      <a:pt x="12" y="0"/>
                    </a:moveTo>
                    <a:cubicBezTo>
                      <a:pt x="13" y="0"/>
                      <a:pt x="7" y="0"/>
                      <a:pt x="7" y="0"/>
                    </a:cubicBezTo>
                    <a:cubicBezTo>
                      <a:pt x="6" y="0"/>
                      <a:pt x="0" y="1"/>
                      <a:pt x="1" y="2"/>
                    </a:cubicBezTo>
                    <a:cubicBezTo>
                      <a:pt x="3" y="5"/>
                      <a:pt x="2" y="5"/>
                      <a:pt x="5" y="3"/>
                    </a:cubicBezTo>
                    <a:cubicBezTo>
                      <a:pt x="8" y="2"/>
                      <a:pt x="10" y="2"/>
                      <a:pt x="1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3" name="Freeform 645">
                <a:extLst>
                  <a:ext uri="{FF2B5EF4-FFF2-40B4-BE49-F238E27FC236}">
                    <a16:creationId xmlns:a16="http://schemas.microsoft.com/office/drawing/2014/main" id="{D509F18E-AE4C-43A6-88E2-11206A731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321" y="3207275"/>
                <a:ext cx="144943" cy="79640"/>
              </a:xfrm>
              <a:custGeom>
                <a:avLst/>
                <a:gdLst>
                  <a:gd name="T0" fmla="*/ 10 w 31"/>
                  <a:gd name="T1" fmla="*/ 17 h 17"/>
                  <a:gd name="T2" fmla="*/ 13 w 31"/>
                  <a:gd name="T3" fmla="*/ 14 h 17"/>
                  <a:gd name="T4" fmla="*/ 18 w 31"/>
                  <a:gd name="T5" fmla="*/ 16 h 17"/>
                  <a:gd name="T6" fmla="*/ 21 w 31"/>
                  <a:gd name="T7" fmla="*/ 16 h 17"/>
                  <a:gd name="T8" fmla="*/ 23 w 31"/>
                  <a:gd name="T9" fmla="*/ 15 h 17"/>
                  <a:gd name="T10" fmla="*/ 29 w 31"/>
                  <a:gd name="T11" fmla="*/ 11 h 17"/>
                  <a:gd name="T12" fmla="*/ 27 w 31"/>
                  <a:gd name="T13" fmla="*/ 7 h 17"/>
                  <a:gd name="T14" fmla="*/ 21 w 31"/>
                  <a:gd name="T15" fmla="*/ 5 h 17"/>
                  <a:gd name="T16" fmla="*/ 17 w 31"/>
                  <a:gd name="T17" fmla="*/ 3 h 17"/>
                  <a:gd name="T18" fmla="*/ 13 w 31"/>
                  <a:gd name="T19" fmla="*/ 0 h 17"/>
                  <a:gd name="T20" fmla="*/ 11 w 31"/>
                  <a:gd name="T21" fmla="*/ 2 h 17"/>
                  <a:gd name="T22" fmla="*/ 8 w 31"/>
                  <a:gd name="T23" fmla="*/ 2 h 17"/>
                  <a:gd name="T24" fmla="*/ 0 w 31"/>
                  <a:gd name="T25" fmla="*/ 6 h 17"/>
                  <a:gd name="T26" fmla="*/ 2 w 31"/>
                  <a:gd name="T27" fmla="*/ 10 h 17"/>
                  <a:gd name="T28" fmla="*/ 4 w 31"/>
                  <a:gd name="T29" fmla="*/ 13 h 17"/>
                  <a:gd name="T30" fmla="*/ 10 w 31"/>
                  <a:gd name="T31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17">
                    <a:moveTo>
                      <a:pt x="10" y="17"/>
                    </a:moveTo>
                    <a:cubicBezTo>
                      <a:pt x="12" y="17"/>
                      <a:pt x="11" y="14"/>
                      <a:pt x="13" y="14"/>
                    </a:cubicBezTo>
                    <a:cubicBezTo>
                      <a:pt x="15" y="14"/>
                      <a:pt x="16" y="16"/>
                      <a:pt x="18" y="16"/>
                    </a:cubicBezTo>
                    <a:cubicBezTo>
                      <a:pt x="19" y="16"/>
                      <a:pt x="20" y="16"/>
                      <a:pt x="21" y="16"/>
                    </a:cubicBezTo>
                    <a:cubicBezTo>
                      <a:pt x="22" y="16"/>
                      <a:pt x="23" y="15"/>
                      <a:pt x="23" y="15"/>
                    </a:cubicBezTo>
                    <a:cubicBezTo>
                      <a:pt x="26" y="14"/>
                      <a:pt x="27" y="13"/>
                      <a:pt x="29" y="11"/>
                    </a:cubicBezTo>
                    <a:cubicBezTo>
                      <a:pt x="31" y="9"/>
                      <a:pt x="29" y="8"/>
                      <a:pt x="27" y="7"/>
                    </a:cubicBezTo>
                    <a:cubicBezTo>
                      <a:pt x="25" y="6"/>
                      <a:pt x="22" y="3"/>
                      <a:pt x="21" y="5"/>
                    </a:cubicBezTo>
                    <a:cubicBezTo>
                      <a:pt x="19" y="8"/>
                      <a:pt x="18" y="4"/>
                      <a:pt x="17" y="3"/>
                    </a:cubicBezTo>
                    <a:cubicBezTo>
                      <a:pt x="16" y="2"/>
                      <a:pt x="13" y="3"/>
                      <a:pt x="13" y="0"/>
                    </a:cubicBezTo>
                    <a:cubicBezTo>
                      <a:pt x="13" y="1"/>
                      <a:pt x="12" y="3"/>
                      <a:pt x="11" y="2"/>
                    </a:cubicBezTo>
                    <a:cubicBezTo>
                      <a:pt x="9" y="0"/>
                      <a:pt x="9" y="0"/>
                      <a:pt x="8" y="2"/>
                    </a:cubicBezTo>
                    <a:cubicBezTo>
                      <a:pt x="7" y="3"/>
                      <a:pt x="0" y="5"/>
                      <a:pt x="0" y="6"/>
                    </a:cubicBezTo>
                    <a:cubicBezTo>
                      <a:pt x="0" y="6"/>
                      <a:pt x="1" y="9"/>
                      <a:pt x="2" y="10"/>
                    </a:cubicBezTo>
                    <a:cubicBezTo>
                      <a:pt x="2" y="11"/>
                      <a:pt x="3" y="12"/>
                      <a:pt x="4" y="13"/>
                    </a:cubicBezTo>
                    <a:cubicBezTo>
                      <a:pt x="6" y="14"/>
                      <a:pt x="8" y="17"/>
                      <a:pt x="10" y="1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4" name="Freeform 646">
                <a:extLst>
                  <a:ext uri="{FF2B5EF4-FFF2-40B4-BE49-F238E27FC236}">
                    <a16:creationId xmlns:a16="http://schemas.microsoft.com/office/drawing/2014/main" id="{5616F9ED-F504-4E05-B7FB-12330E0B7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018" y="3272579"/>
                <a:ext cx="173611" cy="74861"/>
              </a:xfrm>
              <a:custGeom>
                <a:avLst/>
                <a:gdLst>
                  <a:gd name="T0" fmla="*/ 32 w 37"/>
                  <a:gd name="T1" fmla="*/ 2 h 16"/>
                  <a:gd name="T2" fmla="*/ 27 w 37"/>
                  <a:gd name="T3" fmla="*/ 0 h 16"/>
                  <a:gd name="T4" fmla="*/ 24 w 37"/>
                  <a:gd name="T5" fmla="*/ 3 h 16"/>
                  <a:gd name="T6" fmla="*/ 20 w 37"/>
                  <a:gd name="T7" fmla="*/ 3 h 16"/>
                  <a:gd name="T8" fmla="*/ 17 w 37"/>
                  <a:gd name="T9" fmla="*/ 7 h 16"/>
                  <a:gd name="T10" fmla="*/ 16 w 37"/>
                  <a:gd name="T11" fmla="*/ 9 h 16"/>
                  <a:gd name="T12" fmla="*/ 13 w 37"/>
                  <a:gd name="T13" fmla="*/ 9 h 16"/>
                  <a:gd name="T14" fmla="*/ 9 w 37"/>
                  <a:gd name="T15" fmla="*/ 10 h 16"/>
                  <a:gd name="T16" fmla="*/ 5 w 37"/>
                  <a:gd name="T17" fmla="*/ 11 h 16"/>
                  <a:gd name="T18" fmla="*/ 0 w 37"/>
                  <a:gd name="T19" fmla="*/ 9 h 16"/>
                  <a:gd name="T20" fmla="*/ 4 w 37"/>
                  <a:gd name="T21" fmla="*/ 13 h 16"/>
                  <a:gd name="T22" fmla="*/ 6 w 37"/>
                  <a:gd name="T23" fmla="*/ 13 h 16"/>
                  <a:gd name="T24" fmla="*/ 8 w 37"/>
                  <a:gd name="T25" fmla="*/ 14 h 16"/>
                  <a:gd name="T26" fmla="*/ 12 w 37"/>
                  <a:gd name="T27" fmla="*/ 13 h 16"/>
                  <a:gd name="T28" fmla="*/ 15 w 37"/>
                  <a:gd name="T29" fmla="*/ 15 h 16"/>
                  <a:gd name="T30" fmla="*/ 22 w 37"/>
                  <a:gd name="T31" fmla="*/ 16 h 16"/>
                  <a:gd name="T32" fmla="*/ 29 w 37"/>
                  <a:gd name="T33" fmla="*/ 14 h 16"/>
                  <a:gd name="T34" fmla="*/ 33 w 37"/>
                  <a:gd name="T35" fmla="*/ 12 h 16"/>
                  <a:gd name="T36" fmla="*/ 34 w 37"/>
                  <a:gd name="T37" fmla="*/ 9 h 16"/>
                  <a:gd name="T38" fmla="*/ 36 w 37"/>
                  <a:gd name="T39" fmla="*/ 8 h 16"/>
                  <a:gd name="T40" fmla="*/ 36 w 37"/>
                  <a:gd name="T41" fmla="*/ 2 h 16"/>
                  <a:gd name="T42" fmla="*/ 32 w 37"/>
                  <a:gd name="T4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7" h="16">
                    <a:moveTo>
                      <a:pt x="32" y="2"/>
                    </a:moveTo>
                    <a:cubicBezTo>
                      <a:pt x="30" y="2"/>
                      <a:pt x="28" y="0"/>
                      <a:pt x="27" y="0"/>
                    </a:cubicBezTo>
                    <a:cubicBezTo>
                      <a:pt x="25" y="0"/>
                      <a:pt x="26" y="3"/>
                      <a:pt x="24" y="3"/>
                    </a:cubicBezTo>
                    <a:cubicBezTo>
                      <a:pt x="22" y="3"/>
                      <a:pt x="22" y="2"/>
                      <a:pt x="20" y="3"/>
                    </a:cubicBezTo>
                    <a:cubicBezTo>
                      <a:pt x="20" y="3"/>
                      <a:pt x="16" y="6"/>
                      <a:pt x="17" y="7"/>
                    </a:cubicBezTo>
                    <a:cubicBezTo>
                      <a:pt x="17" y="8"/>
                      <a:pt x="19" y="10"/>
                      <a:pt x="16" y="9"/>
                    </a:cubicBezTo>
                    <a:cubicBezTo>
                      <a:pt x="15" y="9"/>
                      <a:pt x="14" y="8"/>
                      <a:pt x="13" y="9"/>
                    </a:cubicBezTo>
                    <a:cubicBezTo>
                      <a:pt x="12" y="9"/>
                      <a:pt x="10" y="10"/>
                      <a:pt x="9" y="10"/>
                    </a:cubicBezTo>
                    <a:cubicBezTo>
                      <a:pt x="7" y="10"/>
                      <a:pt x="6" y="8"/>
                      <a:pt x="5" y="11"/>
                    </a:cubicBezTo>
                    <a:cubicBezTo>
                      <a:pt x="5" y="11"/>
                      <a:pt x="1" y="9"/>
                      <a:pt x="0" y="9"/>
                    </a:cubicBezTo>
                    <a:cubicBezTo>
                      <a:pt x="0" y="11"/>
                      <a:pt x="1" y="12"/>
                      <a:pt x="4" y="13"/>
                    </a:cubicBezTo>
                    <a:cubicBezTo>
                      <a:pt x="5" y="13"/>
                      <a:pt x="5" y="13"/>
                      <a:pt x="6" y="13"/>
                    </a:cubicBezTo>
                    <a:cubicBezTo>
                      <a:pt x="7" y="13"/>
                      <a:pt x="7" y="15"/>
                      <a:pt x="8" y="14"/>
                    </a:cubicBezTo>
                    <a:cubicBezTo>
                      <a:pt x="10" y="13"/>
                      <a:pt x="10" y="13"/>
                      <a:pt x="12" y="13"/>
                    </a:cubicBezTo>
                    <a:cubicBezTo>
                      <a:pt x="14" y="13"/>
                      <a:pt x="13" y="14"/>
                      <a:pt x="15" y="15"/>
                    </a:cubicBezTo>
                    <a:cubicBezTo>
                      <a:pt x="17" y="16"/>
                      <a:pt x="20" y="16"/>
                      <a:pt x="22" y="16"/>
                    </a:cubicBezTo>
                    <a:cubicBezTo>
                      <a:pt x="25" y="16"/>
                      <a:pt x="26" y="14"/>
                      <a:pt x="29" y="14"/>
                    </a:cubicBezTo>
                    <a:cubicBezTo>
                      <a:pt x="31" y="14"/>
                      <a:pt x="33" y="13"/>
                      <a:pt x="33" y="12"/>
                    </a:cubicBezTo>
                    <a:cubicBezTo>
                      <a:pt x="34" y="11"/>
                      <a:pt x="34" y="10"/>
                      <a:pt x="34" y="9"/>
                    </a:cubicBezTo>
                    <a:cubicBezTo>
                      <a:pt x="34" y="7"/>
                      <a:pt x="35" y="9"/>
                      <a:pt x="36" y="8"/>
                    </a:cubicBezTo>
                    <a:cubicBezTo>
                      <a:pt x="37" y="6"/>
                      <a:pt x="36" y="3"/>
                      <a:pt x="36" y="2"/>
                    </a:cubicBezTo>
                    <a:cubicBezTo>
                      <a:pt x="34" y="2"/>
                      <a:pt x="33" y="2"/>
                      <a:pt x="32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5" name="Freeform 647">
                <a:extLst>
                  <a:ext uri="{FF2B5EF4-FFF2-40B4-BE49-F238E27FC236}">
                    <a16:creationId xmlns:a16="http://schemas.microsoft.com/office/drawing/2014/main" id="{E44DBD6B-9C19-48A6-8767-9C7025172F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2491" y="3328326"/>
                <a:ext cx="265993" cy="258029"/>
              </a:xfrm>
              <a:custGeom>
                <a:avLst/>
                <a:gdLst>
                  <a:gd name="T0" fmla="*/ 37 w 57"/>
                  <a:gd name="T1" fmla="*/ 10 h 55"/>
                  <a:gd name="T2" fmla="*/ 41 w 57"/>
                  <a:gd name="T3" fmla="*/ 9 h 55"/>
                  <a:gd name="T4" fmla="*/ 43 w 57"/>
                  <a:gd name="T5" fmla="*/ 6 h 55"/>
                  <a:gd name="T6" fmla="*/ 45 w 57"/>
                  <a:gd name="T7" fmla="*/ 4 h 55"/>
                  <a:gd name="T8" fmla="*/ 45 w 57"/>
                  <a:gd name="T9" fmla="*/ 1 h 55"/>
                  <a:gd name="T10" fmla="*/ 41 w 57"/>
                  <a:gd name="T11" fmla="*/ 2 h 55"/>
                  <a:gd name="T12" fmla="*/ 36 w 57"/>
                  <a:gd name="T13" fmla="*/ 4 h 55"/>
                  <a:gd name="T14" fmla="*/ 27 w 57"/>
                  <a:gd name="T15" fmla="*/ 1 h 55"/>
                  <a:gd name="T16" fmla="*/ 22 w 57"/>
                  <a:gd name="T17" fmla="*/ 1 h 55"/>
                  <a:gd name="T18" fmla="*/ 19 w 57"/>
                  <a:gd name="T19" fmla="*/ 1 h 55"/>
                  <a:gd name="T20" fmla="*/ 18 w 57"/>
                  <a:gd name="T21" fmla="*/ 3 h 55"/>
                  <a:gd name="T22" fmla="*/ 17 w 57"/>
                  <a:gd name="T23" fmla="*/ 4 h 55"/>
                  <a:gd name="T24" fmla="*/ 15 w 57"/>
                  <a:gd name="T25" fmla="*/ 5 h 55"/>
                  <a:gd name="T26" fmla="*/ 13 w 57"/>
                  <a:gd name="T27" fmla="*/ 5 h 55"/>
                  <a:gd name="T28" fmla="*/ 12 w 57"/>
                  <a:gd name="T29" fmla="*/ 4 h 55"/>
                  <a:gd name="T30" fmla="*/ 11 w 57"/>
                  <a:gd name="T31" fmla="*/ 8 h 55"/>
                  <a:gd name="T32" fmla="*/ 9 w 57"/>
                  <a:gd name="T33" fmla="*/ 5 h 55"/>
                  <a:gd name="T34" fmla="*/ 5 w 57"/>
                  <a:gd name="T35" fmla="*/ 7 h 55"/>
                  <a:gd name="T36" fmla="*/ 0 w 57"/>
                  <a:gd name="T37" fmla="*/ 7 h 55"/>
                  <a:gd name="T38" fmla="*/ 1 w 57"/>
                  <a:gd name="T39" fmla="*/ 10 h 55"/>
                  <a:gd name="T40" fmla="*/ 0 w 57"/>
                  <a:gd name="T41" fmla="*/ 14 h 55"/>
                  <a:gd name="T42" fmla="*/ 2 w 57"/>
                  <a:gd name="T43" fmla="*/ 18 h 55"/>
                  <a:gd name="T44" fmla="*/ 4 w 57"/>
                  <a:gd name="T45" fmla="*/ 21 h 55"/>
                  <a:gd name="T46" fmla="*/ 12 w 57"/>
                  <a:gd name="T47" fmla="*/ 17 h 55"/>
                  <a:gd name="T48" fmla="*/ 15 w 57"/>
                  <a:gd name="T49" fmla="*/ 19 h 55"/>
                  <a:gd name="T50" fmla="*/ 17 w 57"/>
                  <a:gd name="T51" fmla="*/ 22 h 55"/>
                  <a:gd name="T52" fmla="*/ 18 w 57"/>
                  <a:gd name="T53" fmla="*/ 25 h 55"/>
                  <a:gd name="T54" fmla="*/ 21 w 57"/>
                  <a:gd name="T55" fmla="*/ 28 h 55"/>
                  <a:gd name="T56" fmla="*/ 28 w 57"/>
                  <a:gd name="T57" fmla="*/ 33 h 55"/>
                  <a:gd name="T58" fmla="*/ 33 w 57"/>
                  <a:gd name="T59" fmla="*/ 36 h 55"/>
                  <a:gd name="T60" fmla="*/ 42 w 57"/>
                  <a:gd name="T61" fmla="*/ 42 h 55"/>
                  <a:gd name="T62" fmla="*/ 45 w 57"/>
                  <a:gd name="T63" fmla="*/ 48 h 55"/>
                  <a:gd name="T64" fmla="*/ 43 w 57"/>
                  <a:gd name="T65" fmla="*/ 55 h 55"/>
                  <a:gd name="T66" fmla="*/ 49 w 57"/>
                  <a:gd name="T67" fmla="*/ 48 h 55"/>
                  <a:gd name="T68" fmla="*/ 47 w 57"/>
                  <a:gd name="T69" fmla="*/ 45 h 55"/>
                  <a:gd name="T70" fmla="*/ 50 w 57"/>
                  <a:gd name="T71" fmla="*/ 40 h 55"/>
                  <a:gd name="T72" fmla="*/ 53 w 57"/>
                  <a:gd name="T73" fmla="*/ 41 h 55"/>
                  <a:gd name="T74" fmla="*/ 55 w 57"/>
                  <a:gd name="T75" fmla="*/ 44 h 55"/>
                  <a:gd name="T76" fmla="*/ 53 w 57"/>
                  <a:gd name="T77" fmla="*/ 39 h 55"/>
                  <a:gd name="T78" fmla="*/ 44 w 57"/>
                  <a:gd name="T79" fmla="*/ 35 h 55"/>
                  <a:gd name="T80" fmla="*/ 44 w 57"/>
                  <a:gd name="T81" fmla="*/ 32 h 55"/>
                  <a:gd name="T82" fmla="*/ 39 w 57"/>
                  <a:gd name="T83" fmla="*/ 31 h 55"/>
                  <a:gd name="T84" fmla="*/ 35 w 57"/>
                  <a:gd name="T85" fmla="*/ 26 h 55"/>
                  <a:gd name="T86" fmla="*/ 32 w 57"/>
                  <a:gd name="T87" fmla="*/ 21 h 55"/>
                  <a:gd name="T88" fmla="*/ 27 w 57"/>
                  <a:gd name="T89" fmla="*/ 17 h 55"/>
                  <a:gd name="T90" fmla="*/ 27 w 57"/>
                  <a:gd name="T91" fmla="*/ 15 h 55"/>
                  <a:gd name="T92" fmla="*/ 28 w 57"/>
                  <a:gd name="T93" fmla="*/ 12 h 55"/>
                  <a:gd name="T94" fmla="*/ 30 w 57"/>
                  <a:gd name="T95" fmla="*/ 9 h 55"/>
                  <a:gd name="T96" fmla="*/ 32 w 57"/>
                  <a:gd name="T97" fmla="*/ 8 h 55"/>
                  <a:gd name="T98" fmla="*/ 34 w 57"/>
                  <a:gd name="T99" fmla="*/ 10 h 55"/>
                  <a:gd name="T100" fmla="*/ 37 w 57"/>
                  <a:gd name="T101" fmla="*/ 10 h 55"/>
                  <a:gd name="T102" fmla="*/ 37 w 57"/>
                  <a:gd name="T103" fmla="*/ 1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7" h="55">
                    <a:moveTo>
                      <a:pt x="37" y="10"/>
                    </a:moveTo>
                    <a:cubicBezTo>
                      <a:pt x="38" y="9"/>
                      <a:pt x="40" y="10"/>
                      <a:pt x="41" y="9"/>
                    </a:cubicBezTo>
                    <a:cubicBezTo>
                      <a:pt x="43" y="8"/>
                      <a:pt x="42" y="7"/>
                      <a:pt x="43" y="6"/>
                    </a:cubicBezTo>
                    <a:cubicBezTo>
                      <a:pt x="43" y="5"/>
                      <a:pt x="44" y="4"/>
                      <a:pt x="45" y="4"/>
                    </a:cubicBezTo>
                    <a:cubicBezTo>
                      <a:pt x="46" y="3"/>
                      <a:pt x="45" y="3"/>
                      <a:pt x="45" y="1"/>
                    </a:cubicBezTo>
                    <a:cubicBezTo>
                      <a:pt x="44" y="2"/>
                      <a:pt x="43" y="2"/>
                      <a:pt x="41" y="2"/>
                    </a:cubicBezTo>
                    <a:cubicBezTo>
                      <a:pt x="39" y="2"/>
                      <a:pt x="37" y="5"/>
                      <a:pt x="36" y="4"/>
                    </a:cubicBezTo>
                    <a:cubicBezTo>
                      <a:pt x="33" y="3"/>
                      <a:pt x="28" y="4"/>
                      <a:pt x="27" y="1"/>
                    </a:cubicBezTo>
                    <a:cubicBezTo>
                      <a:pt x="26" y="0"/>
                      <a:pt x="23" y="1"/>
                      <a:pt x="22" y="1"/>
                    </a:cubicBezTo>
                    <a:cubicBezTo>
                      <a:pt x="20" y="3"/>
                      <a:pt x="20" y="1"/>
                      <a:pt x="19" y="1"/>
                    </a:cubicBezTo>
                    <a:cubicBezTo>
                      <a:pt x="18" y="1"/>
                      <a:pt x="18" y="3"/>
                      <a:pt x="18" y="3"/>
                    </a:cubicBezTo>
                    <a:cubicBezTo>
                      <a:pt x="18" y="3"/>
                      <a:pt x="17" y="4"/>
                      <a:pt x="17" y="4"/>
                    </a:cubicBezTo>
                    <a:cubicBezTo>
                      <a:pt x="17" y="5"/>
                      <a:pt x="16" y="5"/>
                      <a:pt x="15" y="5"/>
                    </a:cubicBezTo>
                    <a:cubicBezTo>
                      <a:pt x="15" y="5"/>
                      <a:pt x="14" y="5"/>
                      <a:pt x="13" y="5"/>
                    </a:cubicBezTo>
                    <a:cubicBezTo>
                      <a:pt x="13" y="5"/>
                      <a:pt x="13" y="5"/>
                      <a:pt x="12" y="4"/>
                    </a:cubicBezTo>
                    <a:cubicBezTo>
                      <a:pt x="12" y="4"/>
                      <a:pt x="11" y="7"/>
                      <a:pt x="11" y="8"/>
                    </a:cubicBezTo>
                    <a:cubicBezTo>
                      <a:pt x="11" y="9"/>
                      <a:pt x="9" y="6"/>
                      <a:pt x="9" y="5"/>
                    </a:cubicBezTo>
                    <a:cubicBezTo>
                      <a:pt x="7" y="4"/>
                      <a:pt x="6" y="7"/>
                      <a:pt x="5" y="7"/>
                    </a:cubicBezTo>
                    <a:cubicBezTo>
                      <a:pt x="3" y="7"/>
                      <a:pt x="1" y="7"/>
                      <a:pt x="0" y="7"/>
                    </a:cubicBezTo>
                    <a:cubicBezTo>
                      <a:pt x="0" y="8"/>
                      <a:pt x="1" y="9"/>
                      <a:pt x="1" y="10"/>
                    </a:cubicBezTo>
                    <a:cubicBezTo>
                      <a:pt x="1" y="12"/>
                      <a:pt x="0" y="12"/>
                      <a:pt x="0" y="14"/>
                    </a:cubicBezTo>
                    <a:cubicBezTo>
                      <a:pt x="0" y="15"/>
                      <a:pt x="0" y="18"/>
                      <a:pt x="2" y="18"/>
                    </a:cubicBezTo>
                    <a:cubicBezTo>
                      <a:pt x="3" y="19"/>
                      <a:pt x="4" y="18"/>
                      <a:pt x="4" y="21"/>
                    </a:cubicBezTo>
                    <a:cubicBezTo>
                      <a:pt x="6" y="20"/>
                      <a:pt x="10" y="16"/>
                      <a:pt x="12" y="17"/>
                    </a:cubicBezTo>
                    <a:cubicBezTo>
                      <a:pt x="13" y="18"/>
                      <a:pt x="14" y="19"/>
                      <a:pt x="15" y="19"/>
                    </a:cubicBezTo>
                    <a:cubicBezTo>
                      <a:pt x="16" y="19"/>
                      <a:pt x="17" y="21"/>
                      <a:pt x="17" y="22"/>
                    </a:cubicBezTo>
                    <a:cubicBezTo>
                      <a:pt x="18" y="23"/>
                      <a:pt x="18" y="24"/>
                      <a:pt x="18" y="25"/>
                    </a:cubicBezTo>
                    <a:cubicBezTo>
                      <a:pt x="19" y="26"/>
                      <a:pt x="20" y="27"/>
                      <a:pt x="21" y="28"/>
                    </a:cubicBezTo>
                    <a:cubicBezTo>
                      <a:pt x="23" y="29"/>
                      <a:pt x="25" y="31"/>
                      <a:pt x="28" y="33"/>
                    </a:cubicBezTo>
                    <a:cubicBezTo>
                      <a:pt x="30" y="35"/>
                      <a:pt x="31" y="35"/>
                      <a:pt x="33" y="36"/>
                    </a:cubicBezTo>
                    <a:cubicBezTo>
                      <a:pt x="36" y="38"/>
                      <a:pt x="38" y="41"/>
                      <a:pt x="42" y="42"/>
                    </a:cubicBezTo>
                    <a:cubicBezTo>
                      <a:pt x="44" y="43"/>
                      <a:pt x="44" y="46"/>
                      <a:pt x="45" y="48"/>
                    </a:cubicBezTo>
                    <a:cubicBezTo>
                      <a:pt x="45" y="50"/>
                      <a:pt x="42" y="52"/>
                      <a:pt x="43" y="55"/>
                    </a:cubicBezTo>
                    <a:cubicBezTo>
                      <a:pt x="43" y="54"/>
                      <a:pt x="49" y="49"/>
                      <a:pt x="49" y="48"/>
                    </a:cubicBezTo>
                    <a:cubicBezTo>
                      <a:pt x="50" y="47"/>
                      <a:pt x="47" y="45"/>
                      <a:pt x="47" y="45"/>
                    </a:cubicBezTo>
                    <a:cubicBezTo>
                      <a:pt x="45" y="43"/>
                      <a:pt x="49" y="39"/>
                      <a:pt x="50" y="40"/>
                    </a:cubicBezTo>
                    <a:cubicBezTo>
                      <a:pt x="51" y="41"/>
                      <a:pt x="52" y="41"/>
                      <a:pt x="53" y="41"/>
                    </a:cubicBezTo>
                    <a:cubicBezTo>
                      <a:pt x="54" y="42"/>
                      <a:pt x="54" y="43"/>
                      <a:pt x="55" y="44"/>
                    </a:cubicBezTo>
                    <a:cubicBezTo>
                      <a:pt x="57" y="44"/>
                      <a:pt x="54" y="40"/>
                      <a:pt x="53" y="39"/>
                    </a:cubicBezTo>
                    <a:cubicBezTo>
                      <a:pt x="51" y="37"/>
                      <a:pt x="47" y="37"/>
                      <a:pt x="44" y="35"/>
                    </a:cubicBezTo>
                    <a:cubicBezTo>
                      <a:pt x="43" y="34"/>
                      <a:pt x="46" y="32"/>
                      <a:pt x="44" y="32"/>
                    </a:cubicBezTo>
                    <a:cubicBezTo>
                      <a:pt x="43" y="31"/>
                      <a:pt x="41" y="32"/>
                      <a:pt x="39" y="31"/>
                    </a:cubicBezTo>
                    <a:cubicBezTo>
                      <a:pt x="37" y="30"/>
                      <a:pt x="36" y="28"/>
                      <a:pt x="35" y="26"/>
                    </a:cubicBezTo>
                    <a:cubicBezTo>
                      <a:pt x="34" y="24"/>
                      <a:pt x="34" y="22"/>
                      <a:pt x="32" y="21"/>
                    </a:cubicBezTo>
                    <a:cubicBezTo>
                      <a:pt x="31" y="20"/>
                      <a:pt x="27" y="19"/>
                      <a:pt x="27" y="17"/>
                    </a:cubicBezTo>
                    <a:cubicBezTo>
                      <a:pt x="27" y="16"/>
                      <a:pt x="27" y="15"/>
                      <a:pt x="27" y="15"/>
                    </a:cubicBezTo>
                    <a:cubicBezTo>
                      <a:pt x="28" y="13"/>
                      <a:pt x="28" y="13"/>
                      <a:pt x="28" y="12"/>
                    </a:cubicBezTo>
                    <a:cubicBezTo>
                      <a:pt x="27" y="9"/>
                      <a:pt x="30" y="10"/>
                      <a:pt x="30" y="9"/>
                    </a:cubicBezTo>
                    <a:cubicBezTo>
                      <a:pt x="31" y="8"/>
                      <a:pt x="32" y="8"/>
                      <a:pt x="32" y="8"/>
                    </a:cubicBezTo>
                    <a:cubicBezTo>
                      <a:pt x="34" y="8"/>
                      <a:pt x="34" y="9"/>
                      <a:pt x="34" y="10"/>
                    </a:cubicBezTo>
                    <a:cubicBezTo>
                      <a:pt x="35" y="10"/>
                      <a:pt x="36" y="10"/>
                      <a:pt x="37" y="10"/>
                    </a:cubicBezTo>
                    <a:cubicBezTo>
                      <a:pt x="37" y="9"/>
                      <a:pt x="36" y="10"/>
                      <a:pt x="37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6" name="Freeform 648">
                <a:extLst>
                  <a:ext uri="{FF2B5EF4-FFF2-40B4-BE49-F238E27FC236}">
                    <a16:creationId xmlns:a16="http://schemas.microsoft.com/office/drawing/2014/main" id="{2DC2BAAC-5E15-4214-8886-3F31DC1C53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6991" y="3342660"/>
                <a:ext cx="125829" cy="117866"/>
              </a:xfrm>
              <a:custGeom>
                <a:avLst/>
                <a:gdLst>
                  <a:gd name="T0" fmla="*/ 12 w 27"/>
                  <a:gd name="T1" fmla="*/ 10 h 25"/>
                  <a:gd name="T2" fmla="*/ 21 w 27"/>
                  <a:gd name="T3" fmla="*/ 9 h 25"/>
                  <a:gd name="T4" fmla="*/ 27 w 27"/>
                  <a:gd name="T5" fmla="*/ 11 h 25"/>
                  <a:gd name="T6" fmla="*/ 25 w 27"/>
                  <a:gd name="T7" fmla="*/ 4 h 25"/>
                  <a:gd name="T8" fmla="*/ 17 w 27"/>
                  <a:gd name="T9" fmla="*/ 3 h 25"/>
                  <a:gd name="T10" fmla="*/ 13 w 27"/>
                  <a:gd name="T11" fmla="*/ 0 h 25"/>
                  <a:gd name="T12" fmla="*/ 11 w 27"/>
                  <a:gd name="T13" fmla="*/ 2 h 25"/>
                  <a:gd name="T14" fmla="*/ 6 w 27"/>
                  <a:gd name="T15" fmla="*/ 7 h 25"/>
                  <a:gd name="T16" fmla="*/ 1 w 27"/>
                  <a:gd name="T17" fmla="*/ 7 h 25"/>
                  <a:gd name="T18" fmla="*/ 1 w 27"/>
                  <a:gd name="T19" fmla="*/ 11 h 25"/>
                  <a:gd name="T20" fmla="*/ 3 w 27"/>
                  <a:gd name="T21" fmla="*/ 10 h 25"/>
                  <a:gd name="T22" fmla="*/ 4 w 27"/>
                  <a:gd name="T23" fmla="*/ 13 h 25"/>
                  <a:gd name="T24" fmla="*/ 6 w 27"/>
                  <a:gd name="T25" fmla="*/ 10 h 25"/>
                  <a:gd name="T26" fmla="*/ 11 w 27"/>
                  <a:gd name="T27" fmla="*/ 17 h 25"/>
                  <a:gd name="T28" fmla="*/ 23 w 27"/>
                  <a:gd name="T29" fmla="*/ 25 h 25"/>
                  <a:gd name="T30" fmla="*/ 21 w 27"/>
                  <a:gd name="T31" fmla="*/ 22 h 25"/>
                  <a:gd name="T32" fmla="*/ 16 w 27"/>
                  <a:gd name="T33" fmla="*/ 19 h 25"/>
                  <a:gd name="T34" fmla="*/ 12 w 27"/>
                  <a:gd name="T35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" h="25">
                    <a:moveTo>
                      <a:pt x="12" y="10"/>
                    </a:moveTo>
                    <a:cubicBezTo>
                      <a:pt x="15" y="10"/>
                      <a:pt x="18" y="8"/>
                      <a:pt x="21" y="9"/>
                    </a:cubicBezTo>
                    <a:cubicBezTo>
                      <a:pt x="23" y="9"/>
                      <a:pt x="25" y="10"/>
                      <a:pt x="27" y="11"/>
                    </a:cubicBezTo>
                    <a:cubicBezTo>
                      <a:pt x="26" y="9"/>
                      <a:pt x="26" y="7"/>
                      <a:pt x="25" y="4"/>
                    </a:cubicBezTo>
                    <a:cubicBezTo>
                      <a:pt x="22" y="6"/>
                      <a:pt x="19" y="4"/>
                      <a:pt x="17" y="3"/>
                    </a:cubicBezTo>
                    <a:cubicBezTo>
                      <a:pt x="15" y="2"/>
                      <a:pt x="14" y="2"/>
                      <a:pt x="13" y="0"/>
                    </a:cubicBezTo>
                    <a:cubicBezTo>
                      <a:pt x="13" y="0"/>
                      <a:pt x="11" y="1"/>
                      <a:pt x="11" y="2"/>
                    </a:cubicBezTo>
                    <a:cubicBezTo>
                      <a:pt x="9" y="3"/>
                      <a:pt x="10" y="8"/>
                      <a:pt x="6" y="7"/>
                    </a:cubicBezTo>
                    <a:cubicBezTo>
                      <a:pt x="4" y="6"/>
                      <a:pt x="2" y="7"/>
                      <a:pt x="1" y="7"/>
                    </a:cubicBezTo>
                    <a:cubicBezTo>
                      <a:pt x="0" y="8"/>
                      <a:pt x="1" y="11"/>
                      <a:pt x="1" y="11"/>
                    </a:cubicBezTo>
                    <a:cubicBezTo>
                      <a:pt x="1" y="11"/>
                      <a:pt x="3" y="10"/>
                      <a:pt x="3" y="10"/>
                    </a:cubicBezTo>
                    <a:cubicBezTo>
                      <a:pt x="4" y="10"/>
                      <a:pt x="4" y="12"/>
                      <a:pt x="4" y="13"/>
                    </a:cubicBezTo>
                    <a:cubicBezTo>
                      <a:pt x="4" y="11"/>
                      <a:pt x="5" y="8"/>
                      <a:pt x="6" y="10"/>
                    </a:cubicBezTo>
                    <a:cubicBezTo>
                      <a:pt x="7" y="13"/>
                      <a:pt x="9" y="15"/>
                      <a:pt x="11" y="17"/>
                    </a:cubicBezTo>
                    <a:cubicBezTo>
                      <a:pt x="14" y="20"/>
                      <a:pt x="19" y="22"/>
                      <a:pt x="23" y="25"/>
                    </a:cubicBezTo>
                    <a:cubicBezTo>
                      <a:pt x="23" y="23"/>
                      <a:pt x="23" y="23"/>
                      <a:pt x="21" y="22"/>
                    </a:cubicBezTo>
                    <a:cubicBezTo>
                      <a:pt x="19" y="21"/>
                      <a:pt x="17" y="20"/>
                      <a:pt x="16" y="19"/>
                    </a:cubicBezTo>
                    <a:cubicBezTo>
                      <a:pt x="14" y="17"/>
                      <a:pt x="9" y="10"/>
                      <a:pt x="12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7" name="Freeform 649">
                <a:extLst>
                  <a:ext uri="{FF2B5EF4-FFF2-40B4-BE49-F238E27FC236}">
                    <a16:creationId xmlns:a16="http://schemas.microsoft.com/office/drawing/2014/main" id="{C999DE48-3C26-41E8-8A4F-3693277B7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6943" y="3207275"/>
                <a:ext cx="308998" cy="265993"/>
              </a:xfrm>
              <a:custGeom>
                <a:avLst/>
                <a:gdLst>
                  <a:gd name="T0" fmla="*/ 59 w 66"/>
                  <a:gd name="T1" fmla="*/ 31 h 57"/>
                  <a:gd name="T2" fmla="*/ 56 w 66"/>
                  <a:gd name="T3" fmla="*/ 30 h 57"/>
                  <a:gd name="T4" fmla="*/ 60 w 66"/>
                  <a:gd name="T5" fmla="*/ 24 h 57"/>
                  <a:gd name="T6" fmla="*/ 63 w 66"/>
                  <a:gd name="T7" fmla="*/ 23 h 57"/>
                  <a:gd name="T8" fmla="*/ 65 w 66"/>
                  <a:gd name="T9" fmla="*/ 15 h 57"/>
                  <a:gd name="T10" fmla="*/ 60 w 66"/>
                  <a:gd name="T11" fmla="*/ 13 h 57"/>
                  <a:gd name="T12" fmla="*/ 57 w 66"/>
                  <a:gd name="T13" fmla="*/ 11 h 57"/>
                  <a:gd name="T14" fmla="*/ 55 w 66"/>
                  <a:gd name="T15" fmla="*/ 11 h 57"/>
                  <a:gd name="T16" fmla="*/ 48 w 66"/>
                  <a:gd name="T17" fmla="*/ 7 h 57"/>
                  <a:gd name="T18" fmla="*/ 43 w 66"/>
                  <a:gd name="T19" fmla="*/ 5 h 57"/>
                  <a:gd name="T20" fmla="*/ 38 w 66"/>
                  <a:gd name="T21" fmla="*/ 1 h 57"/>
                  <a:gd name="T22" fmla="*/ 34 w 66"/>
                  <a:gd name="T23" fmla="*/ 1 h 57"/>
                  <a:gd name="T24" fmla="*/ 33 w 66"/>
                  <a:gd name="T25" fmla="*/ 5 h 57"/>
                  <a:gd name="T26" fmla="*/ 30 w 66"/>
                  <a:gd name="T27" fmla="*/ 8 h 57"/>
                  <a:gd name="T28" fmla="*/ 26 w 66"/>
                  <a:gd name="T29" fmla="*/ 10 h 57"/>
                  <a:gd name="T30" fmla="*/ 24 w 66"/>
                  <a:gd name="T31" fmla="*/ 12 h 57"/>
                  <a:gd name="T32" fmla="*/ 20 w 66"/>
                  <a:gd name="T33" fmla="*/ 11 h 57"/>
                  <a:gd name="T34" fmla="*/ 16 w 66"/>
                  <a:gd name="T35" fmla="*/ 10 h 57"/>
                  <a:gd name="T36" fmla="*/ 16 w 66"/>
                  <a:gd name="T37" fmla="*/ 16 h 57"/>
                  <a:gd name="T38" fmla="*/ 9 w 66"/>
                  <a:gd name="T39" fmla="*/ 15 h 57"/>
                  <a:gd name="T40" fmla="*/ 1 w 66"/>
                  <a:gd name="T41" fmla="*/ 17 h 57"/>
                  <a:gd name="T42" fmla="*/ 2 w 66"/>
                  <a:gd name="T43" fmla="*/ 19 h 57"/>
                  <a:gd name="T44" fmla="*/ 4 w 66"/>
                  <a:gd name="T45" fmla="*/ 21 h 57"/>
                  <a:gd name="T46" fmla="*/ 15 w 66"/>
                  <a:gd name="T47" fmla="*/ 25 h 57"/>
                  <a:gd name="T48" fmla="*/ 14 w 66"/>
                  <a:gd name="T49" fmla="*/ 28 h 57"/>
                  <a:gd name="T50" fmla="*/ 19 w 66"/>
                  <a:gd name="T51" fmla="*/ 31 h 57"/>
                  <a:gd name="T52" fmla="*/ 20 w 66"/>
                  <a:gd name="T53" fmla="*/ 35 h 57"/>
                  <a:gd name="T54" fmla="*/ 22 w 66"/>
                  <a:gd name="T55" fmla="*/ 38 h 57"/>
                  <a:gd name="T56" fmla="*/ 19 w 66"/>
                  <a:gd name="T57" fmla="*/ 36 h 57"/>
                  <a:gd name="T58" fmla="*/ 16 w 66"/>
                  <a:gd name="T59" fmla="*/ 49 h 57"/>
                  <a:gd name="T60" fmla="*/ 27 w 66"/>
                  <a:gd name="T61" fmla="*/ 53 h 57"/>
                  <a:gd name="T62" fmla="*/ 30 w 66"/>
                  <a:gd name="T63" fmla="*/ 53 h 57"/>
                  <a:gd name="T64" fmla="*/ 33 w 66"/>
                  <a:gd name="T65" fmla="*/ 55 h 57"/>
                  <a:gd name="T66" fmla="*/ 40 w 66"/>
                  <a:gd name="T67" fmla="*/ 54 h 57"/>
                  <a:gd name="T68" fmla="*/ 47 w 66"/>
                  <a:gd name="T69" fmla="*/ 48 h 57"/>
                  <a:gd name="T70" fmla="*/ 57 w 66"/>
                  <a:gd name="T71" fmla="*/ 50 h 57"/>
                  <a:gd name="T72" fmla="*/ 62 w 66"/>
                  <a:gd name="T73" fmla="*/ 47 h 57"/>
                  <a:gd name="T74" fmla="*/ 62 w 66"/>
                  <a:gd name="T75" fmla="*/ 45 h 57"/>
                  <a:gd name="T76" fmla="*/ 59 w 66"/>
                  <a:gd name="T77" fmla="*/ 38 h 57"/>
                  <a:gd name="T78" fmla="*/ 59 w 66"/>
                  <a:gd name="T79" fmla="*/ 34 h 57"/>
                  <a:gd name="T80" fmla="*/ 59 w 66"/>
                  <a:gd name="T81" fmla="*/ 31 h 57"/>
                  <a:gd name="T82" fmla="*/ 59 w 66"/>
                  <a:gd name="T83" fmla="*/ 31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6" h="57">
                    <a:moveTo>
                      <a:pt x="59" y="31"/>
                    </a:moveTo>
                    <a:cubicBezTo>
                      <a:pt x="58" y="29"/>
                      <a:pt x="55" y="33"/>
                      <a:pt x="56" y="30"/>
                    </a:cubicBezTo>
                    <a:cubicBezTo>
                      <a:pt x="56" y="29"/>
                      <a:pt x="59" y="24"/>
                      <a:pt x="60" y="24"/>
                    </a:cubicBezTo>
                    <a:cubicBezTo>
                      <a:pt x="61" y="23"/>
                      <a:pt x="62" y="25"/>
                      <a:pt x="63" y="23"/>
                    </a:cubicBezTo>
                    <a:cubicBezTo>
                      <a:pt x="64" y="20"/>
                      <a:pt x="63" y="18"/>
                      <a:pt x="65" y="15"/>
                    </a:cubicBezTo>
                    <a:cubicBezTo>
                      <a:pt x="66" y="13"/>
                      <a:pt x="61" y="13"/>
                      <a:pt x="60" y="13"/>
                    </a:cubicBezTo>
                    <a:cubicBezTo>
                      <a:pt x="58" y="13"/>
                      <a:pt x="57" y="12"/>
                      <a:pt x="57" y="11"/>
                    </a:cubicBezTo>
                    <a:cubicBezTo>
                      <a:pt x="56" y="11"/>
                      <a:pt x="55" y="11"/>
                      <a:pt x="55" y="11"/>
                    </a:cubicBezTo>
                    <a:cubicBezTo>
                      <a:pt x="53" y="11"/>
                      <a:pt x="48" y="9"/>
                      <a:pt x="48" y="7"/>
                    </a:cubicBezTo>
                    <a:cubicBezTo>
                      <a:pt x="47" y="10"/>
                      <a:pt x="44" y="5"/>
                      <a:pt x="43" y="5"/>
                    </a:cubicBezTo>
                    <a:cubicBezTo>
                      <a:pt x="41" y="4"/>
                      <a:pt x="39" y="3"/>
                      <a:pt x="38" y="1"/>
                    </a:cubicBezTo>
                    <a:cubicBezTo>
                      <a:pt x="37" y="0"/>
                      <a:pt x="35" y="0"/>
                      <a:pt x="34" y="1"/>
                    </a:cubicBezTo>
                    <a:cubicBezTo>
                      <a:pt x="33" y="2"/>
                      <a:pt x="32" y="4"/>
                      <a:pt x="33" y="5"/>
                    </a:cubicBezTo>
                    <a:cubicBezTo>
                      <a:pt x="33" y="6"/>
                      <a:pt x="31" y="7"/>
                      <a:pt x="30" y="8"/>
                    </a:cubicBezTo>
                    <a:cubicBezTo>
                      <a:pt x="29" y="8"/>
                      <a:pt x="27" y="8"/>
                      <a:pt x="26" y="10"/>
                    </a:cubicBezTo>
                    <a:cubicBezTo>
                      <a:pt x="26" y="11"/>
                      <a:pt x="25" y="12"/>
                      <a:pt x="24" y="12"/>
                    </a:cubicBezTo>
                    <a:cubicBezTo>
                      <a:pt x="22" y="12"/>
                      <a:pt x="21" y="12"/>
                      <a:pt x="20" y="11"/>
                    </a:cubicBezTo>
                    <a:cubicBezTo>
                      <a:pt x="18" y="11"/>
                      <a:pt x="18" y="10"/>
                      <a:pt x="16" y="10"/>
                    </a:cubicBezTo>
                    <a:cubicBezTo>
                      <a:pt x="14" y="9"/>
                      <a:pt x="20" y="16"/>
                      <a:pt x="16" y="16"/>
                    </a:cubicBezTo>
                    <a:cubicBezTo>
                      <a:pt x="13" y="16"/>
                      <a:pt x="11" y="17"/>
                      <a:pt x="9" y="15"/>
                    </a:cubicBezTo>
                    <a:cubicBezTo>
                      <a:pt x="8" y="14"/>
                      <a:pt x="1" y="16"/>
                      <a:pt x="1" y="17"/>
                    </a:cubicBezTo>
                    <a:cubicBezTo>
                      <a:pt x="1" y="18"/>
                      <a:pt x="4" y="18"/>
                      <a:pt x="2" y="19"/>
                    </a:cubicBezTo>
                    <a:cubicBezTo>
                      <a:pt x="0" y="20"/>
                      <a:pt x="3" y="21"/>
                      <a:pt x="4" y="21"/>
                    </a:cubicBezTo>
                    <a:cubicBezTo>
                      <a:pt x="6" y="22"/>
                      <a:pt x="15" y="23"/>
                      <a:pt x="15" y="25"/>
                    </a:cubicBezTo>
                    <a:cubicBezTo>
                      <a:pt x="15" y="26"/>
                      <a:pt x="13" y="26"/>
                      <a:pt x="14" y="28"/>
                    </a:cubicBezTo>
                    <a:cubicBezTo>
                      <a:pt x="16" y="30"/>
                      <a:pt x="17" y="30"/>
                      <a:pt x="19" y="31"/>
                    </a:cubicBezTo>
                    <a:cubicBezTo>
                      <a:pt x="21" y="32"/>
                      <a:pt x="18" y="34"/>
                      <a:pt x="20" y="35"/>
                    </a:cubicBezTo>
                    <a:cubicBezTo>
                      <a:pt x="20" y="35"/>
                      <a:pt x="22" y="38"/>
                      <a:pt x="22" y="38"/>
                    </a:cubicBezTo>
                    <a:cubicBezTo>
                      <a:pt x="21" y="39"/>
                      <a:pt x="20" y="36"/>
                      <a:pt x="19" y="36"/>
                    </a:cubicBezTo>
                    <a:cubicBezTo>
                      <a:pt x="18" y="36"/>
                      <a:pt x="19" y="48"/>
                      <a:pt x="16" y="49"/>
                    </a:cubicBezTo>
                    <a:cubicBezTo>
                      <a:pt x="19" y="51"/>
                      <a:pt x="23" y="54"/>
                      <a:pt x="27" y="53"/>
                    </a:cubicBezTo>
                    <a:cubicBezTo>
                      <a:pt x="28" y="53"/>
                      <a:pt x="29" y="52"/>
                      <a:pt x="30" y="53"/>
                    </a:cubicBezTo>
                    <a:cubicBezTo>
                      <a:pt x="31" y="53"/>
                      <a:pt x="32" y="54"/>
                      <a:pt x="33" y="55"/>
                    </a:cubicBezTo>
                    <a:cubicBezTo>
                      <a:pt x="35" y="56"/>
                      <a:pt x="41" y="57"/>
                      <a:pt x="40" y="54"/>
                    </a:cubicBezTo>
                    <a:cubicBezTo>
                      <a:pt x="39" y="49"/>
                      <a:pt x="44" y="47"/>
                      <a:pt x="47" y="48"/>
                    </a:cubicBezTo>
                    <a:cubicBezTo>
                      <a:pt x="51" y="49"/>
                      <a:pt x="53" y="52"/>
                      <a:pt x="57" y="50"/>
                    </a:cubicBezTo>
                    <a:cubicBezTo>
                      <a:pt x="59" y="49"/>
                      <a:pt x="60" y="48"/>
                      <a:pt x="62" y="47"/>
                    </a:cubicBezTo>
                    <a:cubicBezTo>
                      <a:pt x="62" y="47"/>
                      <a:pt x="64" y="45"/>
                      <a:pt x="62" y="45"/>
                    </a:cubicBezTo>
                    <a:cubicBezTo>
                      <a:pt x="60" y="44"/>
                      <a:pt x="58" y="40"/>
                      <a:pt x="59" y="38"/>
                    </a:cubicBezTo>
                    <a:cubicBezTo>
                      <a:pt x="61" y="36"/>
                      <a:pt x="60" y="36"/>
                      <a:pt x="59" y="34"/>
                    </a:cubicBezTo>
                    <a:cubicBezTo>
                      <a:pt x="59" y="33"/>
                      <a:pt x="59" y="32"/>
                      <a:pt x="59" y="31"/>
                    </a:cubicBezTo>
                    <a:cubicBezTo>
                      <a:pt x="58" y="30"/>
                      <a:pt x="59" y="32"/>
                      <a:pt x="59" y="3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8" name="Freeform 650">
                <a:extLst>
                  <a:ext uri="{FF2B5EF4-FFF2-40B4-BE49-F238E27FC236}">
                    <a16:creationId xmlns:a16="http://schemas.microsoft.com/office/drawing/2014/main" id="{67C2EF31-AC3C-4DAE-8656-D748041D3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3378" y="3310806"/>
                <a:ext cx="103530" cy="70082"/>
              </a:xfrm>
              <a:custGeom>
                <a:avLst/>
                <a:gdLst>
                  <a:gd name="T0" fmla="*/ 17 w 22"/>
                  <a:gd name="T1" fmla="*/ 1 h 15"/>
                  <a:gd name="T2" fmla="*/ 9 w 22"/>
                  <a:gd name="T3" fmla="*/ 1 h 15"/>
                  <a:gd name="T4" fmla="*/ 8 w 22"/>
                  <a:gd name="T5" fmla="*/ 2 h 15"/>
                  <a:gd name="T6" fmla="*/ 5 w 22"/>
                  <a:gd name="T7" fmla="*/ 2 h 15"/>
                  <a:gd name="T8" fmla="*/ 3 w 22"/>
                  <a:gd name="T9" fmla="*/ 5 h 15"/>
                  <a:gd name="T10" fmla="*/ 1 w 22"/>
                  <a:gd name="T11" fmla="*/ 9 h 15"/>
                  <a:gd name="T12" fmla="*/ 4 w 22"/>
                  <a:gd name="T13" fmla="*/ 10 h 15"/>
                  <a:gd name="T14" fmla="*/ 7 w 22"/>
                  <a:gd name="T15" fmla="*/ 11 h 15"/>
                  <a:gd name="T16" fmla="*/ 11 w 22"/>
                  <a:gd name="T17" fmla="*/ 10 h 15"/>
                  <a:gd name="T18" fmla="*/ 13 w 22"/>
                  <a:gd name="T19" fmla="*/ 10 h 15"/>
                  <a:gd name="T20" fmla="*/ 16 w 22"/>
                  <a:gd name="T21" fmla="*/ 8 h 15"/>
                  <a:gd name="T22" fmla="*/ 18 w 22"/>
                  <a:gd name="T23" fmla="*/ 9 h 15"/>
                  <a:gd name="T24" fmla="*/ 21 w 22"/>
                  <a:gd name="T25" fmla="*/ 8 h 15"/>
                  <a:gd name="T26" fmla="*/ 22 w 22"/>
                  <a:gd name="T27" fmla="*/ 5 h 15"/>
                  <a:gd name="T28" fmla="*/ 18 w 22"/>
                  <a:gd name="T29" fmla="*/ 4 h 15"/>
                  <a:gd name="T30" fmla="*/ 17 w 22"/>
                  <a:gd name="T31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15">
                    <a:moveTo>
                      <a:pt x="17" y="1"/>
                    </a:moveTo>
                    <a:cubicBezTo>
                      <a:pt x="14" y="0"/>
                      <a:pt x="12" y="1"/>
                      <a:pt x="9" y="1"/>
                    </a:cubicBezTo>
                    <a:cubicBezTo>
                      <a:pt x="7" y="1"/>
                      <a:pt x="9" y="1"/>
                      <a:pt x="8" y="2"/>
                    </a:cubicBezTo>
                    <a:cubicBezTo>
                      <a:pt x="7" y="2"/>
                      <a:pt x="5" y="2"/>
                      <a:pt x="5" y="2"/>
                    </a:cubicBezTo>
                    <a:cubicBezTo>
                      <a:pt x="4" y="2"/>
                      <a:pt x="3" y="5"/>
                      <a:pt x="3" y="5"/>
                    </a:cubicBezTo>
                    <a:cubicBezTo>
                      <a:pt x="2" y="6"/>
                      <a:pt x="0" y="10"/>
                      <a:pt x="1" y="9"/>
                    </a:cubicBezTo>
                    <a:cubicBezTo>
                      <a:pt x="3" y="9"/>
                      <a:pt x="3" y="8"/>
                      <a:pt x="4" y="10"/>
                    </a:cubicBezTo>
                    <a:cubicBezTo>
                      <a:pt x="4" y="12"/>
                      <a:pt x="5" y="11"/>
                      <a:pt x="7" y="11"/>
                    </a:cubicBezTo>
                    <a:cubicBezTo>
                      <a:pt x="8" y="11"/>
                      <a:pt x="10" y="11"/>
                      <a:pt x="11" y="10"/>
                    </a:cubicBezTo>
                    <a:cubicBezTo>
                      <a:pt x="12" y="8"/>
                      <a:pt x="13" y="9"/>
                      <a:pt x="13" y="10"/>
                    </a:cubicBezTo>
                    <a:cubicBezTo>
                      <a:pt x="16" y="15"/>
                      <a:pt x="15" y="8"/>
                      <a:pt x="16" y="8"/>
                    </a:cubicBezTo>
                    <a:cubicBezTo>
                      <a:pt x="17" y="8"/>
                      <a:pt x="17" y="9"/>
                      <a:pt x="18" y="9"/>
                    </a:cubicBezTo>
                    <a:cubicBezTo>
                      <a:pt x="19" y="9"/>
                      <a:pt x="20" y="9"/>
                      <a:pt x="21" y="8"/>
                    </a:cubicBezTo>
                    <a:cubicBezTo>
                      <a:pt x="22" y="7"/>
                      <a:pt x="22" y="7"/>
                      <a:pt x="22" y="5"/>
                    </a:cubicBezTo>
                    <a:cubicBezTo>
                      <a:pt x="22" y="5"/>
                      <a:pt x="19" y="4"/>
                      <a:pt x="18" y="4"/>
                    </a:cubicBezTo>
                    <a:cubicBezTo>
                      <a:pt x="17" y="3"/>
                      <a:pt x="17" y="2"/>
                      <a:pt x="17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9" name="Freeform 651">
                <a:extLst>
                  <a:ext uri="{FF2B5EF4-FFF2-40B4-BE49-F238E27FC236}">
                    <a16:creationId xmlns:a16="http://schemas.microsoft.com/office/drawing/2014/main" id="{E5AF0175-D417-4F2B-AD8D-034E000E3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5776" y="3197719"/>
                <a:ext cx="97159" cy="60524"/>
              </a:xfrm>
              <a:custGeom>
                <a:avLst/>
                <a:gdLst>
                  <a:gd name="T0" fmla="*/ 19 w 21"/>
                  <a:gd name="T1" fmla="*/ 9 h 13"/>
                  <a:gd name="T2" fmla="*/ 20 w 21"/>
                  <a:gd name="T3" fmla="*/ 6 h 13"/>
                  <a:gd name="T4" fmla="*/ 18 w 21"/>
                  <a:gd name="T5" fmla="*/ 3 h 13"/>
                  <a:gd name="T6" fmla="*/ 13 w 21"/>
                  <a:gd name="T7" fmla="*/ 0 h 13"/>
                  <a:gd name="T8" fmla="*/ 8 w 21"/>
                  <a:gd name="T9" fmla="*/ 1 h 13"/>
                  <a:gd name="T10" fmla="*/ 3 w 21"/>
                  <a:gd name="T11" fmla="*/ 1 h 13"/>
                  <a:gd name="T12" fmla="*/ 5 w 21"/>
                  <a:gd name="T13" fmla="*/ 6 h 13"/>
                  <a:gd name="T14" fmla="*/ 10 w 21"/>
                  <a:gd name="T15" fmla="*/ 9 h 13"/>
                  <a:gd name="T16" fmla="*/ 12 w 21"/>
                  <a:gd name="T17" fmla="*/ 9 h 13"/>
                  <a:gd name="T18" fmla="*/ 18 w 21"/>
                  <a:gd name="T19" fmla="*/ 13 h 13"/>
                  <a:gd name="T20" fmla="*/ 19 w 21"/>
                  <a:gd name="T21" fmla="*/ 9 h 13"/>
                  <a:gd name="T22" fmla="*/ 19 w 21"/>
                  <a:gd name="T2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13">
                    <a:moveTo>
                      <a:pt x="19" y="9"/>
                    </a:moveTo>
                    <a:cubicBezTo>
                      <a:pt x="18" y="9"/>
                      <a:pt x="21" y="7"/>
                      <a:pt x="20" y="6"/>
                    </a:cubicBezTo>
                    <a:cubicBezTo>
                      <a:pt x="20" y="5"/>
                      <a:pt x="19" y="3"/>
                      <a:pt x="18" y="3"/>
                    </a:cubicBezTo>
                    <a:cubicBezTo>
                      <a:pt x="17" y="2"/>
                      <a:pt x="15" y="0"/>
                      <a:pt x="13" y="0"/>
                    </a:cubicBezTo>
                    <a:cubicBezTo>
                      <a:pt x="11" y="0"/>
                      <a:pt x="10" y="1"/>
                      <a:pt x="8" y="1"/>
                    </a:cubicBezTo>
                    <a:cubicBezTo>
                      <a:pt x="6" y="1"/>
                      <a:pt x="5" y="0"/>
                      <a:pt x="3" y="1"/>
                    </a:cubicBezTo>
                    <a:cubicBezTo>
                      <a:pt x="0" y="3"/>
                      <a:pt x="3" y="5"/>
                      <a:pt x="5" y="6"/>
                    </a:cubicBezTo>
                    <a:cubicBezTo>
                      <a:pt x="7" y="7"/>
                      <a:pt x="8" y="7"/>
                      <a:pt x="10" y="9"/>
                    </a:cubicBezTo>
                    <a:cubicBezTo>
                      <a:pt x="10" y="10"/>
                      <a:pt x="12" y="10"/>
                      <a:pt x="12" y="9"/>
                    </a:cubicBezTo>
                    <a:cubicBezTo>
                      <a:pt x="12" y="10"/>
                      <a:pt x="17" y="13"/>
                      <a:pt x="18" y="13"/>
                    </a:cubicBezTo>
                    <a:cubicBezTo>
                      <a:pt x="18" y="11"/>
                      <a:pt x="18" y="10"/>
                      <a:pt x="19" y="9"/>
                    </a:cubicBezTo>
                    <a:cubicBezTo>
                      <a:pt x="19" y="9"/>
                      <a:pt x="17" y="10"/>
                      <a:pt x="19" y="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0" name="Freeform 652">
                <a:extLst>
                  <a:ext uri="{FF2B5EF4-FFF2-40B4-BE49-F238E27FC236}">
                    <a16:creationId xmlns:a16="http://schemas.microsoft.com/office/drawing/2014/main" id="{80B496D7-4007-424E-9AFF-73E0190D01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5415" y="3240723"/>
                <a:ext cx="17521" cy="17521"/>
              </a:xfrm>
              <a:custGeom>
                <a:avLst/>
                <a:gdLst>
                  <a:gd name="T0" fmla="*/ 2 w 4"/>
                  <a:gd name="T1" fmla="*/ 0 h 4"/>
                  <a:gd name="T2" fmla="*/ 1 w 4"/>
                  <a:gd name="T3" fmla="*/ 3 h 4"/>
                  <a:gd name="T4" fmla="*/ 4 w 4"/>
                  <a:gd name="T5" fmla="*/ 4 h 4"/>
                  <a:gd name="T6" fmla="*/ 2 w 4"/>
                  <a:gd name="T7" fmla="*/ 0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cubicBezTo>
                      <a:pt x="1" y="0"/>
                      <a:pt x="1" y="2"/>
                      <a:pt x="1" y="3"/>
                    </a:cubicBezTo>
                    <a:cubicBezTo>
                      <a:pt x="1" y="4"/>
                      <a:pt x="3" y="4"/>
                      <a:pt x="4" y="4"/>
                    </a:cubicBezTo>
                    <a:cubicBezTo>
                      <a:pt x="4" y="2"/>
                      <a:pt x="4" y="1"/>
                      <a:pt x="2" y="0"/>
                    </a:cubicBezTo>
                    <a:cubicBezTo>
                      <a:pt x="0" y="1"/>
                      <a:pt x="3" y="1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1" name="Freeform 653">
                <a:extLst>
                  <a:ext uri="{FF2B5EF4-FFF2-40B4-BE49-F238E27FC236}">
                    <a16:creationId xmlns:a16="http://schemas.microsoft.com/office/drawing/2014/main" id="{2D38A029-484B-42DB-AD92-3B63F929D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8075" y="3132415"/>
                <a:ext cx="93975" cy="84419"/>
              </a:xfrm>
              <a:custGeom>
                <a:avLst/>
                <a:gdLst>
                  <a:gd name="T0" fmla="*/ 5 w 20"/>
                  <a:gd name="T1" fmla="*/ 14 h 18"/>
                  <a:gd name="T2" fmla="*/ 14 w 20"/>
                  <a:gd name="T3" fmla="*/ 18 h 18"/>
                  <a:gd name="T4" fmla="*/ 14 w 20"/>
                  <a:gd name="T5" fmla="*/ 13 h 18"/>
                  <a:gd name="T6" fmla="*/ 17 w 20"/>
                  <a:gd name="T7" fmla="*/ 11 h 18"/>
                  <a:gd name="T8" fmla="*/ 18 w 20"/>
                  <a:gd name="T9" fmla="*/ 6 h 18"/>
                  <a:gd name="T10" fmla="*/ 20 w 20"/>
                  <a:gd name="T11" fmla="*/ 5 h 18"/>
                  <a:gd name="T12" fmla="*/ 19 w 20"/>
                  <a:gd name="T13" fmla="*/ 0 h 18"/>
                  <a:gd name="T14" fmla="*/ 15 w 20"/>
                  <a:gd name="T15" fmla="*/ 1 h 18"/>
                  <a:gd name="T16" fmla="*/ 10 w 20"/>
                  <a:gd name="T17" fmla="*/ 3 h 18"/>
                  <a:gd name="T18" fmla="*/ 12 w 20"/>
                  <a:gd name="T19" fmla="*/ 6 h 18"/>
                  <a:gd name="T20" fmla="*/ 10 w 20"/>
                  <a:gd name="T21" fmla="*/ 4 h 18"/>
                  <a:gd name="T22" fmla="*/ 7 w 20"/>
                  <a:gd name="T23" fmla="*/ 6 h 18"/>
                  <a:gd name="T24" fmla="*/ 5 w 20"/>
                  <a:gd name="T25" fmla="*/ 8 h 18"/>
                  <a:gd name="T26" fmla="*/ 5 w 20"/>
                  <a:gd name="T27" fmla="*/ 12 h 18"/>
                  <a:gd name="T28" fmla="*/ 3 w 20"/>
                  <a:gd name="T29" fmla="*/ 12 h 18"/>
                  <a:gd name="T30" fmla="*/ 4 w 20"/>
                  <a:gd name="T31" fmla="*/ 12 h 18"/>
                  <a:gd name="T32" fmla="*/ 3 w 20"/>
                  <a:gd name="T33" fmla="*/ 12 h 18"/>
                  <a:gd name="T34" fmla="*/ 4 w 20"/>
                  <a:gd name="T35" fmla="*/ 14 h 18"/>
                  <a:gd name="T36" fmla="*/ 2 w 20"/>
                  <a:gd name="T37" fmla="*/ 13 h 18"/>
                  <a:gd name="T38" fmla="*/ 3 w 20"/>
                  <a:gd name="T39" fmla="*/ 14 h 18"/>
                  <a:gd name="T40" fmla="*/ 1 w 20"/>
                  <a:gd name="T41" fmla="*/ 14 h 18"/>
                  <a:gd name="T42" fmla="*/ 2 w 20"/>
                  <a:gd name="T43" fmla="*/ 15 h 18"/>
                  <a:gd name="T44" fmla="*/ 0 w 20"/>
                  <a:gd name="T45" fmla="*/ 15 h 18"/>
                  <a:gd name="T46" fmla="*/ 5 w 20"/>
                  <a:gd name="T47" fmla="*/ 14 h 18"/>
                  <a:gd name="T48" fmla="*/ 5 w 20"/>
                  <a:gd name="T4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" h="18">
                    <a:moveTo>
                      <a:pt x="5" y="14"/>
                    </a:moveTo>
                    <a:cubicBezTo>
                      <a:pt x="7" y="12"/>
                      <a:pt x="13" y="16"/>
                      <a:pt x="14" y="18"/>
                    </a:cubicBezTo>
                    <a:cubicBezTo>
                      <a:pt x="15" y="16"/>
                      <a:pt x="15" y="14"/>
                      <a:pt x="14" y="13"/>
                    </a:cubicBezTo>
                    <a:cubicBezTo>
                      <a:pt x="13" y="9"/>
                      <a:pt x="15" y="11"/>
                      <a:pt x="17" y="11"/>
                    </a:cubicBezTo>
                    <a:cubicBezTo>
                      <a:pt x="19" y="10"/>
                      <a:pt x="19" y="8"/>
                      <a:pt x="18" y="6"/>
                    </a:cubicBezTo>
                    <a:cubicBezTo>
                      <a:pt x="18" y="6"/>
                      <a:pt x="20" y="5"/>
                      <a:pt x="20" y="5"/>
                    </a:cubicBezTo>
                    <a:cubicBezTo>
                      <a:pt x="20" y="3"/>
                      <a:pt x="20" y="2"/>
                      <a:pt x="19" y="0"/>
                    </a:cubicBezTo>
                    <a:cubicBezTo>
                      <a:pt x="19" y="0"/>
                      <a:pt x="15" y="1"/>
                      <a:pt x="15" y="1"/>
                    </a:cubicBezTo>
                    <a:cubicBezTo>
                      <a:pt x="13" y="1"/>
                      <a:pt x="12" y="1"/>
                      <a:pt x="10" y="3"/>
                    </a:cubicBezTo>
                    <a:cubicBezTo>
                      <a:pt x="10" y="3"/>
                      <a:pt x="13" y="5"/>
                      <a:pt x="12" y="6"/>
                    </a:cubicBezTo>
                    <a:cubicBezTo>
                      <a:pt x="10" y="8"/>
                      <a:pt x="9" y="4"/>
                      <a:pt x="10" y="4"/>
                    </a:cubicBezTo>
                    <a:cubicBezTo>
                      <a:pt x="10" y="4"/>
                      <a:pt x="7" y="5"/>
                      <a:pt x="7" y="6"/>
                    </a:cubicBezTo>
                    <a:cubicBezTo>
                      <a:pt x="7" y="7"/>
                      <a:pt x="6" y="7"/>
                      <a:pt x="5" y="8"/>
                    </a:cubicBezTo>
                    <a:cubicBezTo>
                      <a:pt x="5" y="9"/>
                      <a:pt x="3" y="12"/>
                      <a:pt x="5" y="12"/>
                    </a:cubicBezTo>
                    <a:cubicBezTo>
                      <a:pt x="5" y="12"/>
                      <a:pt x="4" y="12"/>
                      <a:pt x="3" y="12"/>
                    </a:cubicBezTo>
                    <a:cubicBezTo>
                      <a:pt x="3" y="12"/>
                      <a:pt x="4" y="12"/>
                      <a:pt x="4" y="12"/>
                    </a:cubicBezTo>
                    <a:cubicBezTo>
                      <a:pt x="4" y="12"/>
                      <a:pt x="3" y="12"/>
                      <a:pt x="3" y="12"/>
                    </a:cubicBezTo>
                    <a:cubicBezTo>
                      <a:pt x="2" y="13"/>
                      <a:pt x="4" y="14"/>
                      <a:pt x="4" y="14"/>
                    </a:cubicBezTo>
                    <a:cubicBezTo>
                      <a:pt x="4" y="13"/>
                      <a:pt x="2" y="13"/>
                      <a:pt x="2" y="13"/>
                    </a:cubicBezTo>
                    <a:cubicBezTo>
                      <a:pt x="2" y="13"/>
                      <a:pt x="3" y="14"/>
                      <a:pt x="3" y="14"/>
                    </a:cubicBezTo>
                    <a:cubicBezTo>
                      <a:pt x="3" y="14"/>
                      <a:pt x="2" y="13"/>
                      <a:pt x="1" y="14"/>
                    </a:cubicBezTo>
                    <a:cubicBezTo>
                      <a:pt x="1" y="14"/>
                      <a:pt x="2" y="15"/>
                      <a:pt x="2" y="15"/>
                    </a:cubicBezTo>
                    <a:cubicBezTo>
                      <a:pt x="2" y="14"/>
                      <a:pt x="1" y="14"/>
                      <a:pt x="0" y="15"/>
                    </a:cubicBezTo>
                    <a:cubicBezTo>
                      <a:pt x="1" y="15"/>
                      <a:pt x="4" y="16"/>
                      <a:pt x="5" y="14"/>
                    </a:cubicBezTo>
                    <a:cubicBezTo>
                      <a:pt x="5" y="14"/>
                      <a:pt x="5" y="15"/>
                      <a:pt x="5" y="1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2" name="Freeform 654">
                <a:extLst>
                  <a:ext uri="{FF2B5EF4-FFF2-40B4-BE49-F238E27FC236}">
                    <a16:creationId xmlns:a16="http://schemas.microsoft.com/office/drawing/2014/main" id="{DE0ABF31-7460-42D4-AD75-B06753248B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162" y="2992250"/>
                <a:ext cx="70082" cy="103530"/>
              </a:xfrm>
              <a:custGeom>
                <a:avLst/>
                <a:gdLst>
                  <a:gd name="T0" fmla="*/ 10 w 15"/>
                  <a:gd name="T1" fmla="*/ 21 h 22"/>
                  <a:gd name="T2" fmla="*/ 8 w 15"/>
                  <a:gd name="T3" fmla="*/ 17 h 22"/>
                  <a:gd name="T4" fmla="*/ 11 w 15"/>
                  <a:gd name="T5" fmla="*/ 12 h 22"/>
                  <a:gd name="T6" fmla="*/ 11 w 15"/>
                  <a:gd name="T7" fmla="*/ 13 h 22"/>
                  <a:gd name="T8" fmla="*/ 15 w 15"/>
                  <a:gd name="T9" fmla="*/ 10 h 22"/>
                  <a:gd name="T10" fmla="*/ 11 w 15"/>
                  <a:gd name="T11" fmla="*/ 7 h 22"/>
                  <a:gd name="T12" fmla="*/ 10 w 15"/>
                  <a:gd name="T13" fmla="*/ 5 h 22"/>
                  <a:gd name="T14" fmla="*/ 12 w 15"/>
                  <a:gd name="T15" fmla="*/ 4 h 22"/>
                  <a:gd name="T16" fmla="*/ 12 w 15"/>
                  <a:gd name="T17" fmla="*/ 1 h 22"/>
                  <a:gd name="T18" fmla="*/ 11 w 15"/>
                  <a:gd name="T19" fmla="*/ 1 h 22"/>
                  <a:gd name="T20" fmla="*/ 7 w 15"/>
                  <a:gd name="T21" fmla="*/ 4 h 22"/>
                  <a:gd name="T22" fmla="*/ 2 w 15"/>
                  <a:gd name="T23" fmla="*/ 5 h 22"/>
                  <a:gd name="T24" fmla="*/ 4 w 15"/>
                  <a:gd name="T25" fmla="*/ 6 h 22"/>
                  <a:gd name="T26" fmla="*/ 6 w 15"/>
                  <a:gd name="T27" fmla="*/ 8 h 22"/>
                  <a:gd name="T28" fmla="*/ 4 w 15"/>
                  <a:gd name="T29" fmla="*/ 8 h 22"/>
                  <a:gd name="T30" fmla="*/ 2 w 15"/>
                  <a:gd name="T31" fmla="*/ 8 h 22"/>
                  <a:gd name="T32" fmla="*/ 0 w 15"/>
                  <a:gd name="T33" fmla="*/ 9 h 22"/>
                  <a:gd name="T34" fmla="*/ 0 w 15"/>
                  <a:gd name="T35" fmla="*/ 14 h 22"/>
                  <a:gd name="T36" fmla="*/ 2 w 15"/>
                  <a:gd name="T37" fmla="*/ 16 h 22"/>
                  <a:gd name="T38" fmla="*/ 2 w 15"/>
                  <a:gd name="T39" fmla="*/ 20 h 22"/>
                  <a:gd name="T40" fmla="*/ 10 w 15"/>
                  <a:gd name="T41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" h="22">
                    <a:moveTo>
                      <a:pt x="10" y="21"/>
                    </a:moveTo>
                    <a:cubicBezTo>
                      <a:pt x="10" y="20"/>
                      <a:pt x="6" y="18"/>
                      <a:pt x="8" y="17"/>
                    </a:cubicBezTo>
                    <a:cubicBezTo>
                      <a:pt x="9" y="16"/>
                      <a:pt x="9" y="13"/>
                      <a:pt x="11" y="12"/>
                    </a:cubicBezTo>
                    <a:cubicBezTo>
                      <a:pt x="11" y="12"/>
                      <a:pt x="11" y="13"/>
                      <a:pt x="11" y="13"/>
                    </a:cubicBezTo>
                    <a:cubicBezTo>
                      <a:pt x="12" y="13"/>
                      <a:pt x="15" y="11"/>
                      <a:pt x="15" y="10"/>
                    </a:cubicBezTo>
                    <a:cubicBezTo>
                      <a:pt x="15" y="9"/>
                      <a:pt x="11" y="9"/>
                      <a:pt x="11" y="7"/>
                    </a:cubicBezTo>
                    <a:cubicBezTo>
                      <a:pt x="11" y="6"/>
                      <a:pt x="10" y="6"/>
                      <a:pt x="10" y="5"/>
                    </a:cubicBezTo>
                    <a:cubicBezTo>
                      <a:pt x="10" y="4"/>
                      <a:pt x="12" y="5"/>
                      <a:pt x="12" y="4"/>
                    </a:cubicBezTo>
                    <a:cubicBezTo>
                      <a:pt x="12" y="3"/>
                      <a:pt x="12" y="2"/>
                      <a:pt x="12" y="1"/>
                    </a:cubicBezTo>
                    <a:cubicBezTo>
                      <a:pt x="12" y="0"/>
                      <a:pt x="12" y="1"/>
                      <a:pt x="11" y="1"/>
                    </a:cubicBezTo>
                    <a:cubicBezTo>
                      <a:pt x="8" y="1"/>
                      <a:pt x="9" y="2"/>
                      <a:pt x="7" y="4"/>
                    </a:cubicBezTo>
                    <a:cubicBezTo>
                      <a:pt x="6" y="5"/>
                      <a:pt x="3" y="3"/>
                      <a:pt x="2" y="5"/>
                    </a:cubicBezTo>
                    <a:cubicBezTo>
                      <a:pt x="0" y="7"/>
                      <a:pt x="3" y="7"/>
                      <a:pt x="4" y="6"/>
                    </a:cubicBezTo>
                    <a:cubicBezTo>
                      <a:pt x="5" y="5"/>
                      <a:pt x="7" y="6"/>
                      <a:pt x="6" y="8"/>
                    </a:cubicBezTo>
                    <a:cubicBezTo>
                      <a:pt x="6" y="7"/>
                      <a:pt x="4" y="6"/>
                      <a:pt x="4" y="8"/>
                    </a:cubicBezTo>
                    <a:cubicBezTo>
                      <a:pt x="3" y="8"/>
                      <a:pt x="2" y="9"/>
                      <a:pt x="2" y="8"/>
                    </a:cubicBezTo>
                    <a:cubicBezTo>
                      <a:pt x="2" y="9"/>
                      <a:pt x="0" y="7"/>
                      <a:pt x="0" y="9"/>
                    </a:cubicBezTo>
                    <a:cubicBezTo>
                      <a:pt x="0" y="11"/>
                      <a:pt x="0" y="12"/>
                      <a:pt x="0" y="14"/>
                    </a:cubicBezTo>
                    <a:cubicBezTo>
                      <a:pt x="1" y="15"/>
                      <a:pt x="2" y="15"/>
                      <a:pt x="2" y="16"/>
                    </a:cubicBezTo>
                    <a:cubicBezTo>
                      <a:pt x="3" y="18"/>
                      <a:pt x="1" y="19"/>
                      <a:pt x="2" y="20"/>
                    </a:cubicBezTo>
                    <a:cubicBezTo>
                      <a:pt x="4" y="22"/>
                      <a:pt x="8" y="21"/>
                      <a:pt x="10" y="2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3" name="Freeform 655">
                <a:extLst>
                  <a:ext uri="{FF2B5EF4-FFF2-40B4-BE49-F238E27FC236}">
                    <a16:creationId xmlns:a16="http://schemas.microsoft.com/office/drawing/2014/main" id="{C1B83C7A-64A7-467C-B61E-248A6C489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0193" y="3086226"/>
                <a:ext cx="208653" cy="242101"/>
              </a:xfrm>
              <a:custGeom>
                <a:avLst/>
                <a:gdLst>
                  <a:gd name="T0" fmla="*/ 44 w 45"/>
                  <a:gd name="T1" fmla="*/ 24 h 52"/>
                  <a:gd name="T2" fmla="*/ 43 w 45"/>
                  <a:gd name="T3" fmla="*/ 18 h 52"/>
                  <a:gd name="T4" fmla="*/ 42 w 45"/>
                  <a:gd name="T5" fmla="*/ 12 h 52"/>
                  <a:gd name="T6" fmla="*/ 41 w 45"/>
                  <a:gd name="T7" fmla="*/ 7 h 52"/>
                  <a:gd name="T8" fmla="*/ 38 w 45"/>
                  <a:gd name="T9" fmla="*/ 4 h 52"/>
                  <a:gd name="T10" fmla="*/ 38 w 45"/>
                  <a:gd name="T11" fmla="*/ 2 h 52"/>
                  <a:gd name="T12" fmla="*/ 37 w 45"/>
                  <a:gd name="T13" fmla="*/ 5 h 52"/>
                  <a:gd name="T14" fmla="*/ 33 w 45"/>
                  <a:gd name="T15" fmla="*/ 4 h 52"/>
                  <a:gd name="T16" fmla="*/ 25 w 45"/>
                  <a:gd name="T17" fmla="*/ 7 h 52"/>
                  <a:gd name="T18" fmla="*/ 26 w 45"/>
                  <a:gd name="T19" fmla="*/ 4 h 52"/>
                  <a:gd name="T20" fmla="*/ 21 w 45"/>
                  <a:gd name="T21" fmla="*/ 4 h 52"/>
                  <a:gd name="T22" fmla="*/ 20 w 45"/>
                  <a:gd name="T23" fmla="*/ 1 h 52"/>
                  <a:gd name="T24" fmla="*/ 13 w 45"/>
                  <a:gd name="T25" fmla="*/ 0 h 52"/>
                  <a:gd name="T26" fmla="*/ 15 w 45"/>
                  <a:gd name="T27" fmla="*/ 3 h 52"/>
                  <a:gd name="T28" fmla="*/ 15 w 45"/>
                  <a:gd name="T29" fmla="*/ 6 h 52"/>
                  <a:gd name="T30" fmla="*/ 17 w 45"/>
                  <a:gd name="T31" fmla="*/ 7 h 52"/>
                  <a:gd name="T32" fmla="*/ 20 w 45"/>
                  <a:gd name="T33" fmla="*/ 9 h 52"/>
                  <a:gd name="T34" fmla="*/ 15 w 45"/>
                  <a:gd name="T35" fmla="*/ 8 h 52"/>
                  <a:gd name="T36" fmla="*/ 14 w 45"/>
                  <a:gd name="T37" fmla="*/ 8 h 52"/>
                  <a:gd name="T38" fmla="*/ 13 w 45"/>
                  <a:gd name="T39" fmla="*/ 10 h 52"/>
                  <a:gd name="T40" fmla="*/ 6 w 45"/>
                  <a:gd name="T41" fmla="*/ 10 h 52"/>
                  <a:gd name="T42" fmla="*/ 6 w 45"/>
                  <a:gd name="T43" fmla="*/ 15 h 52"/>
                  <a:gd name="T44" fmla="*/ 6 w 45"/>
                  <a:gd name="T45" fmla="*/ 17 h 52"/>
                  <a:gd name="T46" fmla="*/ 1 w 45"/>
                  <a:gd name="T47" fmla="*/ 22 h 52"/>
                  <a:gd name="T48" fmla="*/ 2 w 45"/>
                  <a:gd name="T49" fmla="*/ 26 h 52"/>
                  <a:gd name="T50" fmla="*/ 2 w 45"/>
                  <a:gd name="T51" fmla="*/ 30 h 52"/>
                  <a:gd name="T52" fmla="*/ 1 w 45"/>
                  <a:gd name="T53" fmla="*/ 33 h 52"/>
                  <a:gd name="T54" fmla="*/ 3 w 45"/>
                  <a:gd name="T55" fmla="*/ 37 h 52"/>
                  <a:gd name="T56" fmla="*/ 11 w 45"/>
                  <a:gd name="T57" fmla="*/ 40 h 52"/>
                  <a:gd name="T58" fmla="*/ 9 w 45"/>
                  <a:gd name="T59" fmla="*/ 49 h 52"/>
                  <a:gd name="T60" fmla="*/ 19 w 45"/>
                  <a:gd name="T61" fmla="*/ 49 h 52"/>
                  <a:gd name="T62" fmla="*/ 23 w 45"/>
                  <a:gd name="T63" fmla="*/ 51 h 52"/>
                  <a:gd name="T64" fmla="*/ 26 w 45"/>
                  <a:gd name="T65" fmla="*/ 50 h 52"/>
                  <a:gd name="T66" fmla="*/ 33 w 45"/>
                  <a:gd name="T67" fmla="*/ 49 h 52"/>
                  <a:gd name="T68" fmla="*/ 36 w 45"/>
                  <a:gd name="T69" fmla="*/ 49 h 52"/>
                  <a:gd name="T70" fmla="*/ 36 w 45"/>
                  <a:gd name="T71" fmla="*/ 45 h 52"/>
                  <a:gd name="T72" fmla="*/ 40 w 45"/>
                  <a:gd name="T73" fmla="*/ 43 h 52"/>
                  <a:gd name="T74" fmla="*/ 35 w 45"/>
                  <a:gd name="T75" fmla="*/ 37 h 52"/>
                  <a:gd name="T76" fmla="*/ 32 w 45"/>
                  <a:gd name="T77" fmla="*/ 31 h 52"/>
                  <a:gd name="T78" fmla="*/ 41 w 45"/>
                  <a:gd name="T79" fmla="*/ 26 h 52"/>
                  <a:gd name="T80" fmla="*/ 44 w 45"/>
                  <a:gd name="T81" fmla="*/ 28 h 52"/>
                  <a:gd name="T82" fmla="*/ 44 w 45"/>
                  <a:gd name="T83" fmla="*/ 24 h 52"/>
                  <a:gd name="T84" fmla="*/ 44 w 45"/>
                  <a:gd name="T85" fmla="*/ 2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" h="52">
                    <a:moveTo>
                      <a:pt x="44" y="24"/>
                    </a:moveTo>
                    <a:cubicBezTo>
                      <a:pt x="43" y="22"/>
                      <a:pt x="43" y="20"/>
                      <a:pt x="43" y="18"/>
                    </a:cubicBezTo>
                    <a:cubicBezTo>
                      <a:pt x="42" y="16"/>
                      <a:pt x="41" y="15"/>
                      <a:pt x="42" y="12"/>
                    </a:cubicBezTo>
                    <a:cubicBezTo>
                      <a:pt x="43" y="10"/>
                      <a:pt x="42" y="8"/>
                      <a:pt x="41" y="7"/>
                    </a:cubicBezTo>
                    <a:cubicBezTo>
                      <a:pt x="40" y="6"/>
                      <a:pt x="38" y="5"/>
                      <a:pt x="38" y="4"/>
                    </a:cubicBezTo>
                    <a:cubicBezTo>
                      <a:pt x="38" y="4"/>
                      <a:pt x="39" y="3"/>
                      <a:pt x="38" y="2"/>
                    </a:cubicBezTo>
                    <a:cubicBezTo>
                      <a:pt x="37" y="2"/>
                      <a:pt x="37" y="5"/>
                      <a:pt x="37" y="5"/>
                    </a:cubicBezTo>
                    <a:cubicBezTo>
                      <a:pt x="35" y="5"/>
                      <a:pt x="35" y="4"/>
                      <a:pt x="33" y="4"/>
                    </a:cubicBezTo>
                    <a:cubicBezTo>
                      <a:pt x="31" y="5"/>
                      <a:pt x="28" y="7"/>
                      <a:pt x="25" y="7"/>
                    </a:cubicBezTo>
                    <a:cubicBezTo>
                      <a:pt x="24" y="6"/>
                      <a:pt x="26" y="5"/>
                      <a:pt x="26" y="4"/>
                    </a:cubicBezTo>
                    <a:cubicBezTo>
                      <a:pt x="24" y="4"/>
                      <a:pt x="23" y="5"/>
                      <a:pt x="21" y="4"/>
                    </a:cubicBezTo>
                    <a:cubicBezTo>
                      <a:pt x="20" y="3"/>
                      <a:pt x="23" y="1"/>
                      <a:pt x="20" y="1"/>
                    </a:cubicBezTo>
                    <a:cubicBezTo>
                      <a:pt x="18" y="1"/>
                      <a:pt x="16" y="1"/>
                      <a:pt x="13" y="0"/>
                    </a:cubicBezTo>
                    <a:cubicBezTo>
                      <a:pt x="14" y="1"/>
                      <a:pt x="15" y="1"/>
                      <a:pt x="15" y="3"/>
                    </a:cubicBezTo>
                    <a:cubicBezTo>
                      <a:pt x="14" y="4"/>
                      <a:pt x="14" y="4"/>
                      <a:pt x="15" y="6"/>
                    </a:cubicBezTo>
                    <a:cubicBezTo>
                      <a:pt x="15" y="8"/>
                      <a:pt x="15" y="7"/>
                      <a:pt x="17" y="7"/>
                    </a:cubicBezTo>
                    <a:cubicBezTo>
                      <a:pt x="18" y="7"/>
                      <a:pt x="19" y="8"/>
                      <a:pt x="20" y="9"/>
                    </a:cubicBezTo>
                    <a:cubicBezTo>
                      <a:pt x="19" y="8"/>
                      <a:pt x="16" y="8"/>
                      <a:pt x="15" y="8"/>
                    </a:cubicBezTo>
                    <a:cubicBezTo>
                      <a:pt x="15" y="8"/>
                      <a:pt x="14" y="8"/>
                      <a:pt x="14" y="8"/>
                    </a:cubicBezTo>
                    <a:cubicBezTo>
                      <a:pt x="13" y="9"/>
                      <a:pt x="14" y="10"/>
                      <a:pt x="13" y="10"/>
                    </a:cubicBezTo>
                    <a:cubicBezTo>
                      <a:pt x="11" y="11"/>
                      <a:pt x="7" y="6"/>
                      <a:pt x="6" y="10"/>
                    </a:cubicBezTo>
                    <a:cubicBezTo>
                      <a:pt x="7" y="12"/>
                      <a:pt x="8" y="14"/>
                      <a:pt x="6" y="15"/>
                    </a:cubicBezTo>
                    <a:cubicBezTo>
                      <a:pt x="5" y="17"/>
                      <a:pt x="5" y="15"/>
                      <a:pt x="6" y="17"/>
                    </a:cubicBezTo>
                    <a:cubicBezTo>
                      <a:pt x="6" y="22"/>
                      <a:pt x="0" y="20"/>
                      <a:pt x="1" y="22"/>
                    </a:cubicBezTo>
                    <a:cubicBezTo>
                      <a:pt x="1" y="23"/>
                      <a:pt x="2" y="24"/>
                      <a:pt x="2" y="26"/>
                    </a:cubicBezTo>
                    <a:cubicBezTo>
                      <a:pt x="2" y="28"/>
                      <a:pt x="1" y="28"/>
                      <a:pt x="2" y="30"/>
                    </a:cubicBezTo>
                    <a:cubicBezTo>
                      <a:pt x="3" y="31"/>
                      <a:pt x="0" y="33"/>
                      <a:pt x="1" y="33"/>
                    </a:cubicBezTo>
                    <a:cubicBezTo>
                      <a:pt x="3" y="34"/>
                      <a:pt x="2" y="36"/>
                      <a:pt x="3" y="37"/>
                    </a:cubicBezTo>
                    <a:cubicBezTo>
                      <a:pt x="4" y="40"/>
                      <a:pt x="8" y="39"/>
                      <a:pt x="11" y="40"/>
                    </a:cubicBezTo>
                    <a:cubicBezTo>
                      <a:pt x="11" y="40"/>
                      <a:pt x="9" y="48"/>
                      <a:pt x="9" y="49"/>
                    </a:cubicBezTo>
                    <a:cubicBezTo>
                      <a:pt x="13" y="49"/>
                      <a:pt x="15" y="48"/>
                      <a:pt x="19" y="49"/>
                    </a:cubicBezTo>
                    <a:cubicBezTo>
                      <a:pt x="19" y="49"/>
                      <a:pt x="23" y="52"/>
                      <a:pt x="23" y="51"/>
                    </a:cubicBezTo>
                    <a:cubicBezTo>
                      <a:pt x="24" y="49"/>
                      <a:pt x="25" y="49"/>
                      <a:pt x="26" y="50"/>
                    </a:cubicBezTo>
                    <a:cubicBezTo>
                      <a:pt x="27" y="51"/>
                      <a:pt x="32" y="48"/>
                      <a:pt x="33" y="49"/>
                    </a:cubicBezTo>
                    <a:cubicBezTo>
                      <a:pt x="33" y="49"/>
                      <a:pt x="37" y="50"/>
                      <a:pt x="36" y="49"/>
                    </a:cubicBezTo>
                    <a:cubicBezTo>
                      <a:pt x="35" y="46"/>
                      <a:pt x="34" y="46"/>
                      <a:pt x="36" y="45"/>
                    </a:cubicBezTo>
                    <a:cubicBezTo>
                      <a:pt x="38" y="43"/>
                      <a:pt x="38" y="43"/>
                      <a:pt x="40" y="43"/>
                    </a:cubicBezTo>
                    <a:cubicBezTo>
                      <a:pt x="41" y="42"/>
                      <a:pt x="36" y="38"/>
                      <a:pt x="35" y="37"/>
                    </a:cubicBezTo>
                    <a:cubicBezTo>
                      <a:pt x="34" y="37"/>
                      <a:pt x="31" y="32"/>
                      <a:pt x="32" y="31"/>
                    </a:cubicBezTo>
                    <a:cubicBezTo>
                      <a:pt x="36" y="30"/>
                      <a:pt x="38" y="29"/>
                      <a:pt x="41" y="26"/>
                    </a:cubicBezTo>
                    <a:cubicBezTo>
                      <a:pt x="42" y="25"/>
                      <a:pt x="43" y="29"/>
                      <a:pt x="44" y="28"/>
                    </a:cubicBezTo>
                    <a:cubicBezTo>
                      <a:pt x="45" y="27"/>
                      <a:pt x="45" y="25"/>
                      <a:pt x="44" y="24"/>
                    </a:cubicBezTo>
                    <a:cubicBezTo>
                      <a:pt x="44" y="23"/>
                      <a:pt x="44" y="24"/>
                      <a:pt x="44" y="2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4" name="Freeform 656">
                <a:extLst>
                  <a:ext uri="{FF2B5EF4-FFF2-40B4-BE49-F238E27FC236}">
                    <a16:creationId xmlns:a16="http://schemas.microsoft.com/office/drawing/2014/main" id="{FF5FC68F-D991-4B20-B766-C2C88D354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8124" y="3161084"/>
                <a:ext cx="415714" cy="246881"/>
              </a:xfrm>
              <a:custGeom>
                <a:avLst/>
                <a:gdLst>
                  <a:gd name="T0" fmla="*/ 0 w 89"/>
                  <a:gd name="T1" fmla="*/ 27 h 53"/>
                  <a:gd name="T2" fmla="*/ 9 w 89"/>
                  <a:gd name="T3" fmla="*/ 30 h 53"/>
                  <a:gd name="T4" fmla="*/ 16 w 89"/>
                  <a:gd name="T5" fmla="*/ 31 h 53"/>
                  <a:gd name="T6" fmla="*/ 22 w 89"/>
                  <a:gd name="T7" fmla="*/ 28 h 53"/>
                  <a:gd name="T8" fmla="*/ 33 w 89"/>
                  <a:gd name="T9" fmla="*/ 30 h 53"/>
                  <a:gd name="T10" fmla="*/ 40 w 89"/>
                  <a:gd name="T11" fmla="*/ 41 h 53"/>
                  <a:gd name="T12" fmla="*/ 44 w 89"/>
                  <a:gd name="T13" fmla="*/ 38 h 53"/>
                  <a:gd name="T14" fmla="*/ 47 w 89"/>
                  <a:gd name="T15" fmla="*/ 41 h 53"/>
                  <a:gd name="T16" fmla="*/ 57 w 89"/>
                  <a:gd name="T17" fmla="*/ 42 h 53"/>
                  <a:gd name="T18" fmla="*/ 51 w 89"/>
                  <a:gd name="T19" fmla="*/ 46 h 53"/>
                  <a:gd name="T20" fmla="*/ 55 w 89"/>
                  <a:gd name="T21" fmla="*/ 49 h 53"/>
                  <a:gd name="T22" fmla="*/ 59 w 89"/>
                  <a:gd name="T23" fmla="*/ 51 h 53"/>
                  <a:gd name="T24" fmla="*/ 67 w 89"/>
                  <a:gd name="T25" fmla="*/ 48 h 53"/>
                  <a:gd name="T26" fmla="*/ 72 w 89"/>
                  <a:gd name="T27" fmla="*/ 46 h 53"/>
                  <a:gd name="T28" fmla="*/ 68 w 89"/>
                  <a:gd name="T29" fmla="*/ 46 h 53"/>
                  <a:gd name="T30" fmla="*/ 63 w 89"/>
                  <a:gd name="T31" fmla="*/ 44 h 53"/>
                  <a:gd name="T32" fmla="*/ 72 w 89"/>
                  <a:gd name="T33" fmla="*/ 38 h 53"/>
                  <a:gd name="T34" fmla="*/ 78 w 89"/>
                  <a:gd name="T35" fmla="*/ 35 h 53"/>
                  <a:gd name="T36" fmla="*/ 84 w 89"/>
                  <a:gd name="T37" fmla="*/ 31 h 53"/>
                  <a:gd name="T38" fmla="*/ 87 w 89"/>
                  <a:gd name="T39" fmla="*/ 28 h 53"/>
                  <a:gd name="T40" fmla="*/ 86 w 89"/>
                  <a:gd name="T41" fmla="*/ 26 h 53"/>
                  <a:gd name="T42" fmla="*/ 88 w 89"/>
                  <a:gd name="T43" fmla="*/ 25 h 53"/>
                  <a:gd name="T44" fmla="*/ 86 w 89"/>
                  <a:gd name="T45" fmla="*/ 24 h 53"/>
                  <a:gd name="T46" fmla="*/ 88 w 89"/>
                  <a:gd name="T47" fmla="*/ 21 h 53"/>
                  <a:gd name="T48" fmla="*/ 85 w 89"/>
                  <a:gd name="T49" fmla="*/ 19 h 53"/>
                  <a:gd name="T50" fmla="*/ 82 w 89"/>
                  <a:gd name="T51" fmla="*/ 18 h 53"/>
                  <a:gd name="T52" fmla="*/ 78 w 89"/>
                  <a:gd name="T53" fmla="*/ 18 h 53"/>
                  <a:gd name="T54" fmla="*/ 75 w 89"/>
                  <a:gd name="T55" fmla="*/ 15 h 53"/>
                  <a:gd name="T56" fmla="*/ 72 w 89"/>
                  <a:gd name="T57" fmla="*/ 17 h 53"/>
                  <a:gd name="T58" fmla="*/ 69 w 89"/>
                  <a:gd name="T59" fmla="*/ 14 h 53"/>
                  <a:gd name="T60" fmla="*/ 65 w 89"/>
                  <a:gd name="T61" fmla="*/ 14 h 53"/>
                  <a:gd name="T62" fmla="*/ 64 w 89"/>
                  <a:gd name="T63" fmla="*/ 10 h 53"/>
                  <a:gd name="T64" fmla="*/ 60 w 89"/>
                  <a:gd name="T65" fmla="*/ 9 h 53"/>
                  <a:gd name="T66" fmla="*/ 60 w 89"/>
                  <a:gd name="T67" fmla="*/ 5 h 53"/>
                  <a:gd name="T68" fmla="*/ 58 w 89"/>
                  <a:gd name="T69" fmla="*/ 2 h 53"/>
                  <a:gd name="T70" fmla="*/ 53 w 89"/>
                  <a:gd name="T71" fmla="*/ 1 h 53"/>
                  <a:gd name="T72" fmla="*/ 47 w 89"/>
                  <a:gd name="T73" fmla="*/ 2 h 53"/>
                  <a:gd name="T74" fmla="*/ 43 w 89"/>
                  <a:gd name="T75" fmla="*/ 3 h 53"/>
                  <a:gd name="T76" fmla="*/ 41 w 89"/>
                  <a:gd name="T77" fmla="*/ 9 h 53"/>
                  <a:gd name="T78" fmla="*/ 38 w 89"/>
                  <a:gd name="T79" fmla="*/ 7 h 53"/>
                  <a:gd name="T80" fmla="*/ 36 w 89"/>
                  <a:gd name="T81" fmla="*/ 8 h 53"/>
                  <a:gd name="T82" fmla="*/ 34 w 89"/>
                  <a:gd name="T83" fmla="*/ 6 h 53"/>
                  <a:gd name="T84" fmla="*/ 31 w 89"/>
                  <a:gd name="T85" fmla="*/ 7 h 53"/>
                  <a:gd name="T86" fmla="*/ 29 w 89"/>
                  <a:gd name="T87" fmla="*/ 6 h 53"/>
                  <a:gd name="T88" fmla="*/ 28 w 89"/>
                  <a:gd name="T89" fmla="*/ 8 h 53"/>
                  <a:gd name="T90" fmla="*/ 21 w 89"/>
                  <a:gd name="T91" fmla="*/ 5 h 53"/>
                  <a:gd name="T92" fmla="*/ 12 w 89"/>
                  <a:gd name="T93" fmla="*/ 4 h 53"/>
                  <a:gd name="T94" fmla="*/ 6 w 89"/>
                  <a:gd name="T95" fmla="*/ 6 h 53"/>
                  <a:gd name="T96" fmla="*/ 9 w 89"/>
                  <a:gd name="T97" fmla="*/ 11 h 53"/>
                  <a:gd name="T98" fmla="*/ 10 w 89"/>
                  <a:gd name="T99" fmla="*/ 14 h 53"/>
                  <a:gd name="T100" fmla="*/ 5 w 89"/>
                  <a:gd name="T101" fmla="*/ 16 h 53"/>
                  <a:gd name="T102" fmla="*/ 2 w 89"/>
                  <a:gd name="T103" fmla="*/ 23 h 53"/>
                  <a:gd name="T104" fmla="*/ 0 w 89"/>
                  <a:gd name="T105" fmla="*/ 2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9" h="53">
                    <a:moveTo>
                      <a:pt x="0" y="27"/>
                    </a:moveTo>
                    <a:cubicBezTo>
                      <a:pt x="0" y="30"/>
                      <a:pt x="7" y="30"/>
                      <a:pt x="9" y="30"/>
                    </a:cubicBezTo>
                    <a:cubicBezTo>
                      <a:pt x="11" y="30"/>
                      <a:pt x="13" y="32"/>
                      <a:pt x="16" y="31"/>
                    </a:cubicBezTo>
                    <a:cubicBezTo>
                      <a:pt x="17" y="29"/>
                      <a:pt x="20" y="28"/>
                      <a:pt x="22" y="28"/>
                    </a:cubicBezTo>
                    <a:cubicBezTo>
                      <a:pt x="25" y="26"/>
                      <a:pt x="31" y="28"/>
                      <a:pt x="33" y="30"/>
                    </a:cubicBezTo>
                    <a:cubicBezTo>
                      <a:pt x="36" y="34"/>
                      <a:pt x="37" y="38"/>
                      <a:pt x="40" y="41"/>
                    </a:cubicBezTo>
                    <a:cubicBezTo>
                      <a:pt x="42" y="40"/>
                      <a:pt x="42" y="39"/>
                      <a:pt x="44" y="38"/>
                    </a:cubicBezTo>
                    <a:cubicBezTo>
                      <a:pt x="46" y="38"/>
                      <a:pt x="46" y="40"/>
                      <a:pt x="47" y="41"/>
                    </a:cubicBezTo>
                    <a:cubicBezTo>
                      <a:pt x="48" y="42"/>
                      <a:pt x="57" y="43"/>
                      <a:pt x="57" y="42"/>
                    </a:cubicBezTo>
                    <a:cubicBezTo>
                      <a:pt x="57" y="43"/>
                      <a:pt x="51" y="45"/>
                      <a:pt x="51" y="46"/>
                    </a:cubicBezTo>
                    <a:cubicBezTo>
                      <a:pt x="52" y="47"/>
                      <a:pt x="56" y="46"/>
                      <a:pt x="55" y="49"/>
                    </a:cubicBezTo>
                    <a:cubicBezTo>
                      <a:pt x="54" y="51"/>
                      <a:pt x="57" y="53"/>
                      <a:pt x="59" y="51"/>
                    </a:cubicBezTo>
                    <a:cubicBezTo>
                      <a:pt x="61" y="50"/>
                      <a:pt x="64" y="48"/>
                      <a:pt x="67" y="48"/>
                    </a:cubicBezTo>
                    <a:cubicBezTo>
                      <a:pt x="70" y="48"/>
                      <a:pt x="71" y="48"/>
                      <a:pt x="72" y="46"/>
                    </a:cubicBezTo>
                    <a:cubicBezTo>
                      <a:pt x="72" y="46"/>
                      <a:pt x="69" y="46"/>
                      <a:pt x="68" y="46"/>
                    </a:cubicBezTo>
                    <a:cubicBezTo>
                      <a:pt x="66" y="46"/>
                      <a:pt x="64" y="47"/>
                      <a:pt x="63" y="44"/>
                    </a:cubicBezTo>
                    <a:cubicBezTo>
                      <a:pt x="60" y="40"/>
                      <a:pt x="70" y="38"/>
                      <a:pt x="72" y="38"/>
                    </a:cubicBezTo>
                    <a:cubicBezTo>
                      <a:pt x="74" y="37"/>
                      <a:pt x="76" y="36"/>
                      <a:pt x="78" y="35"/>
                    </a:cubicBezTo>
                    <a:cubicBezTo>
                      <a:pt x="79" y="33"/>
                      <a:pt x="81" y="31"/>
                      <a:pt x="84" y="31"/>
                    </a:cubicBezTo>
                    <a:cubicBezTo>
                      <a:pt x="85" y="31"/>
                      <a:pt x="87" y="31"/>
                      <a:pt x="87" y="28"/>
                    </a:cubicBezTo>
                    <a:cubicBezTo>
                      <a:pt x="87" y="27"/>
                      <a:pt x="86" y="27"/>
                      <a:pt x="86" y="26"/>
                    </a:cubicBezTo>
                    <a:cubicBezTo>
                      <a:pt x="86" y="25"/>
                      <a:pt x="88" y="25"/>
                      <a:pt x="88" y="25"/>
                    </a:cubicBezTo>
                    <a:cubicBezTo>
                      <a:pt x="88" y="25"/>
                      <a:pt x="86" y="24"/>
                      <a:pt x="86" y="24"/>
                    </a:cubicBezTo>
                    <a:cubicBezTo>
                      <a:pt x="86" y="23"/>
                      <a:pt x="89" y="23"/>
                      <a:pt x="88" y="21"/>
                    </a:cubicBezTo>
                    <a:cubicBezTo>
                      <a:pt x="88" y="21"/>
                      <a:pt x="86" y="20"/>
                      <a:pt x="85" y="19"/>
                    </a:cubicBezTo>
                    <a:cubicBezTo>
                      <a:pt x="84" y="18"/>
                      <a:pt x="83" y="20"/>
                      <a:pt x="82" y="18"/>
                    </a:cubicBezTo>
                    <a:cubicBezTo>
                      <a:pt x="81" y="17"/>
                      <a:pt x="80" y="17"/>
                      <a:pt x="78" y="18"/>
                    </a:cubicBezTo>
                    <a:cubicBezTo>
                      <a:pt x="77" y="18"/>
                      <a:pt x="76" y="15"/>
                      <a:pt x="75" y="15"/>
                    </a:cubicBezTo>
                    <a:cubicBezTo>
                      <a:pt x="74" y="14"/>
                      <a:pt x="73" y="16"/>
                      <a:pt x="72" y="17"/>
                    </a:cubicBezTo>
                    <a:cubicBezTo>
                      <a:pt x="71" y="17"/>
                      <a:pt x="70" y="14"/>
                      <a:pt x="69" y="14"/>
                    </a:cubicBezTo>
                    <a:cubicBezTo>
                      <a:pt x="68" y="14"/>
                      <a:pt x="65" y="15"/>
                      <a:pt x="65" y="14"/>
                    </a:cubicBezTo>
                    <a:cubicBezTo>
                      <a:pt x="65" y="13"/>
                      <a:pt x="65" y="11"/>
                      <a:pt x="64" y="10"/>
                    </a:cubicBezTo>
                    <a:cubicBezTo>
                      <a:pt x="63" y="9"/>
                      <a:pt x="61" y="10"/>
                      <a:pt x="60" y="9"/>
                    </a:cubicBezTo>
                    <a:cubicBezTo>
                      <a:pt x="59" y="8"/>
                      <a:pt x="58" y="6"/>
                      <a:pt x="60" y="5"/>
                    </a:cubicBezTo>
                    <a:cubicBezTo>
                      <a:pt x="61" y="5"/>
                      <a:pt x="59" y="2"/>
                      <a:pt x="58" y="2"/>
                    </a:cubicBezTo>
                    <a:cubicBezTo>
                      <a:pt x="57" y="1"/>
                      <a:pt x="54" y="2"/>
                      <a:pt x="53" y="1"/>
                    </a:cubicBezTo>
                    <a:cubicBezTo>
                      <a:pt x="50" y="0"/>
                      <a:pt x="50" y="6"/>
                      <a:pt x="47" y="2"/>
                    </a:cubicBezTo>
                    <a:cubicBezTo>
                      <a:pt x="46" y="2"/>
                      <a:pt x="44" y="3"/>
                      <a:pt x="43" y="3"/>
                    </a:cubicBezTo>
                    <a:cubicBezTo>
                      <a:pt x="41" y="4"/>
                      <a:pt x="42" y="9"/>
                      <a:pt x="41" y="9"/>
                    </a:cubicBezTo>
                    <a:cubicBezTo>
                      <a:pt x="40" y="9"/>
                      <a:pt x="39" y="7"/>
                      <a:pt x="38" y="7"/>
                    </a:cubicBezTo>
                    <a:cubicBezTo>
                      <a:pt x="38" y="7"/>
                      <a:pt x="37" y="8"/>
                      <a:pt x="36" y="8"/>
                    </a:cubicBezTo>
                    <a:cubicBezTo>
                      <a:pt x="35" y="8"/>
                      <a:pt x="34" y="7"/>
                      <a:pt x="34" y="6"/>
                    </a:cubicBezTo>
                    <a:cubicBezTo>
                      <a:pt x="34" y="5"/>
                      <a:pt x="32" y="7"/>
                      <a:pt x="31" y="7"/>
                    </a:cubicBezTo>
                    <a:cubicBezTo>
                      <a:pt x="30" y="7"/>
                      <a:pt x="30" y="6"/>
                      <a:pt x="29" y="6"/>
                    </a:cubicBezTo>
                    <a:cubicBezTo>
                      <a:pt x="28" y="6"/>
                      <a:pt x="28" y="7"/>
                      <a:pt x="28" y="8"/>
                    </a:cubicBezTo>
                    <a:cubicBezTo>
                      <a:pt x="28" y="8"/>
                      <a:pt x="21" y="5"/>
                      <a:pt x="21" y="5"/>
                    </a:cubicBezTo>
                    <a:cubicBezTo>
                      <a:pt x="18" y="4"/>
                      <a:pt x="15" y="4"/>
                      <a:pt x="12" y="4"/>
                    </a:cubicBezTo>
                    <a:cubicBezTo>
                      <a:pt x="10" y="4"/>
                      <a:pt x="9" y="6"/>
                      <a:pt x="6" y="6"/>
                    </a:cubicBezTo>
                    <a:cubicBezTo>
                      <a:pt x="6" y="9"/>
                      <a:pt x="9" y="9"/>
                      <a:pt x="9" y="11"/>
                    </a:cubicBezTo>
                    <a:cubicBezTo>
                      <a:pt x="9" y="12"/>
                      <a:pt x="10" y="13"/>
                      <a:pt x="10" y="14"/>
                    </a:cubicBezTo>
                    <a:cubicBezTo>
                      <a:pt x="9" y="15"/>
                      <a:pt x="6" y="15"/>
                      <a:pt x="5" y="16"/>
                    </a:cubicBezTo>
                    <a:cubicBezTo>
                      <a:pt x="2" y="18"/>
                      <a:pt x="3" y="20"/>
                      <a:pt x="2" y="23"/>
                    </a:cubicBezTo>
                    <a:cubicBezTo>
                      <a:pt x="2" y="25"/>
                      <a:pt x="1" y="26"/>
                      <a:pt x="0" y="2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5" name="Freeform 657">
                <a:extLst>
                  <a:ext uri="{FF2B5EF4-FFF2-40B4-BE49-F238E27FC236}">
                    <a16:creationId xmlns:a16="http://schemas.microsoft.com/office/drawing/2014/main" id="{984BC0B2-A367-4225-9684-89D006932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7517" y="3253465"/>
                <a:ext cx="140164" cy="57340"/>
              </a:xfrm>
              <a:custGeom>
                <a:avLst/>
                <a:gdLst>
                  <a:gd name="T0" fmla="*/ 30 w 30"/>
                  <a:gd name="T1" fmla="*/ 4 h 12"/>
                  <a:gd name="T2" fmla="*/ 22 w 30"/>
                  <a:gd name="T3" fmla="*/ 0 h 12"/>
                  <a:gd name="T4" fmla="*/ 17 w 30"/>
                  <a:gd name="T5" fmla="*/ 0 h 12"/>
                  <a:gd name="T6" fmla="*/ 14 w 30"/>
                  <a:gd name="T7" fmla="*/ 1 h 12"/>
                  <a:gd name="T8" fmla="*/ 11 w 30"/>
                  <a:gd name="T9" fmla="*/ 0 h 12"/>
                  <a:gd name="T10" fmla="*/ 8 w 30"/>
                  <a:gd name="T11" fmla="*/ 3 h 12"/>
                  <a:gd name="T12" fmla="*/ 3 w 30"/>
                  <a:gd name="T13" fmla="*/ 9 h 12"/>
                  <a:gd name="T14" fmla="*/ 11 w 30"/>
                  <a:gd name="T15" fmla="*/ 11 h 12"/>
                  <a:gd name="T16" fmla="*/ 13 w 30"/>
                  <a:gd name="T17" fmla="*/ 9 h 12"/>
                  <a:gd name="T18" fmla="*/ 18 w 30"/>
                  <a:gd name="T19" fmla="*/ 9 h 12"/>
                  <a:gd name="T20" fmla="*/ 19 w 30"/>
                  <a:gd name="T21" fmla="*/ 6 h 12"/>
                  <a:gd name="T22" fmla="*/ 24 w 30"/>
                  <a:gd name="T23" fmla="*/ 7 h 12"/>
                  <a:gd name="T24" fmla="*/ 28 w 30"/>
                  <a:gd name="T25" fmla="*/ 7 h 12"/>
                  <a:gd name="T26" fmla="*/ 30 w 30"/>
                  <a:gd name="T2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12">
                    <a:moveTo>
                      <a:pt x="30" y="4"/>
                    </a:moveTo>
                    <a:cubicBezTo>
                      <a:pt x="27" y="2"/>
                      <a:pt x="26" y="0"/>
                      <a:pt x="22" y="0"/>
                    </a:cubicBezTo>
                    <a:cubicBezTo>
                      <a:pt x="20" y="0"/>
                      <a:pt x="19" y="0"/>
                      <a:pt x="17" y="0"/>
                    </a:cubicBezTo>
                    <a:cubicBezTo>
                      <a:pt x="15" y="0"/>
                      <a:pt x="15" y="1"/>
                      <a:pt x="14" y="1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10" y="1"/>
                      <a:pt x="9" y="2"/>
                      <a:pt x="8" y="3"/>
                    </a:cubicBezTo>
                    <a:cubicBezTo>
                      <a:pt x="6" y="5"/>
                      <a:pt x="0" y="4"/>
                      <a:pt x="3" y="9"/>
                    </a:cubicBezTo>
                    <a:cubicBezTo>
                      <a:pt x="4" y="11"/>
                      <a:pt x="8" y="12"/>
                      <a:pt x="11" y="11"/>
                    </a:cubicBezTo>
                    <a:cubicBezTo>
                      <a:pt x="12" y="11"/>
                      <a:pt x="12" y="9"/>
                      <a:pt x="13" y="9"/>
                    </a:cubicBezTo>
                    <a:cubicBezTo>
                      <a:pt x="15" y="9"/>
                      <a:pt x="17" y="9"/>
                      <a:pt x="18" y="9"/>
                    </a:cubicBezTo>
                    <a:cubicBezTo>
                      <a:pt x="19" y="9"/>
                      <a:pt x="19" y="7"/>
                      <a:pt x="19" y="6"/>
                    </a:cubicBezTo>
                    <a:cubicBezTo>
                      <a:pt x="20" y="5"/>
                      <a:pt x="23" y="7"/>
                      <a:pt x="24" y="7"/>
                    </a:cubicBezTo>
                    <a:cubicBezTo>
                      <a:pt x="25" y="7"/>
                      <a:pt x="27" y="7"/>
                      <a:pt x="28" y="7"/>
                    </a:cubicBezTo>
                    <a:cubicBezTo>
                      <a:pt x="29" y="7"/>
                      <a:pt x="29" y="5"/>
                      <a:pt x="30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6" name="Freeform 658">
                <a:extLst>
                  <a:ext uri="{FF2B5EF4-FFF2-40B4-BE49-F238E27FC236}">
                    <a16:creationId xmlns:a16="http://schemas.microsoft.com/office/drawing/2014/main" id="{005DC896-7231-405C-8CBE-296051BD6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2015" y="3043220"/>
                <a:ext cx="219803" cy="164057"/>
              </a:xfrm>
              <a:custGeom>
                <a:avLst/>
                <a:gdLst>
                  <a:gd name="T0" fmla="*/ 11 w 47"/>
                  <a:gd name="T1" fmla="*/ 29 h 35"/>
                  <a:gd name="T2" fmla="*/ 18 w 47"/>
                  <a:gd name="T3" fmla="*/ 30 h 35"/>
                  <a:gd name="T4" fmla="*/ 23 w 47"/>
                  <a:gd name="T5" fmla="*/ 33 h 35"/>
                  <a:gd name="T6" fmla="*/ 25 w 47"/>
                  <a:gd name="T7" fmla="*/ 31 h 35"/>
                  <a:gd name="T8" fmla="*/ 29 w 47"/>
                  <a:gd name="T9" fmla="*/ 32 h 35"/>
                  <a:gd name="T10" fmla="*/ 33 w 47"/>
                  <a:gd name="T11" fmla="*/ 32 h 35"/>
                  <a:gd name="T12" fmla="*/ 36 w 47"/>
                  <a:gd name="T13" fmla="*/ 33 h 35"/>
                  <a:gd name="T14" fmla="*/ 38 w 47"/>
                  <a:gd name="T15" fmla="*/ 28 h 35"/>
                  <a:gd name="T16" fmla="*/ 42 w 47"/>
                  <a:gd name="T17" fmla="*/ 27 h 35"/>
                  <a:gd name="T18" fmla="*/ 40 w 47"/>
                  <a:gd name="T19" fmla="*/ 22 h 35"/>
                  <a:gd name="T20" fmla="*/ 44 w 47"/>
                  <a:gd name="T21" fmla="*/ 21 h 35"/>
                  <a:gd name="T22" fmla="*/ 45 w 47"/>
                  <a:gd name="T23" fmla="*/ 17 h 35"/>
                  <a:gd name="T24" fmla="*/ 42 w 47"/>
                  <a:gd name="T25" fmla="*/ 15 h 35"/>
                  <a:gd name="T26" fmla="*/ 39 w 47"/>
                  <a:gd name="T27" fmla="*/ 11 h 35"/>
                  <a:gd name="T28" fmla="*/ 38 w 47"/>
                  <a:gd name="T29" fmla="*/ 6 h 35"/>
                  <a:gd name="T30" fmla="*/ 35 w 47"/>
                  <a:gd name="T31" fmla="*/ 2 h 35"/>
                  <a:gd name="T32" fmla="*/ 33 w 47"/>
                  <a:gd name="T33" fmla="*/ 2 h 35"/>
                  <a:gd name="T34" fmla="*/ 30 w 47"/>
                  <a:gd name="T35" fmla="*/ 1 h 35"/>
                  <a:gd name="T36" fmla="*/ 28 w 47"/>
                  <a:gd name="T37" fmla="*/ 2 h 35"/>
                  <a:gd name="T38" fmla="*/ 25 w 47"/>
                  <a:gd name="T39" fmla="*/ 0 h 35"/>
                  <a:gd name="T40" fmla="*/ 22 w 47"/>
                  <a:gd name="T41" fmla="*/ 2 h 35"/>
                  <a:gd name="T42" fmla="*/ 17 w 47"/>
                  <a:gd name="T43" fmla="*/ 3 h 35"/>
                  <a:gd name="T44" fmla="*/ 17 w 47"/>
                  <a:gd name="T45" fmla="*/ 6 h 35"/>
                  <a:gd name="T46" fmla="*/ 13 w 47"/>
                  <a:gd name="T47" fmla="*/ 9 h 35"/>
                  <a:gd name="T48" fmla="*/ 12 w 47"/>
                  <a:gd name="T49" fmla="*/ 13 h 35"/>
                  <a:gd name="T50" fmla="*/ 8 w 47"/>
                  <a:gd name="T51" fmla="*/ 14 h 35"/>
                  <a:gd name="T52" fmla="*/ 1 w 47"/>
                  <a:gd name="T53" fmla="*/ 16 h 35"/>
                  <a:gd name="T54" fmla="*/ 2 w 47"/>
                  <a:gd name="T55" fmla="*/ 24 h 35"/>
                  <a:gd name="T56" fmla="*/ 1 w 47"/>
                  <a:gd name="T57" fmla="*/ 27 h 35"/>
                  <a:gd name="T58" fmla="*/ 1 w 47"/>
                  <a:gd name="T59" fmla="*/ 31 h 35"/>
                  <a:gd name="T60" fmla="*/ 5 w 47"/>
                  <a:gd name="T61" fmla="*/ 30 h 35"/>
                  <a:gd name="T62" fmla="*/ 11 w 47"/>
                  <a:gd name="T63" fmla="*/ 2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7" h="35">
                    <a:moveTo>
                      <a:pt x="11" y="29"/>
                    </a:moveTo>
                    <a:cubicBezTo>
                      <a:pt x="14" y="29"/>
                      <a:pt x="16" y="30"/>
                      <a:pt x="18" y="30"/>
                    </a:cubicBezTo>
                    <a:cubicBezTo>
                      <a:pt x="18" y="30"/>
                      <a:pt x="23" y="33"/>
                      <a:pt x="23" y="33"/>
                    </a:cubicBezTo>
                    <a:cubicBezTo>
                      <a:pt x="23" y="32"/>
                      <a:pt x="24" y="29"/>
                      <a:pt x="25" y="31"/>
                    </a:cubicBezTo>
                    <a:cubicBezTo>
                      <a:pt x="27" y="34"/>
                      <a:pt x="28" y="29"/>
                      <a:pt x="29" y="32"/>
                    </a:cubicBezTo>
                    <a:cubicBezTo>
                      <a:pt x="30" y="34"/>
                      <a:pt x="32" y="32"/>
                      <a:pt x="33" y="32"/>
                    </a:cubicBezTo>
                    <a:cubicBezTo>
                      <a:pt x="34" y="31"/>
                      <a:pt x="36" y="35"/>
                      <a:pt x="36" y="33"/>
                    </a:cubicBezTo>
                    <a:cubicBezTo>
                      <a:pt x="37" y="31"/>
                      <a:pt x="36" y="29"/>
                      <a:pt x="38" y="28"/>
                    </a:cubicBezTo>
                    <a:cubicBezTo>
                      <a:pt x="39" y="28"/>
                      <a:pt x="41" y="27"/>
                      <a:pt x="42" y="27"/>
                    </a:cubicBezTo>
                    <a:cubicBezTo>
                      <a:pt x="41" y="26"/>
                      <a:pt x="40" y="24"/>
                      <a:pt x="40" y="22"/>
                    </a:cubicBezTo>
                    <a:cubicBezTo>
                      <a:pt x="40" y="20"/>
                      <a:pt x="42" y="22"/>
                      <a:pt x="44" y="21"/>
                    </a:cubicBezTo>
                    <a:cubicBezTo>
                      <a:pt x="46" y="21"/>
                      <a:pt x="47" y="19"/>
                      <a:pt x="45" y="17"/>
                    </a:cubicBezTo>
                    <a:cubicBezTo>
                      <a:pt x="44" y="16"/>
                      <a:pt x="43" y="17"/>
                      <a:pt x="42" y="15"/>
                    </a:cubicBezTo>
                    <a:cubicBezTo>
                      <a:pt x="41" y="14"/>
                      <a:pt x="40" y="13"/>
                      <a:pt x="39" y="11"/>
                    </a:cubicBezTo>
                    <a:cubicBezTo>
                      <a:pt x="38" y="10"/>
                      <a:pt x="38" y="8"/>
                      <a:pt x="38" y="6"/>
                    </a:cubicBezTo>
                    <a:cubicBezTo>
                      <a:pt x="39" y="4"/>
                      <a:pt x="36" y="2"/>
                      <a:pt x="35" y="2"/>
                    </a:cubicBezTo>
                    <a:cubicBezTo>
                      <a:pt x="34" y="1"/>
                      <a:pt x="34" y="2"/>
                      <a:pt x="33" y="2"/>
                    </a:cubicBezTo>
                    <a:cubicBezTo>
                      <a:pt x="31" y="3"/>
                      <a:pt x="31" y="2"/>
                      <a:pt x="30" y="1"/>
                    </a:cubicBezTo>
                    <a:cubicBezTo>
                      <a:pt x="29" y="0"/>
                      <a:pt x="29" y="2"/>
                      <a:pt x="28" y="2"/>
                    </a:cubicBezTo>
                    <a:cubicBezTo>
                      <a:pt x="27" y="2"/>
                      <a:pt x="25" y="0"/>
                      <a:pt x="25" y="0"/>
                    </a:cubicBezTo>
                    <a:cubicBezTo>
                      <a:pt x="23" y="0"/>
                      <a:pt x="23" y="2"/>
                      <a:pt x="22" y="2"/>
                    </a:cubicBezTo>
                    <a:cubicBezTo>
                      <a:pt x="20" y="3"/>
                      <a:pt x="19" y="3"/>
                      <a:pt x="17" y="3"/>
                    </a:cubicBezTo>
                    <a:cubicBezTo>
                      <a:pt x="16" y="4"/>
                      <a:pt x="17" y="6"/>
                      <a:pt x="17" y="6"/>
                    </a:cubicBezTo>
                    <a:cubicBezTo>
                      <a:pt x="16" y="8"/>
                      <a:pt x="13" y="7"/>
                      <a:pt x="13" y="9"/>
                    </a:cubicBezTo>
                    <a:cubicBezTo>
                      <a:pt x="12" y="10"/>
                      <a:pt x="12" y="11"/>
                      <a:pt x="12" y="13"/>
                    </a:cubicBezTo>
                    <a:cubicBezTo>
                      <a:pt x="12" y="14"/>
                      <a:pt x="9" y="14"/>
                      <a:pt x="8" y="14"/>
                    </a:cubicBezTo>
                    <a:cubicBezTo>
                      <a:pt x="5" y="15"/>
                      <a:pt x="4" y="16"/>
                      <a:pt x="1" y="16"/>
                    </a:cubicBezTo>
                    <a:cubicBezTo>
                      <a:pt x="2" y="19"/>
                      <a:pt x="5" y="21"/>
                      <a:pt x="2" y="24"/>
                    </a:cubicBezTo>
                    <a:cubicBezTo>
                      <a:pt x="0" y="25"/>
                      <a:pt x="0" y="26"/>
                      <a:pt x="1" y="27"/>
                    </a:cubicBezTo>
                    <a:cubicBezTo>
                      <a:pt x="3" y="28"/>
                      <a:pt x="1" y="30"/>
                      <a:pt x="1" y="31"/>
                    </a:cubicBezTo>
                    <a:cubicBezTo>
                      <a:pt x="3" y="31"/>
                      <a:pt x="4" y="31"/>
                      <a:pt x="5" y="30"/>
                    </a:cubicBezTo>
                    <a:cubicBezTo>
                      <a:pt x="7" y="29"/>
                      <a:pt x="10" y="29"/>
                      <a:pt x="11" y="2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7" name="Freeform 659">
                <a:extLst>
                  <a:ext uri="{FF2B5EF4-FFF2-40B4-BE49-F238E27FC236}">
                    <a16:creationId xmlns:a16="http://schemas.microsoft.com/office/drawing/2014/main" id="{6F028A58-C931-4D39-9A4C-784A956556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1046" y="3033662"/>
                <a:ext cx="135385" cy="89196"/>
              </a:xfrm>
              <a:custGeom>
                <a:avLst/>
                <a:gdLst>
                  <a:gd name="T0" fmla="*/ 16 w 29"/>
                  <a:gd name="T1" fmla="*/ 18 h 19"/>
                  <a:gd name="T2" fmla="*/ 23 w 29"/>
                  <a:gd name="T3" fmla="*/ 15 h 19"/>
                  <a:gd name="T4" fmla="*/ 23 w 29"/>
                  <a:gd name="T5" fmla="*/ 12 h 19"/>
                  <a:gd name="T6" fmla="*/ 27 w 29"/>
                  <a:gd name="T7" fmla="*/ 9 h 19"/>
                  <a:gd name="T8" fmla="*/ 26 w 29"/>
                  <a:gd name="T9" fmla="*/ 4 h 19"/>
                  <a:gd name="T10" fmla="*/ 19 w 29"/>
                  <a:gd name="T11" fmla="*/ 1 h 19"/>
                  <a:gd name="T12" fmla="*/ 10 w 29"/>
                  <a:gd name="T13" fmla="*/ 1 h 19"/>
                  <a:gd name="T14" fmla="*/ 0 w 29"/>
                  <a:gd name="T15" fmla="*/ 4 h 19"/>
                  <a:gd name="T16" fmla="*/ 1 w 29"/>
                  <a:gd name="T17" fmla="*/ 6 h 19"/>
                  <a:gd name="T18" fmla="*/ 2 w 29"/>
                  <a:gd name="T19" fmla="*/ 9 h 19"/>
                  <a:gd name="T20" fmla="*/ 5 w 29"/>
                  <a:gd name="T21" fmla="*/ 10 h 19"/>
                  <a:gd name="T22" fmla="*/ 9 w 29"/>
                  <a:gd name="T23" fmla="*/ 11 h 19"/>
                  <a:gd name="T24" fmla="*/ 8 w 29"/>
                  <a:gd name="T25" fmla="*/ 15 h 19"/>
                  <a:gd name="T26" fmla="*/ 12 w 29"/>
                  <a:gd name="T27" fmla="*/ 18 h 19"/>
                  <a:gd name="T28" fmla="*/ 16 w 29"/>
                  <a:gd name="T29" fmla="*/ 18 h 19"/>
                  <a:gd name="T30" fmla="*/ 16 w 29"/>
                  <a:gd name="T31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" h="19">
                    <a:moveTo>
                      <a:pt x="16" y="18"/>
                    </a:moveTo>
                    <a:cubicBezTo>
                      <a:pt x="18" y="16"/>
                      <a:pt x="21" y="16"/>
                      <a:pt x="23" y="15"/>
                    </a:cubicBezTo>
                    <a:cubicBezTo>
                      <a:pt x="23" y="14"/>
                      <a:pt x="23" y="13"/>
                      <a:pt x="23" y="12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9" y="8"/>
                      <a:pt x="28" y="5"/>
                      <a:pt x="26" y="4"/>
                    </a:cubicBezTo>
                    <a:cubicBezTo>
                      <a:pt x="24" y="3"/>
                      <a:pt x="22" y="2"/>
                      <a:pt x="19" y="1"/>
                    </a:cubicBezTo>
                    <a:cubicBezTo>
                      <a:pt x="17" y="0"/>
                      <a:pt x="13" y="1"/>
                      <a:pt x="10" y="1"/>
                    </a:cubicBezTo>
                    <a:cubicBezTo>
                      <a:pt x="8" y="1"/>
                      <a:pt x="0" y="0"/>
                      <a:pt x="0" y="4"/>
                    </a:cubicBezTo>
                    <a:cubicBezTo>
                      <a:pt x="0" y="4"/>
                      <a:pt x="1" y="5"/>
                      <a:pt x="1" y="6"/>
                    </a:cubicBezTo>
                    <a:cubicBezTo>
                      <a:pt x="2" y="7"/>
                      <a:pt x="1" y="8"/>
                      <a:pt x="2" y="9"/>
                    </a:cubicBezTo>
                    <a:cubicBezTo>
                      <a:pt x="3" y="9"/>
                      <a:pt x="4" y="11"/>
                      <a:pt x="5" y="10"/>
                    </a:cubicBezTo>
                    <a:cubicBezTo>
                      <a:pt x="7" y="10"/>
                      <a:pt x="9" y="9"/>
                      <a:pt x="9" y="11"/>
                    </a:cubicBezTo>
                    <a:cubicBezTo>
                      <a:pt x="9" y="12"/>
                      <a:pt x="9" y="14"/>
                      <a:pt x="8" y="15"/>
                    </a:cubicBezTo>
                    <a:cubicBezTo>
                      <a:pt x="11" y="15"/>
                      <a:pt x="11" y="15"/>
                      <a:pt x="12" y="18"/>
                    </a:cubicBezTo>
                    <a:cubicBezTo>
                      <a:pt x="13" y="18"/>
                      <a:pt x="16" y="18"/>
                      <a:pt x="16" y="18"/>
                    </a:cubicBezTo>
                    <a:cubicBezTo>
                      <a:pt x="17" y="17"/>
                      <a:pt x="15" y="19"/>
                      <a:pt x="16" y="1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8" name="Freeform 660">
                <a:extLst>
                  <a:ext uri="{FF2B5EF4-FFF2-40B4-BE49-F238E27FC236}">
                    <a16:creationId xmlns:a16="http://schemas.microsoft.com/office/drawing/2014/main" id="{AE0B2800-7C76-486F-982D-AFAE5D169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1046" y="2977916"/>
                <a:ext cx="167242" cy="84419"/>
              </a:xfrm>
              <a:custGeom>
                <a:avLst/>
                <a:gdLst>
                  <a:gd name="T0" fmla="*/ 11 w 36"/>
                  <a:gd name="T1" fmla="*/ 13 h 18"/>
                  <a:gd name="T2" fmla="*/ 19 w 36"/>
                  <a:gd name="T3" fmla="*/ 12 h 18"/>
                  <a:gd name="T4" fmla="*/ 25 w 36"/>
                  <a:gd name="T5" fmla="*/ 15 h 18"/>
                  <a:gd name="T6" fmla="*/ 29 w 36"/>
                  <a:gd name="T7" fmla="*/ 17 h 18"/>
                  <a:gd name="T8" fmla="*/ 33 w 36"/>
                  <a:gd name="T9" fmla="*/ 16 h 18"/>
                  <a:gd name="T10" fmla="*/ 36 w 36"/>
                  <a:gd name="T11" fmla="*/ 14 h 18"/>
                  <a:gd name="T12" fmla="*/ 34 w 36"/>
                  <a:gd name="T13" fmla="*/ 8 h 18"/>
                  <a:gd name="T14" fmla="*/ 31 w 36"/>
                  <a:gd name="T15" fmla="*/ 4 h 18"/>
                  <a:gd name="T16" fmla="*/ 25 w 36"/>
                  <a:gd name="T17" fmla="*/ 3 h 18"/>
                  <a:gd name="T18" fmla="*/ 18 w 36"/>
                  <a:gd name="T19" fmla="*/ 1 h 18"/>
                  <a:gd name="T20" fmla="*/ 17 w 36"/>
                  <a:gd name="T21" fmla="*/ 5 h 18"/>
                  <a:gd name="T22" fmla="*/ 15 w 36"/>
                  <a:gd name="T23" fmla="*/ 7 h 18"/>
                  <a:gd name="T24" fmla="*/ 8 w 36"/>
                  <a:gd name="T25" fmla="*/ 4 h 18"/>
                  <a:gd name="T26" fmla="*/ 0 w 36"/>
                  <a:gd name="T27" fmla="*/ 15 h 18"/>
                  <a:gd name="T28" fmla="*/ 11 w 36"/>
                  <a:gd name="T29" fmla="*/ 1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6" h="18">
                    <a:moveTo>
                      <a:pt x="11" y="13"/>
                    </a:moveTo>
                    <a:cubicBezTo>
                      <a:pt x="14" y="13"/>
                      <a:pt x="16" y="12"/>
                      <a:pt x="19" y="12"/>
                    </a:cubicBezTo>
                    <a:cubicBezTo>
                      <a:pt x="20" y="12"/>
                      <a:pt x="24" y="14"/>
                      <a:pt x="25" y="15"/>
                    </a:cubicBezTo>
                    <a:cubicBezTo>
                      <a:pt x="26" y="16"/>
                      <a:pt x="27" y="18"/>
                      <a:pt x="29" y="17"/>
                    </a:cubicBezTo>
                    <a:cubicBezTo>
                      <a:pt x="30" y="17"/>
                      <a:pt x="31" y="16"/>
                      <a:pt x="33" y="16"/>
                    </a:cubicBezTo>
                    <a:cubicBezTo>
                      <a:pt x="34" y="16"/>
                      <a:pt x="34" y="14"/>
                      <a:pt x="36" y="14"/>
                    </a:cubicBezTo>
                    <a:cubicBezTo>
                      <a:pt x="35" y="12"/>
                      <a:pt x="33" y="9"/>
                      <a:pt x="34" y="8"/>
                    </a:cubicBezTo>
                    <a:cubicBezTo>
                      <a:pt x="35" y="6"/>
                      <a:pt x="32" y="4"/>
                      <a:pt x="31" y="4"/>
                    </a:cubicBezTo>
                    <a:cubicBezTo>
                      <a:pt x="29" y="3"/>
                      <a:pt x="27" y="5"/>
                      <a:pt x="25" y="3"/>
                    </a:cubicBezTo>
                    <a:cubicBezTo>
                      <a:pt x="22" y="1"/>
                      <a:pt x="21" y="0"/>
                      <a:pt x="18" y="1"/>
                    </a:cubicBezTo>
                    <a:cubicBezTo>
                      <a:pt x="16" y="2"/>
                      <a:pt x="17" y="3"/>
                      <a:pt x="17" y="5"/>
                    </a:cubicBezTo>
                    <a:cubicBezTo>
                      <a:pt x="16" y="6"/>
                      <a:pt x="16" y="7"/>
                      <a:pt x="15" y="7"/>
                    </a:cubicBezTo>
                    <a:cubicBezTo>
                      <a:pt x="12" y="9"/>
                      <a:pt x="10" y="5"/>
                      <a:pt x="8" y="4"/>
                    </a:cubicBezTo>
                    <a:cubicBezTo>
                      <a:pt x="3" y="0"/>
                      <a:pt x="0" y="11"/>
                      <a:pt x="0" y="15"/>
                    </a:cubicBezTo>
                    <a:cubicBezTo>
                      <a:pt x="4" y="13"/>
                      <a:pt x="7" y="13"/>
                      <a:pt x="11" y="1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9" name="Freeform 661">
                <a:extLst>
                  <a:ext uri="{FF2B5EF4-FFF2-40B4-BE49-F238E27FC236}">
                    <a16:creationId xmlns:a16="http://schemas.microsoft.com/office/drawing/2014/main" id="{B526B12A-011F-443B-9909-6160D7478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2015" y="2926947"/>
                <a:ext cx="111495" cy="70082"/>
              </a:xfrm>
              <a:custGeom>
                <a:avLst/>
                <a:gdLst>
                  <a:gd name="T0" fmla="*/ 16 w 24"/>
                  <a:gd name="T1" fmla="*/ 15 h 15"/>
                  <a:gd name="T2" fmla="*/ 20 w 24"/>
                  <a:gd name="T3" fmla="*/ 15 h 15"/>
                  <a:gd name="T4" fmla="*/ 22 w 24"/>
                  <a:gd name="T5" fmla="*/ 13 h 15"/>
                  <a:gd name="T6" fmla="*/ 22 w 24"/>
                  <a:gd name="T7" fmla="*/ 10 h 15"/>
                  <a:gd name="T8" fmla="*/ 21 w 24"/>
                  <a:gd name="T9" fmla="*/ 5 h 15"/>
                  <a:gd name="T10" fmla="*/ 24 w 24"/>
                  <a:gd name="T11" fmla="*/ 0 h 15"/>
                  <a:gd name="T12" fmla="*/ 12 w 24"/>
                  <a:gd name="T13" fmla="*/ 0 h 15"/>
                  <a:gd name="T14" fmla="*/ 6 w 24"/>
                  <a:gd name="T15" fmla="*/ 1 h 15"/>
                  <a:gd name="T16" fmla="*/ 0 w 24"/>
                  <a:gd name="T17" fmla="*/ 5 h 15"/>
                  <a:gd name="T18" fmla="*/ 2 w 24"/>
                  <a:gd name="T19" fmla="*/ 6 h 15"/>
                  <a:gd name="T20" fmla="*/ 2 w 24"/>
                  <a:gd name="T21" fmla="*/ 8 h 15"/>
                  <a:gd name="T22" fmla="*/ 7 w 24"/>
                  <a:gd name="T23" fmla="*/ 9 h 15"/>
                  <a:gd name="T24" fmla="*/ 6 w 24"/>
                  <a:gd name="T25" fmla="*/ 13 h 15"/>
                  <a:gd name="T26" fmla="*/ 11 w 24"/>
                  <a:gd name="T27" fmla="*/ 12 h 15"/>
                  <a:gd name="T28" fmla="*/ 16 w 24"/>
                  <a:gd name="T2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15">
                    <a:moveTo>
                      <a:pt x="16" y="15"/>
                    </a:moveTo>
                    <a:cubicBezTo>
                      <a:pt x="17" y="15"/>
                      <a:pt x="19" y="15"/>
                      <a:pt x="20" y="15"/>
                    </a:cubicBezTo>
                    <a:cubicBezTo>
                      <a:pt x="20" y="14"/>
                      <a:pt x="22" y="14"/>
                      <a:pt x="22" y="13"/>
                    </a:cubicBezTo>
                    <a:cubicBezTo>
                      <a:pt x="22" y="12"/>
                      <a:pt x="22" y="11"/>
                      <a:pt x="22" y="10"/>
                    </a:cubicBezTo>
                    <a:cubicBezTo>
                      <a:pt x="21" y="8"/>
                      <a:pt x="20" y="7"/>
                      <a:pt x="21" y="5"/>
                    </a:cubicBezTo>
                    <a:cubicBezTo>
                      <a:pt x="23" y="4"/>
                      <a:pt x="24" y="2"/>
                      <a:pt x="24" y="0"/>
                    </a:cubicBezTo>
                    <a:cubicBezTo>
                      <a:pt x="22" y="3"/>
                      <a:pt x="15" y="0"/>
                      <a:pt x="12" y="0"/>
                    </a:cubicBezTo>
                    <a:cubicBezTo>
                      <a:pt x="10" y="0"/>
                      <a:pt x="8" y="0"/>
                      <a:pt x="6" y="1"/>
                    </a:cubicBezTo>
                    <a:cubicBezTo>
                      <a:pt x="5" y="1"/>
                      <a:pt x="0" y="5"/>
                      <a:pt x="0" y="5"/>
                    </a:cubicBezTo>
                    <a:cubicBezTo>
                      <a:pt x="0" y="6"/>
                      <a:pt x="3" y="5"/>
                      <a:pt x="2" y="6"/>
                    </a:cubicBezTo>
                    <a:cubicBezTo>
                      <a:pt x="2" y="7"/>
                      <a:pt x="2" y="7"/>
                      <a:pt x="2" y="8"/>
                    </a:cubicBezTo>
                    <a:cubicBezTo>
                      <a:pt x="3" y="10"/>
                      <a:pt x="7" y="9"/>
                      <a:pt x="7" y="9"/>
                    </a:cubicBezTo>
                    <a:cubicBezTo>
                      <a:pt x="7" y="10"/>
                      <a:pt x="6" y="12"/>
                      <a:pt x="6" y="13"/>
                    </a:cubicBezTo>
                    <a:cubicBezTo>
                      <a:pt x="7" y="12"/>
                      <a:pt x="9" y="11"/>
                      <a:pt x="11" y="12"/>
                    </a:cubicBezTo>
                    <a:cubicBezTo>
                      <a:pt x="13" y="13"/>
                      <a:pt x="14" y="15"/>
                      <a:pt x="16" y="1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0" name="Freeform 662">
                <a:extLst>
                  <a:ext uri="{FF2B5EF4-FFF2-40B4-BE49-F238E27FC236}">
                    <a16:creationId xmlns:a16="http://schemas.microsoft.com/office/drawing/2014/main" id="{47F7DAE0-FC15-41B0-9B26-6FDC192AA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600" y="3071889"/>
                <a:ext cx="74861" cy="36635"/>
              </a:xfrm>
              <a:custGeom>
                <a:avLst/>
                <a:gdLst>
                  <a:gd name="T0" fmla="*/ 16 w 16"/>
                  <a:gd name="T1" fmla="*/ 4 h 8"/>
                  <a:gd name="T2" fmla="*/ 12 w 16"/>
                  <a:gd name="T3" fmla="*/ 2 h 8"/>
                  <a:gd name="T4" fmla="*/ 8 w 16"/>
                  <a:gd name="T5" fmla="*/ 0 h 8"/>
                  <a:gd name="T6" fmla="*/ 7 w 16"/>
                  <a:gd name="T7" fmla="*/ 3 h 8"/>
                  <a:gd name="T8" fmla="*/ 5 w 16"/>
                  <a:gd name="T9" fmla="*/ 2 h 8"/>
                  <a:gd name="T10" fmla="*/ 2 w 16"/>
                  <a:gd name="T11" fmla="*/ 3 h 8"/>
                  <a:gd name="T12" fmla="*/ 0 w 16"/>
                  <a:gd name="T13" fmla="*/ 5 h 8"/>
                  <a:gd name="T14" fmla="*/ 0 w 16"/>
                  <a:gd name="T15" fmla="*/ 6 h 8"/>
                  <a:gd name="T16" fmla="*/ 2 w 16"/>
                  <a:gd name="T17" fmla="*/ 6 h 8"/>
                  <a:gd name="T18" fmla="*/ 8 w 16"/>
                  <a:gd name="T19" fmla="*/ 7 h 8"/>
                  <a:gd name="T20" fmla="*/ 16 w 16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8">
                    <a:moveTo>
                      <a:pt x="16" y="4"/>
                    </a:moveTo>
                    <a:cubicBezTo>
                      <a:pt x="16" y="1"/>
                      <a:pt x="14" y="2"/>
                      <a:pt x="12" y="2"/>
                    </a:cubicBezTo>
                    <a:cubicBezTo>
                      <a:pt x="11" y="3"/>
                      <a:pt x="10" y="1"/>
                      <a:pt x="8" y="0"/>
                    </a:cubicBezTo>
                    <a:cubicBezTo>
                      <a:pt x="8" y="1"/>
                      <a:pt x="8" y="2"/>
                      <a:pt x="7" y="3"/>
                    </a:cubicBezTo>
                    <a:cubicBezTo>
                      <a:pt x="6" y="3"/>
                      <a:pt x="7" y="1"/>
                      <a:pt x="5" y="2"/>
                    </a:cubicBezTo>
                    <a:cubicBezTo>
                      <a:pt x="4" y="2"/>
                      <a:pt x="2" y="2"/>
                      <a:pt x="2" y="3"/>
                    </a:cubicBezTo>
                    <a:cubicBezTo>
                      <a:pt x="1" y="5"/>
                      <a:pt x="2" y="6"/>
                      <a:pt x="0" y="5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0" y="6"/>
                      <a:pt x="1" y="6"/>
                      <a:pt x="2" y="6"/>
                    </a:cubicBezTo>
                    <a:cubicBezTo>
                      <a:pt x="4" y="7"/>
                      <a:pt x="6" y="7"/>
                      <a:pt x="8" y="7"/>
                    </a:cubicBezTo>
                    <a:cubicBezTo>
                      <a:pt x="10" y="7"/>
                      <a:pt x="16" y="8"/>
                      <a:pt x="16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1" name="Freeform 663">
                <a:extLst>
                  <a:ext uri="{FF2B5EF4-FFF2-40B4-BE49-F238E27FC236}">
                    <a16:creationId xmlns:a16="http://schemas.microsoft.com/office/drawing/2014/main" id="{CD79C4C6-C853-43EF-978A-D40283888B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1325" y="3081445"/>
                <a:ext cx="222988" cy="195911"/>
              </a:xfrm>
              <a:custGeom>
                <a:avLst/>
                <a:gdLst>
                  <a:gd name="T0" fmla="*/ 1 w 48"/>
                  <a:gd name="T1" fmla="*/ 12 h 42"/>
                  <a:gd name="T2" fmla="*/ 0 w 48"/>
                  <a:gd name="T3" fmla="*/ 16 h 42"/>
                  <a:gd name="T4" fmla="*/ 2 w 48"/>
                  <a:gd name="T5" fmla="*/ 20 h 42"/>
                  <a:gd name="T6" fmla="*/ 4 w 48"/>
                  <a:gd name="T7" fmla="*/ 27 h 42"/>
                  <a:gd name="T8" fmla="*/ 9 w 48"/>
                  <a:gd name="T9" fmla="*/ 31 h 42"/>
                  <a:gd name="T10" fmla="*/ 10 w 48"/>
                  <a:gd name="T11" fmla="*/ 33 h 42"/>
                  <a:gd name="T12" fmla="*/ 13 w 48"/>
                  <a:gd name="T13" fmla="*/ 32 h 42"/>
                  <a:gd name="T14" fmla="*/ 21 w 48"/>
                  <a:gd name="T15" fmla="*/ 36 h 42"/>
                  <a:gd name="T16" fmla="*/ 25 w 48"/>
                  <a:gd name="T17" fmla="*/ 37 h 42"/>
                  <a:gd name="T18" fmla="*/ 33 w 48"/>
                  <a:gd name="T19" fmla="*/ 37 h 42"/>
                  <a:gd name="T20" fmla="*/ 39 w 48"/>
                  <a:gd name="T21" fmla="*/ 41 h 42"/>
                  <a:gd name="T22" fmla="*/ 41 w 48"/>
                  <a:gd name="T23" fmla="*/ 35 h 42"/>
                  <a:gd name="T24" fmla="*/ 44 w 48"/>
                  <a:gd name="T25" fmla="*/ 32 h 42"/>
                  <a:gd name="T26" fmla="*/ 48 w 48"/>
                  <a:gd name="T27" fmla="*/ 31 h 42"/>
                  <a:gd name="T28" fmla="*/ 45 w 48"/>
                  <a:gd name="T29" fmla="*/ 26 h 42"/>
                  <a:gd name="T30" fmla="*/ 44 w 48"/>
                  <a:gd name="T31" fmla="*/ 19 h 42"/>
                  <a:gd name="T32" fmla="*/ 46 w 48"/>
                  <a:gd name="T33" fmla="*/ 12 h 42"/>
                  <a:gd name="T34" fmla="*/ 44 w 48"/>
                  <a:gd name="T35" fmla="*/ 7 h 42"/>
                  <a:gd name="T36" fmla="*/ 42 w 48"/>
                  <a:gd name="T37" fmla="*/ 5 h 42"/>
                  <a:gd name="T38" fmla="*/ 25 w 48"/>
                  <a:gd name="T39" fmla="*/ 4 h 42"/>
                  <a:gd name="T40" fmla="*/ 20 w 48"/>
                  <a:gd name="T41" fmla="*/ 2 h 42"/>
                  <a:gd name="T42" fmla="*/ 13 w 48"/>
                  <a:gd name="T43" fmla="*/ 4 h 42"/>
                  <a:gd name="T44" fmla="*/ 6 w 48"/>
                  <a:gd name="T45" fmla="*/ 6 h 42"/>
                  <a:gd name="T46" fmla="*/ 2 w 48"/>
                  <a:gd name="T47" fmla="*/ 7 h 42"/>
                  <a:gd name="T48" fmla="*/ 1 w 48"/>
                  <a:gd name="T49" fmla="*/ 9 h 42"/>
                  <a:gd name="T50" fmla="*/ 1 w 48"/>
                  <a:gd name="T51" fmla="*/ 12 h 42"/>
                  <a:gd name="T52" fmla="*/ 1 w 48"/>
                  <a:gd name="T53" fmla="*/ 1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8" h="42">
                    <a:moveTo>
                      <a:pt x="1" y="12"/>
                    </a:moveTo>
                    <a:cubicBezTo>
                      <a:pt x="1" y="13"/>
                      <a:pt x="0" y="15"/>
                      <a:pt x="0" y="16"/>
                    </a:cubicBezTo>
                    <a:cubicBezTo>
                      <a:pt x="1" y="17"/>
                      <a:pt x="2" y="19"/>
                      <a:pt x="2" y="20"/>
                    </a:cubicBezTo>
                    <a:cubicBezTo>
                      <a:pt x="2" y="22"/>
                      <a:pt x="3" y="25"/>
                      <a:pt x="4" y="27"/>
                    </a:cubicBezTo>
                    <a:cubicBezTo>
                      <a:pt x="5" y="30"/>
                      <a:pt x="8" y="29"/>
                      <a:pt x="9" y="31"/>
                    </a:cubicBezTo>
                    <a:cubicBezTo>
                      <a:pt x="9" y="31"/>
                      <a:pt x="9" y="33"/>
                      <a:pt x="10" y="33"/>
                    </a:cubicBezTo>
                    <a:cubicBezTo>
                      <a:pt x="11" y="34"/>
                      <a:pt x="12" y="32"/>
                      <a:pt x="13" y="32"/>
                    </a:cubicBezTo>
                    <a:cubicBezTo>
                      <a:pt x="15" y="31"/>
                      <a:pt x="19" y="35"/>
                      <a:pt x="21" y="36"/>
                    </a:cubicBezTo>
                    <a:cubicBezTo>
                      <a:pt x="22" y="37"/>
                      <a:pt x="23" y="39"/>
                      <a:pt x="25" y="37"/>
                    </a:cubicBezTo>
                    <a:cubicBezTo>
                      <a:pt x="26" y="36"/>
                      <a:pt x="31" y="37"/>
                      <a:pt x="33" y="37"/>
                    </a:cubicBezTo>
                    <a:cubicBezTo>
                      <a:pt x="36" y="37"/>
                      <a:pt x="37" y="39"/>
                      <a:pt x="39" y="41"/>
                    </a:cubicBezTo>
                    <a:cubicBezTo>
                      <a:pt x="40" y="42"/>
                      <a:pt x="40" y="36"/>
                      <a:pt x="41" y="35"/>
                    </a:cubicBezTo>
                    <a:cubicBezTo>
                      <a:pt x="42" y="34"/>
                      <a:pt x="43" y="33"/>
                      <a:pt x="44" y="32"/>
                    </a:cubicBezTo>
                    <a:cubicBezTo>
                      <a:pt x="45" y="32"/>
                      <a:pt x="48" y="32"/>
                      <a:pt x="48" y="31"/>
                    </a:cubicBezTo>
                    <a:cubicBezTo>
                      <a:pt x="47" y="28"/>
                      <a:pt x="47" y="27"/>
                      <a:pt x="45" y="26"/>
                    </a:cubicBezTo>
                    <a:cubicBezTo>
                      <a:pt x="43" y="24"/>
                      <a:pt x="46" y="21"/>
                      <a:pt x="44" y="19"/>
                    </a:cubicBezTo>
                    <a:cubicBezTo>
                      <a:pt x="42" y="18"/>
                      <a:pt x="47" y="14"/>
                      <a:pt x="46" y="12"/>
                    </a:cubicBezTo>
                    <a:cubicBezTo>
                      <a:pt x="45" y="10"/>
                      <a:pt x="44" y="9"/>
                      <a:pt x="44" y="7"/>
                    </a:cubicBezTo>
                    <a:cubicBezTo>
                      <a:pt x="44" y="6"/>
                      <a:pt x="44" y="5"/>
                      <a:pt x="42" y="5"/>
                    </a:cubicBezTo>
                    <a:cubicBezTo>
                      <a:pt x="37" y="3"/>
                      <a:pt x="30" y="6"/>
                      <a:pt x="25" y="4"/>
                    </a:cubicBezTo>
                    <a:cubicBezTo>
                      <a:pt x="25" y="7"/>
                      <a:pt x="21" y="2"/>
                      <a:pt x="20" y="2"/>
                    </a:cubicBezTo>
                    <a:cubicBezTo>
                      <a:pt x="17" y="0"/>
                      <a:pt x="15" y="2"/>
                      <a:pt x="13" y="4"/>
                    </a:cubicBezTo>
                    <a:cubicBezTo>
                      <a:pt x="10" y="5"/>
                      <a:pt x="8" y="6"/>
                      <a:pt x="6" y="6"/>
                    </a:cubicBezTo>
                    <a:cubicBezTo>
                      <a:pt x="5" y="7"/>
                      <a:pt x="3" y="7"/>
                      <a:pt x="2" y="7"/>
                    </a:cubicBezTo>
                    <a:cubicBezTo>
                      <a:pt x="1" y="8"/>
                      <a:pt x="3" y="9"/>
                      <a:pt x="1" y="9"/>
                    </a:cubicBezTo>
                    <a:cubicBezTo>
                      <a:pt x="1" y="10"/>
                      <a:pt x="1" y="11"/>
                      <a:pt x="1" y="12"/>
                    </a:cubicBezTo>
                    <a:cubicBezTo>
                      <a:pt x="1" y="14"/>
                      <a:pt x="1" y="12"/>
                      <a:pt x="1" y="1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2" name="Freeform 664">
                <a:extLst>
                  <a:ext uri="{FF2B5EF4-FFF2-40B4-BE49-F238E27FC236}">
                    <a16:creationId xmlns:a16="http://schemas.microsoft.com/office/drawing/2014/main" id="{B6D709E8-F619-4B8E-9D13-7E72552593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712" y="3286914"/>
                <a:ext cx="215026" cy="140164"/>
              </a:xfrm>
              <a:custGeom>
                <a:avLst/>
                <a:gdLst>
                  <a:gd name="T0" fmla="*/ 38 w 46"/>
                  <a:gd name="T1" fmla="*/ 13 h 30"/>
                  <a:gd name="T2" fmla="*/ 35 w 46"/>
                  <a:gd name="T3" fmla="*/ 6 h 30"/>
                  <a:gd name="T4" fmla="*/ 32 w 46"/>
                  <a:gd name="T5" fmla="*/ 0 h 30"/>
                  <a:gd name="T6" fmla="*/ 22 w 46"/>
                  <a:gd name="T7" fmla="*/ 4 h 30"/>
                  <a:gd name="T8" fmla="*/ 18 w 46"/>
                  <a:gd name="T9" fmla="*/ 3 h 30"/>
                  <a:gd name="T10" fmla="*/ 12 w 46"/>
                  <a:gd name="T11" fmla="*/ 3 h 30"/>
                  <a:gd name="T12" fmla="*/ 8 w 46"/>
                  <a:gd name="T13" fmla="*/ 6 h 30"/>
                  <a:gd name="T14" fmla="*/ 4 w 46"/>
                  <a:gd name="T15" fmla="*/ 14 h 30"/>
                  <a:gd name="T16" fmla="*/ 0 w 46"/>
                  <a:gd name="T17" fmla="*/ 15 h 30"/>
                  <a:gd name="T18" fmla="*/ 3 w 46"/>
                  <a:gd name="T19" fmla="*/ 18 h 30"/>
                  <a:gd name="T20" fmla="*/ 5 w 46"/>
                  <a:gd name="T21" fmla="*/ 22 h 30"/>
                  <a:gd name="T22" fmla="*/ 8 w 46"/>
                  <a:gd name="T23" fmla="*/ 24 h 30"/>
                  <a:gd name="T24" fmla="*/ 11 w 46"/>
                  <a:gd name="T25" fmla="*/ 25 h 30"/>
                  <a:gd name="T26" fmla="*/ 11 w 46"/>
                  <a:gd name="T27" fmla="*/ 28 h 30"/>
                  <a:gd name="T28" fmla="*/ 21 w 46"/>
                  <a:gd name="T29" fmla="*/ 30 h 30"/>
                  <a:gd name="T30" fmla="*/ 28 w 46"/>
                  <a:gd name="T31" fmla="*/ 28 h 30"/>
                  <a:gd name="T32" fmla="*/ 40 w 46"/>
                  <a:gd name="T33" fmla="*/ 30 h 30"/>
                  <a:gd name="T34" fmla="*/ 41 w 46"/>
                  <a:gd name="T35" fmla="*/ 23 h 30"/>
                  <a:gd name="T36" fmla="*/ 46 w 46"/>
                  <a:gd name="T37" fmla="*/ 20 h 30"/>
                  <a:gd name="T38" fmla="*/ 39 w 46"/>
                  <a:gd name="T39" fmla="*/ 20 h 30"/>
                  <a:gd name="T40" fmla="*/ 38 w 46"/>
                  <a:gd name="T41" fmla="*/ 13 h 30"/>
                  <a:gd name="T42" fmla="*/ 38 w 46"/>
                  <a:gd name="T43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6" h="30">
                    <a:moveTo>
                      <a:pt x="38" y="13"/>
                    </a:moveTo>
                    <a:cubicBezTo>
                      <a:pt x="39" y="10"/>
                      <a:pt x="36" y="8"/>
                      <a:pt x="35" y="6"/>
                    </a:cubicBezTo>
                    <a:cubicBezTo>
                      <a:pt x="33" y="5"/>
                      <a:pt x="32" y="2"/>
                      <a:pt x="32" y="0"/>
                    </a:cubicBezTo>
                    <a:cubicBezTo>
                      <a:pt x="29" y="1"/>
                      <a:pt x="26" y="4"/>
                      <a:pt x="22" y="4"/>
                    </a:cubicBezTo>
                    <a:cubicBezTo>
                      <a:pt x="21" y="4"/>
                      <a:pt x="19" y="3"/>
                      <a:pt x="18" y="3"/>
                    </a:cubicBezTo>
                    <a:cubicBezTo>
                      <a:pt x="16" y="3"/>
                      <a:pt x="14" y="3"/>
                      <a:pt x="12" y="3"/>
                    </a:cubicBezTo>
                    <a:cubicBezTo>
                      <a:pt x="12" y="3"/>
                      <a:pt x="9" y="6"/>
                      <a:pt x="8" y="6"/>
                    </a:cubicBezTo>
                    <a:cubicBezTo>
                      <a:pt x="7" y="9"/>
                      <a:pt x="5" y="11"/>
                      <a:pt x="4" y="14"/>
                    </a:cubicBezTo>
                    <a:cubicBezTo>
                      <a:pt x="3" y="14"/>
                      <a:pt x="1" y="14"/>
                      <a:pt x="0" y="15"/>
                    </a:cubicBezTo>
                    <a:cubicBezTo>
                      <a:pt x="0" y="16"/>
                      <a:pt x="3" y="17"/>
                      <a:pt x="3" y="18"/>
                    </a:cubicBezTo>
                    <a:cubicBezTo>
                      <a:pt x="3" y="20"/>
                      <a:pt x="4" y="20"/>
                      <a:pt x="5" y="22"/>
                    </a:cubicBezTo>
                    <a:cubicBezTo>
                      <a:pt x="5" y="24"/>
                      <a:pt x="6" y="24"/>
                      <a:pt x="8" y="24"/>
                    </a:cubicBezTo>
                    <a:cubicBezTo>
                      <a:pt x="9" y="24"/>
                      <a:pt x="11" y="24"/>
                      <a:pt x="11" y="25"/>
                    </a:cubicBezTo>
                    <a:cubicBezTo>
                      <a:pt x="11" y="26"/>
                      <a:pt x="11" y="27"/>
                      <a:pt x="11" y="28"/>
                    </a:cubicBezTo>
                    <a:cubicBezTo>
                      <a:pt x="13" y="30"/>
                      <a:pt x="18" y="30"/>
                      <a:pt x="21" y="30"/>
                    </a:cubicBezTo>
                    <a:cubicBezTo>
                      <a:pt x="24" y="30"/>
                      <a:pt x="26" y="30"/>
                      <a:pt x="28" y="28"/>
                    </a:cubicBezTo>
                    <a:cubicBezTo>
                      <a:pt x="32" y="26"/>
                      <a:pt x="36" y="28"/>
                      <a:pt x="40" y="30"/>
                    </a:cubicBezTo>
                    <a:cubicBezTo>
                      <a:pt x="40" y="28"/>
                      <a:pt x="40" y="25"/>
                      <a:pt x="41" y="23"/>
                    </a:cubicBezTo>
                    <a:cubicBezTo>
                      <a:pt x="42" y="22"/>
                      <a:pt x="45" y="24"/>
                      <a:pt x="46" y="20"/>
                    </a:cubicBezTo>
                    <a:cubicBezTo>
                      <a:pt x="43" y="18"/>
                      <a:pt x="42" y="20"/>
                      <a:pt x="39" y="20"/>
                    </a:cubicBezTo>
                    <a:cubicBezTo>
                      <a:pt x="37" y="19"/>
                      <a:pt x="37" y="14"/>
                      <a:pt x="38" y="13"/>
                    </a:cubicBezTo>
                    <a:cubicBezTo>
                      <a:pt x="39" y="11"/>
                      <a:pt x="37" y="15"/>
                      <a:pt x="38" y="1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3" name="Freeform 665">
                <a:extLst>
                  <a:ext uri="{FF2B5EF4-FFF2-40B4-BE49-F238E27FC236}">
                    <a16:creationId xmlns:a16="http://schemas.microsoft.com/office/drawing/2014/main" id="{9032E0AF-30D8-4E87-83FF-7128C33431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6432" y="3282135"/>
                <a:ext cx="78046" cy="93974"/>
              </a:xfrm>
              <a:custGeom>
                <a:avLst/>
                <a:gdLst>
                  <a:gd name="T0" fmla="*/ 14 w 17"/>
                  <a:gd name="T1" fmla="*/ 10 h 20"/>
                  <a:gd name="T2" fmla="*/ 9 w 17"/>
                  <a:gd name="T3" fmla="*/ 3 h 20"/>
                  <a:gd name="T4" fmla="*/ 0 w 17"/>
                  <a:gd name="T5" fmla="*/ 1 h 20"/>
                  <a:gd name="T6" fmla="*/ 5 w 17"/>
                  <a:gd name="T7" fmla="*/ 10 h 20"/>
                  <a:gd name="T8" fmla="*/ 7 w 17"/>
                  <a:gd name="T9" fmla="*/ 20 h 20"/>
                  <a:gd name="T10" fmla="*/ 10 w 17"/>
                  <a:gd name="T11" fmla="*/ 14 h 20"/>
                  <a:gd name="T12" fmla="*/ 14 w 17"/>
                  <a:gd name="T13" fmla="*/ 14 h 20"/>
                  <a:gd name="T14" fmla="*/ 14 w 17"/>
                  <a:gd name="T15" fmla="*/ 10 h 20"/>
                  <a:gd name="T16" fmla="*/ 14 w 17"/>
                  <a:gd name="T17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20">
                    <a:moveTo>
                      <a:pt x="14" y="10"/>
                    </a:moveTo>
                    <a:cubicBezTo>
                      <a:pt x="12" y="8"/>
                      <a:pt x="11" y="4"/>
                      <a:pt x="9" y="3"/>
                    </a:cubicBezTo>
                    <a:cubicBezTo>
                      <a:pt x="8" y="3"/>
                      <a:pt x="0" y="0"/>
                      <a:pt x="0" y="1"/>
                    </a:cubicBezTo>
                    <a:cubicBezTo>
                      <a:pt x="1" y="5"/>
                      <a:pt x="3" y="7"/>
                      <a:pt x="5" y="10"/>
                    </a:cubicBezTo>
                    <a:cubicBezTo>
                      <a:pt x="7" y="13"/>
                      <a:pt x="4" y="17"/>
                      <a:pt x="7" y="20"/>
                    </a:cubicBezTo>
                    <a:cubicBezTo>
                      <a:pt x="8" y="19"/>
                      <a:pt x="9" y="16"/>
                      <a:pt x="10" y="14"/>
                    </a:cubicBezTo>
                    <a:cubicBezTo>
                      <a:pt x="12" y="13"/>
                      <a:pt x="13" y="14"/>
                      <a:pt x="14" y="14"/>
                    </a:cubicBezTo>
                    <a:cubicBezTo>
                      <a:pt x="17" y="14"/>
                      <a:pt x="14" y="10"/>
                      <a:pt x="14" y="10"/>
                    </a:cubicBezTo>
                    <a:cubicBezTo>
                      <a:pt x="13" y="9"/>
                      <a:pt x="14" y="10"/>
                      <a:pt x="14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4" name="Freeform 666">
                <a:extLst>
                  <a:ext uri="{FF2B5EF4-FFF2-40B4-BE49-F238E27FC236}">
                    <a16:creationId xmlns:a16="http://schemas.microsoft.com/office/drawing/2014/main" id="{E95077C0-2870-489A-B328-4A2DA4C0D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8287" y="3333103"/>
                <a:ext cx="46190" cy="47783"/>
              </a:xfrm>
              <a:custGeom>
                <a:avLst/>
                <a:gdLst>
                  <a:gd name="T0" fmla="*/ 7 w 10"/>
                  <a:gd name="T1" fmla="*/ 9 h 10"/>
                  <a:gd name="T2" fmla="*/ 7 w 10"/>
                  <a:gd name="T3" fmla="*/ 7 h 10"/>
                  <a:gd name="T4" fmla="*/ 10 w 10"/>
                  <a:gd name="T5" fmla="*/ 4 h 10"/>
                  <a:gd name="T6" fmla="*/ 8 w 10"/>
                  <a:gd name="T7" fmla="*/ 1 h 10"/>
                  <a:gd name="T8" fmla="*/ 3 w 10"/>
                  <a:gd name="T9" fmla="*/ 4 h 10"/>
                  <a:gd name="T10" fmla="*/ 0 w 10"/>
                  <a:gd name="T11" fmla="*/ 9 h 10"/>
                  <a:gd name="T12" fmla="*/ 3 w 10"/>
                  <a:gd name="T13" fmla="*/ 9 h 10"/>
                  <a:gd name="T14" fmla="*/ 7 w 10"/>
                  <a:gd name="T15" fmla="*/ 10 h 10"/>
                  <a:gd name="T16" fmla="*/ 7 w 10"/>
                  <a:gd name="T17" fmla="*/ 9 h 10"/>
                  <a:gd name="T18" fmla="*/ 7 w 10"/>
                  <a:gd name="T1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0">
                    <a:moveTo>
                      <a:pt x="7" y="9"/>
                    </a:moveTo>
                    <a:cubicBezTo>
                      <a:pt x="6" y="8"/>
                      <a:pt x="6" y="8"/>
                      <a:pt x="7" y="7"/>
                    </a:cubicBezTo>
                    <a:cubicBezTo>
                      <a:pt x="8" y="6"/>
                      <a:pt x="9" y="5"/>
                      <a:pt x="10" y="4"/>
                    </a:cubicBezTo>
                    <a:cubicBezTo>
                      <a:pt x="10" y="4"/>
                      <a:pt x="8" y="2"/>
                      <a:pt x="8" y="1"/>
                    </a:cubicBezTo>
                    <a:cubicBezTo>
                      <a:pt x="8" y="5"/>
                      <a:pt x="3" y="0"/>
                      <a:pt x="3" y="4"/>
                    </a:cubicBezTo>
                    <a:cubicBezTo>
                      <a:pt x="3" y="6"/>
                      <a:pt x="1" y="8"/>
                      <a:pt x="0" y="9"/>
                    </a:cubicBezTo>
                    <a:cubicBezTo>
                      <a:pt x="0" y="10"/>
                      <a:pt x="2" y="9"/>
                      <a:pt x="3" y="9"/>
                    </a:cubicBezTo>
                    <a:cubicBezTo>
                      <a:pt x="5" y="9"/>
                      <a:pt x="6" y="9"/>
                      <a:pt x="7" y="10"/>
                    </a:cubicBezTo>
                    <a:cubicBezTo>
                      <a:pt x="7" y="10"/>
                      <a:pt x="7" y="9"/>
                      <a:pt x="7" y="9"/>
                    </a:cubicBezTo>
                    <a:cubicBezTo>
                      <a:pt x="6" y="8"/>
                      <a:pt x="7" y="9"/>
                      <a:pt x="7" y="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5" name="Freeform 667">
                <a:extLst>
                  <a:ext uri="{FF2B5EF4-FFF2-40B4-BE49-F238E27FC236}">
                    <a16:creationId xmlns:a16="http://schemas.microsoft.com/office/drawing/2014/main" id="{E68BF764-BE91-4773-8C51-AF526BD4D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8124" y="3407964"/>
                <a:ext cx="149721" cy="89196"/>
              </a:xfrm>
              <a:custGeom>
                <a:avLst/>
                <a:gdLst>
                  <a:gd name="T0" fmla="*/ 17 w 32"/>
                  <a:gd name="T1" fmla="*/ 4 h 19"/>
                  <a:gd name="T2" fmla="*/ 2 w 32"/>
                  <a:gd name="T3" fmla="*/ 0 h 19"/>
                  <a:gd name="T4" fmla="*/ 2 w 32"/>
                  <a:gd name="T5" fmla="*/ 5 h 19"/>
                  <a:gd name="T6" fmla="*/ 3 w 32"/>
                  <a:gd name="T7" fmla="*/ 8 h 19"/>
                  <a:gd name="T8" fmla="*/ 1 w 32"/>
                  <a:gd name="T9" fmla="*/ 11 h 19"/>
                  <a:gd name="T10" fmla="*/ 3 w 32"/>
                  <a:gd name="T11" fmla="*/ 17 h 19"/>
                  <a:gd name="T12" fmla="*/ 9 w 32"/>
                  <a:gd name="T13" fmla="*/ 17 h 19"/>
                  <a:gd name="T14" fmla="*/ 16 w 32"/>
                  <a:gd name="T15" fmla="*/ 18 h 19"/>
                  <a:gd name="T16" fmla="*/ 21 w 32"/>
                  <a:gd name="T17" fmla="*/ 15 h 19"/>
                  <a:gd name="T18" fmla="*/ 28 w 32"/>
                  <a:gd name="T19" fmla="*/ 14 h 19"/>
                  <a:gd name="T20" fmla="*/ 28 w 32"/>
                  <a:gd name="T21" fmla="*/ 8 h 19"/>
                  <a:gd name="T22" fmla="*/ 29 w 32"/>
                  <a:gd name="T23" fmla="*/ 3 h 19"/>
                  <a:gd name="T24" fmla="*/ 21 w 32"/>
                  <a:gd name="T25" fmla="*/ 2 h 19"/>
                  <a:gd name="T26" fmla="*/ 17 w 32"/>
                  <a:gd name="T27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19">
                    <a:moveTo>
                      <a:pt x="17" y="4"/>
                    </a:moveTo>
                    <a:cubicBezTo>
                      <a:pt x="13" y="4"/>
                      <a:pt x="3" y="6"/>
                      <a:pt x="2" y="0"/>
                    </a:cubicBezTo>
                    <a:cubicBezTo>
                      <a:pt x="1" y="2"/>
                      <a:pt x="0" y="4"/>
                      <a:pt x="2" y="5"/>
                    </a:cubicBezTo>
                    <a:cubicBezTo>
                      <a:pt x="3" y="6"/>
                      <a:pt x="4" y="7"/>
                      <a:pt x="3" y="8"/>
                    </a:cubicBezTo>
                    <a:cubicBezTo>
                      <a:pt x="2" y="9"/>
                      <a:pt x="1" y="9"/>
                      <a:pt x="1" y="11"/>
                    </a:cubicBezTo>
                    <a:cubicBezTo>
                      <a:pt x="2" y="13"/>
                      <a:pt x="3" y="14"/>
                      <a:pt x="3" y="17"/>
                    </a:cubicBezTo>
                    <a:cubicBezTo>
                      <a:pt x="5" y="17"/>
                      <a:pt x="7" y="17"/>
                      <a:pt x="9" y="17"/>
                    </a:cubicBezTo>
                    <a:cubicBezTo>
                      <a:pt x="11" y="17"/>
                      <a:pt x="14" y="19"/>
                      <a:pt x="16" y="18"/>
                    </a:cubicBezTo>
                    <a:cubicBezTo>
                      <a:pt x="18" y="18"/>
                      <a:pt x="20" y="16"/>
                      <a:pt x="21" y="15"/>
                    </a:cubicBezTo>
                    <a:cubicBezTo>
                      <a:pt x="23" y="13"/>
                      <a:pt x="25" y="14"/>
                      <a:pt x="28" y="14"/>
                    </a:cubicBezTo>
                    <a:cubicBezTo>
                      <a:pt x="27" y="12"/>
                      <a:pt x="27" y="11"/>
                      <a:pt x="28" y="8"/>
                    </a:cubicBezTo>
                    <a:cubicBezTo>
                      <a:pt x="29" y="6"/>
                      <a:pt x="32" y="4"/>
                      <a:pt x="29" y="3"/>
                    </a:cubicBezTo>
                    <a:cubicBezTo>
                      <a:pt x="27" y="2"/>
                      <a:pt x="24" y="1"/>
                      <a:pt x="21" y="2"/>
                    </a:cubicBezTo>
                    <a:cubicBezTo>
                      <a:pt x="19" y="2"/>
                      <a:pt x="18" y="4"/>
                      <a:pt x="17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6" name="Freeform 668">
                <a:extLst>
                  <a:ext uri="{FF2B5EF4-FFF2-40B4-BE49-F238E27FC236}">
                    <a16:creationId xmlns:a16="http://schemas.microsoft.com/office/drawing/2014/main" id="{158D89DB-5B8F-4734-B9B3-5F178AF3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181" y="3385665"/>
                <a:ext cx="84417" cy="70082"/>
              </a:xfrm>
              <a:custGeom>
                <a:avLst/>
                <a:gdLst>
                  <a:gd name="T0" fmla="*/ 10 w 18"/>
                  <a:gd name="T1" fmla="*/ 0 h 15"/>
                  <a:gd name="T2" fmla="*/ 1 w 18"/>
                  <a:gd name="T3" fmla="*/ 2 h 15"/>
                  <a:gd name="T4" fmla="*/ 4 w 18"/>
                  <a:gd name="T5" fmla="*/ 8 h 15"/>
                  <a:gd name="T6" fmla="*/ 13 w 18"/>
                  <a:gd name="T7" fmla="*/ 15 h 15"/>
                  <a:gd name="T8" fmla="*/ 15 w 18"/>
                  <a:gd name="T9" fmla="*/ 10 h 15"/>
                  <a:gd name="T10" fmla="*/ 17 w 18"/>
                  <a:gd name="T11" fmla="*/ 6 h 15"/>
                  <a:gd name="T12" fmla="*/ 16 w 18"/>
                  <a:gd name="T13" fmla="*/ 2 h 15"/>
                  <a:gd name="T14" fmla="*/ 10 w 18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10" y="0"/>
                    </a:moveTo>
                    <a:cubicBezTo>
                      <a:pt x="8" y="0"/>
                      <a:pt x="0" y="0"/>
                      <a:pt x="1" y="2"/>
                    </a:cubicBezTo>
                    <a:cubicBezTo>
                      <a:pt x="1" y="3"/>
                      <a:pt x="3" y="7"/>
                      <a:pt x="4" y="8"/>
                    </a:cubicBezTo>
                    <a:cubicBezTo>
                      <a:pt x="6" y="11"/>
                      <a:pt x="10" y="13"/>
                      <a:pt x="13" y="15"/>
                    </a:cubicBezTo>
                    <a:cubicBezTo>
                      <a:pt x="13" y="13"/>
                      <a:pt x="13" y="11"/>
                      <a:pt x="15" y="10"/>
                    </a:cubicBezTo>
                    <a:cubicBezTo>
                      <a:pt x="17" y="9"/>
                      <a:pt x="18" y="8"/>
                      <a:pt x="17" y="6"/>
                    </a:cubicBezTo>
                    <a:cubicBezTo>
                      <a:pt x="17" y="4"/>
                      <a:pt x="17" y="3"/>
                      <a:pt x="16" y="2"/>
                    </a:cubicBezTo>
                    <a:cubicBezTo>
                      <a:pt x="14" y="1"/>
                      <a:pt x="12" y="0"/>
                      <a:pt x="10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7" name="Freeform 669">
                <a:extLst>
                  <a:ext uri="{FF2B5EF4-FFF2-40B4-BE49-F238E27FC236}">
                    <a16:creationId xmlns:a16="http://schemas.microsoft.com/office/drawing/2014/main" id="{661BD936-10A1-4378-857D-51C59285A3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707" y="3352218"/>
                <a:ext cx="103530" cy="125829"/>
              </a:xfrm>
              <a:custGeom>
                <a:avLst/>
                <a:gdLst>
                  <a:gd name="T0" fmla="*/ 21 w 22"/>
                  <a:gd name="T1" fmla="*/ 19 h 27"/>
                  <a:gd name="T2" fmla="*/ 20 w 22"/>
                  <a:gd name="T3" fmla="*/ 17 h 27"/>
                  <a:gd name="T4" fmla="*/ 19 w 22"/>
                  <a:gd name="T5" fmla="*/ 13 h 27"/>
                  <a:gd name="T6" fmla="*/ 15 w 22"/>
                  <a:gd name="T7" fmla="*/ 10 h 27"/>
                  <a:gd name="T8" fmla="*/ 14 w 22"/>
                  <a:gd name="T9" fmla="*/ 8 h 27"/>
                  <a:gd name="T10" fmla="*/ 12 w 22"/>
                  <a:gd name="T11" fmla="*/ 5 h 27"/>
                  <a:gd name="T12" fmla="*/ 5 w 22"/>
                  <a:gd name="T13" fmla="*/ 1 h 27"/>
                  <a:gd name="T14" fmla="*/ 2 w 22"/>
                  <a:gd name="T15" fmla="*/ 4 h 27"/>
                  <a:gd name="T16" fmla="*/ 4 w 22"/>
                  <a:gd name="T17" fmla="*/ 14 h 27"/>
                  <a:gd name="T18" fmla="*/ 1 w 22"/>
                  <a:gd name="T19" fmla="*/ 19 h 27"/>
                  <a:gd name="T20" fmla="*/ 0 w 22"/>
                  <a:gd name="T21" fmla="*/ 23 h 27"/>
                  <a:gd name="T22" fmla="*/ 4 w 22"/>
                  <a:gd name="T23" fmla="*/ 27 h 27"/>
                  <a:gd name="T24" fmla="*/ 6 w 22"/>
                  <a:gd name="T25" fmla="*/ 23 h 27"/>
                  <a:gd name="T26" fmla="*/ 10 w 22"/>
                  <a:gd name="T27" fmla="*/ 26 h 27"/>
                  <a:gd name="T28" fmla="*/ 20 w 22"/>
                  <a:gd name="T29" fmla="*/ 24 h 27"/>
                  <a:gd name="T30" fmla="*/ 21 w 22"/>
                  <a:gd name="T31" fmla="*/ 19 h 27"/>
                  <a:gd name="T32" fmla="*/ 21 w 22"/>
                  <a:gd name="T33" fmla="*/ 1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" h="27">
                    <a:moveTo>
                      <a:pt x="21" y="19"/>
                    </a:moveTo>
                    <a:cubicBezTo>
                      <a:pt x="22" y="18"/>
                      <a:pt x="21" y="18"/>
                      <a:pt x="20" y="17"/>
                    </a:cubicBezTo>
                    <a:cubicBezTo>
                      <a:pt x="19" y="16"/>
                      <a:pt x="19" y="15"/>
                      <a:pt x="19" y="13"/>
                    </a:cubicBezTo>
                    <a:cubicBezTo>
                      <a:pt x="21" y="10"/>
                      <a:pt x="18" y="10"/>
                      <a:pt x="15" y="10"/>
                    </a:cubicBezTo>
                    <a:cubicBezTo>
                      <a:pt x="14" y="10"/>
                      <a:pt x="14" y="9"/>
                      <a:pt x="14" y="8"/>
                    </a:cubicBezTo>
                    <a:cubicBezTo>
                      <a:pt x="13" y="6"/>
                      <a:pt x="12" y="7"/>
                      <a:pt x="12" y="5"/>
                    </a:cubicBezTo>
                    <a:cubicBezTo>
                      <a:pt x="11" y="2"/>
                      <a:pt x="9" y="0"/>
                      <a:pt x="5" y="1"/>
                    </a:cubicBezTo>
                    <a:cubicBezTo>
                      <a:pt x="2" y="2"/>
                      <a:pt x="2" y="2"/>
                      <a:pt x="2" y="4"/>
                    </a:cubicBezTo>
                    <a:cubicBezTo>
                      <a:pt x="3" y="7"/>
                      <a:pt x="4" y="10"/>
                      <a:pt x="4" y="14"/>
                    </a:cubicBezTo>
                    <a:cubicBezTo>
                      <a:pt x="5" y="17"/>
                      <a:pt x="2" y="16"/>
                      <a:pt x="1" y="19"/>
                    </a:cubicBezTo>
                    <a:cubicBezTo>
                      <a:pt x="0" y="20"/>
                      <a:pt x="0" y="22"/>
                      <a:pt x="0" y="23"/>
                    </a:cubicBezTo>
                    <a:cubicBezTo>
                      <a:pt x="0" y="25"/>
                      <a:pt x="3" y="26"/>
                      <a:pt x="4" y="27"/>
                    </a:cubicBezTo>
                    <a:cubicBezTo>
                      <a:pt x="4" y="26"/>
                      <a:pt x="4" y="23"/>
                      <a:pt x="6" y="23"/>
                    </a:cubicBezTo>
                    <a:cubicBezTo>
                      <a:pt x="8" y="23"/>
                      <a:pt x="9" y="24"/>
                      <a:pt x="10" y="26"/>
                    </a:cubicBezTo>
                    <a:cubicBezTo>
                      <a:pt x="11" y="26"/>
                      <a:pt x="18" y="24"/>
                      <a:pt x="20" y="24"/>
                    </a:cubicBezTo>
                    <a:cubicBezTo>
                      <a:pt x="18" y="22"/>
                      <a:pt x="20" y="21"/>
                      <a:pt x="21" y="19"/>
                    </a:cubicBezTo>
                    <a:cubicBezTo>
                      <a:pt x="22" y="18"/>
                      <a:pt x="20" y="20"/>
                      <a:pt x="21" y="1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8" name="Freeform 670">
                <a:extLst>
                  <a:ext uri="{FF2B5EF4-FFF2-40B4-BE49-F238E27FC236}">
                    <a16:creationId xmlns:a16="http://schemas.microsoft.com/office/drawing/2014/main" id="{E8B8E1AE-B302-40AA-ABDC-1958463327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961" y="3277357"/>
                <a:ext cx="164057" cy="89196"/>
              </a:xfrm>
              <a:custGeom>
                <a:avLst/>
                <a:gdLst>
                  <a:gd name="T0" fmla="*/ 30 w 35"/>
                  <a:gd name="T1" fmla="*/ 3 h 19"/>
                  <a:gd name="T2" fmla="*/ 24 w 35"/>
                  <a:gd name="T3" fmla="*/ 1 h 19"/>
                  <a:gd name="T4" fmla="*/ 19 w 35"/>
                  <a:gd name="T5" fmla="*/ 4 h 19"/>
                  <a:gd name="T6" fmla="*/ 15 w 35"/>
                  <a:gd name="T7" fmla="*/ 4 h 19"/>
                  <a:gd name="T8" fmla="*/ 13 w 35"/>
                  <a:gd name="T9" fmla="*/ 6 h 19"/>
                  <a:gd name="T10" fmla="*/ 5 w 35"/>
                  <a:gd name="T11" fmla="*/ 4 h 19"/>
                  <a:gd name="T12" fmla="*/ 5 w 35"/>
                  <a:gd name="T13" fmla="*/ 7 h 19"/>
                  <a:gd name="T14" fmla="*/ 3 w 35"/>
                  <a:gd name="T15" fmla="*/ 8 h 19"/>
                  <a:gd name="T16" fmla="*/ 3 w 35"/>
                  <a:gd name="T17" fmla="*/ 15 h 19"/>
                  <a:gd name="T18" fmla="*/ 11 w 35"/>
                  <a:gd name="T19" fmla="*/ 19 h 19"/>
                  <a:gd name="T20" fmla="*/ 21 w 35"/>
                  <a:gd name="T21" fmla="*/ 17 h 19"/>
                  <a:gd name="T22" fmla="*/ 25 w 35"/>
                  <a:gd name="T23" fmla="*/ 15 h 19"/>
                  <a:gd name="T24" fmla="*/ 29 w 35"/>
                  <a:gd name="T25" fmla="*/ 9 h 19"/>
                  <a:gd name="T26" fmla="*/ 33 w 35"/>
                  <a:gd name="T27" fmla="*/ 6 h 19"/>
                  <a:gd name="T28" fmla="*/ 30 w 35"/>
                  <a:gd name="T29" fmla="*/ 3 h 19"/>
                  <a:gd name="T30" fmla="*/ 30 w 35"/>
                  <a:gd name="T31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19">
                    <a:moveTo>
                      <a:pt x="30" y="3"/>
                    </a:moveTo>
                    <a:cubicBezTo>
                      <a:pt x="30" y="2"/>
                      <a:pt x="25" y="2"/>
                      <a:pt x="24" y="1"/>
                    </a:cubicBezTo>
                    <a:cubicBezTo>
                      <a:pt x="20" y="0"/>
                      <a:pt x="22" y="4"/>
                      <a:pt x="19" y="4"/>
                    </a:cubicBezTo>
                    <a:cubicBezTo>
                      <a:pt x="18" y="3"/>
                      <a:pt x="17" y="4"/>
                      <a:pt x="15" y="4"/>
                    </a:cubicBezTo>
                    <a:cubicBezTo>
                      <a:pt x="14" y="4"/>
                      <a:pt x="14" y="6"/>
                      <a:pt x="13" y="6"/>
                    </a:cubicBezTo>
                    <a:cubicBezTo>
                      <a:pt x="9" y="8"/>
                      <a:pt x="7" y="6"/>
                      <a:pt x="5" y="4"/>
                    </a:cubicBezTo>
                    <a:cubicBezTo>
                      <a:pt x="5" y="5"/>
                      <a:pt x="5" y="6"/>
                      <a:pt x="5" y="7"/>
                    </a:cubicBezTo>
                    <a:cubicBezTo>
                      <a:pt x="4" y="8"/>
                      <a:pt x="3" y="6"/>
                      <a:pt x="3" y="8"/>
                    </a:cubicBezTo>
                    <a:cubicBezTo>
                      <a:pt x="3" y="11"/>
                      <a:pt x="0" y="13"/>
                      <a:pt x="3" y="15"/>
                    </a:cubicBezTo>
                    <a:cubicBezTo>
                      <a:pt x="5" y="17"/>
                      <a:pt x="8" y="19"/>
                      <a:pt x="11" y="19"/>
                    </a:cubicBezTo>
                    <a:cubicBezTo>
                      <a:pt x="15" y="19"/>
                      <a:pt x="17" y="16"/>
                      <a:pt x="21" y="17"/>
                    </a:cubicBezTo>
                    <a:cubicBezTo>
                      <a:pt x="21" y="16"/>
                      <a:pt x="24" y="16"/>
                      <a:pt x="25" y="15"/>
                    </a:cubicBezTo>
                    <a:cubicBezTo>
                      <a:pt x="26" y="13"/>
                      <a:pt x="27" y="11"/>
                      <a:pt x="29" y="9"/>
                    </a:cubicBezTo>
                    <a:cubicBezTo>
                      <a:pt x="30" y="7"/>
                      <a:pt x="31" y="7"/>
                      <a:pt x="33" y="6"/>
                    </a:cubicBezTo>
                    <a:cubicBezTo>
                      <a:pt x="35" y="4"/>
                      <a:pt x="30" y="4"/>
                      <a:pt x="30" y="3"/>
                    </a:cubicBezTo>
                    <a:cubicBezTo>
                      <a:pt x="30" y="3"/>
                      <a:pt x="30" y="4"/>
                      <a:pt x="30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9" name="Freeform 671">
                <a:extLst>
                  <a:ext uri="{FF2B5EF4-FFF2-40B4-BE49-F238E27FC236}">
                    <a16:creationId xmlns:a16="http://schemas.microsoft.com/office/drawing/2014/main" id="{F00016CB-7070-4F38-8D7E-BECE128BA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1932" y="3478046"/>
                <a:ext cx="144943" cy="149721"/>
              </a:xfrm>
              <a:custGeom>
                <a:avLst/>
                <a:gdLst>
                  <a:gd name="T0" fmla="*/ 31 w 31"/>
                  <a:gd name="T1" fmla="*/ 0 h 32"/>
                  <a:gd name="T2" fmla="*/ 23 w 31"/>
                  <a:gd name="T3" fmla="*/ 3 h 32"/>
                  <a:gd name="T4" fmla="*/ 13 w 31"/>
                  <a:gd name="T5" fmla="*/ 2 h 32"/>
                  <a:gd name="T6" fmla="*/ 9 w 31"/>
                  <a:gd name="T7" fmla="*/ 4 h 32"/>
                  <a:gd name="T8" fmla="*/ 6 w 31"/>
                  <a:gd name="T9" fmla="*/ 5 h 32"/>
                  <a:gd name="T10" fmla="*/ 4 w 31"/>
                  <a:gd name="T11" fmla="*/ 8 h 32"/>
                  <a:gd name="T12" fmla="*/ 2 w 31"/>
                  <a:gd name="T13" fmla="*/ 11 h 32"/>
                  <a:gd name="T14" fmla="*/ 2 w 31"/>
                  <a:gd name="T15" fmla="*/ 15 h 32"/>
                  <a:gd name="T16" fmla="*/ 4 w 31"/>
                  <a:gd name="T17" fmla="*/ 17 h 32"/>
                  <a:gd name="T18" fmla="*/ 5 w 31"/>
                  <a:gd name="T19" fmla="*/ 22 h 32"/>
                  <a:gd name="T20" fmla="*/ 6 w 31"/>
                  <a:gd name="T21" fmla="*/ 25 h 32"/>
                  <a:gd name="T22" fmla="*/ 7 w 31"/>
                  <a:gd name="T23" fmla="*/ 28 h 32"/>
                  <a:gd name="T24" fmla="*/ 8 w 31"/>
                  <a:gd name="T25" fmla="*/ 29 h 32"/>
                  <a:gd name="T26" fmla="*/ 10 w 31"/>
                  <a:gd name="T27" fmla="*/ 31 h 32"/>
                  <a:gd name="T28" fmla="*/ 12 w 31"/>
                  <a:gd name="T29" fmla="*/ 30 h 32"/>
                  <a:gd name="T30" fmla="*/ 13 w 31"/>
                  <a:gd name="T31" fmla="*/ 31 h 32"/>
                  <a:gd name="T32" fmla="*/ 13 w 31"/>
                  <a:gd name="T33" fmla="*/ 26 h 32"/>
                  <a:gd name="T34" fmla="*/ 17 w 31"/>
                  <a:gd name="T35" fmla="*/ 26 h 32"/>
                  <a:gd name="T36" fmla="*/ 14 w 31"/>
                  <a:gd name="T37" fmla="*/ 23 h 32"/>
                  <a:gd name="T38" fmla="*/ 17 w 31"/>
                  <a:gd name="T39" fmla="*/ 24 h 32"/>
                  <a:gd name="T40" fmla="*/ 18 w 31"/>
                  <a:gd name="T41" fmla="*/ 22 h 32"/>
                  <a:gd name="T42" fmla="*/ 21 w 31"/>
                  <a:gd name="T43" fmla="*/ 23 h 32"/>
                  <a:gd name="T44" fmla="*/ 19 w 31"/>
                  <a:gd name="T45" fmla="*/ 19 h 32"/>
                  <a:gd name="T46" fmla="*/ 15 w 31"/>
                  <a:gd name="T47" fmla="*/ 17 h 32"/>
                  <a:gd name="T48" fmla="*/ 15 w 31"/>
                  <a:gd name="T49" fmla="*/ 16 h 32"/>
                  <a:gd name="T50" fmla="*/ 11 w 31"/>
                  <a:gd name="T51" fmla="*/ 10 h 32"/>
                  <a:gd name="T52" fmla="*/ 16 w 31"/>
                  <a:gd name="T53" fmla="*/ 11 h 32"/>
                  <a:gd name="T54" fmla="*/ 16 w 31"/>
                  <a:gd name="T55" fmla="*/ 10 h 32"/>
                  <a:gd name="T56" fmla="*/ 18 w 31"/>
                  <a:gd name="T57" fmla="*/ 11 h 32"/>
                  <a:gd name="T58" fmla="*/ 17 w 31"/>
                  <a:gd name="T59" fmla="*/ 9 h 32"/>
                  <a:gd name="T60" fmla="*/ 21 w 31"/>
                  <a:gd name="T61" fmla="*/ 10 h 32"/>
                  <a:gd name="T62" fmla="*/ 17 w 31"/>
                  <a:gd name="T63" fmla="*/ 7 h 32"/>
                  <a:gd name="T64" fmla="*/ 22 w 31"/>
                  <a:gd name="T65" fmla="*/ 5 h 32"/>
                  <a:gd name="T66" fmla="*/ 21 w 31"/>
                  <a:gd name="T67" fmla="*/ 7 h 32"/>
                  <a:gd name="T68" fmla="*/ 25 w 31"/>
                  <a:gd name="T69" fmla="*/ 5 h 32"/>
                  <a:gd name="T70" fmla="*/ 29 w 31"/>
                  <a:gd name="T71" fmla="*/ 7 h 32"/>
                  <a:gd name="T72" fmla="*/ 31 w 31"/>
                  <a:gd name="T7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1" h="32">
                    <a:moveTo>
                      <a:pt x="31" y="0"/>
                    </a:moveTo>
                    <a:cubicBezTo>
                      <a:pt x="28" y="2"/>
                      <a:pt x="27" y="4"/>
                      <a:pt x="23" y="3"/>
                    </a:cubicBezTo>
                    <a:cubicBezTo>
                      <a:pt x="21" y="2"/>
                      <a:pt x="15" y="1"/>
                      <a:pt x="13" y="2"/>
                    </a:cubicBezTo>
                    <a:cubicBezTo>
                      <a:pt x="13" y="5"/>
                      <a:pt x="10" y="3"/>
                      <a:pt x="9" y="4"/>
                    </a:cubicBezTo>
                    <a:cubicBezTo>
                      <a:pt x="8" y="5"/>
                      <a:pt x="7" y="5"/>
                      <a:pt x="6" y="5"/>
                    </a:cubicBezTo>
                    <a:cubicBezTo>
                      <a:pt x="4" y="6"/>
                      <a:pt x="4" y="7"/>
                      <a:pt x="4" y="8"/>
                    </a:cubicBezTo>
                    <a:cubicBezTo>
                      <a:pt x="3" y="9"/>
                      <a:pt x="3" y="10"/>
                      <a:pt x="2" y="11"/>
                    </a:cubicBezTo>
                    <a:cubicBezTo>
                      <a:pt x="0" y="13"/>
                      <a:pt x="0" y="13"/>
                      <a:pt x="2" y="15"/>
                    </a:cubicBezTo>
                    <a:cubicBezTo>
                      <a:pt x="3" y="16"/>
                      <a:pt x="4" y="16"/>
                      <a:pt x="4" y="17"/>
                    </a:cubicBezTo>
                    <a:cubicBezTo>
                      <a:pt x="4" y="19"/>
                      <a:pt x="4" y="20"/>
                      <a:pt x="5" y="22"/>
                    </a:cubicBezTo>
                    <a:cubicBezTo>
                      <a:pt x="5" y="23"/>
                      <a:pt x="5" y="24"/>
                      <a:pt x="6" y="25"/>
                    </a:cubicBezTo>
                    <a:cubicBezTo>
                      <a:pt x="8" y="26"/>
                      <a:pt x="6" y="27"/>
                      <a:pt x="7" y="28"/>
                    </a:cubicBezTo>
                    <a:cubicBezTo>
                      <a:pt x="7" y="30"/>
                      <a:pt x="8" y="29"/>
                      <a:pt x="8" y="29"/>
                    </a:cubicBezTo>
                    <a:cubicBezTo>
                      <a:pt x="10" y="29"/>
                      <a:pt x="10" y="30"/>
                      <a:pt x="10" y="31"/>
                    </a:cubicBezTo>
                    <a:cubicBezTo>
                      <a:pt x="11" y="31"/>
                      <a:pt x="12" y="30"/>
                      <a:pt x="12" y="30"/>
                    </a:cubicBezTo>
                    <a:cubicBezTo>
                      <a:pt x="13" y="29"/>
                      <a:pt x="13" y="31"/>
                      <a:pt x="13" y="31"/>
                    </a:cubicBezTo>
                    <a:cubicBezTo>
                      <a:pt x="14" y="32"/>
                      <a:pt x="13" y="25"/>
                      <a:pt x="13" y="26"/>
                    </a:cubicBezTo>
                    <a:cubicBezTo>
                      <a:pt x="13" y="25"/>
                      <a:pt x="16" y="26"/>
                      <a:pt x="17" y="26"/>
                    </a:cubicBezTo>
                    <a:cubicBezTo>
                      <a:pt x="17" y="25"/>
                      <a:pt x="14" y="24"/>
                      <a:pt x="14" y="23"/>
                    </a:cubicBezTo>
                    <a:cubicBezTo>
                      <a:pt x="15" y="21"/>
                      <a:pt x="17" y="23"/>
                      <a:pt x="17" y="24"/>
                    </a:cubicBezTo>
                    <a:cubicBezTo>
                      <a:pt x="19" y="25"/>
                      <a:pt x="18" y="23"/>
                      <a:pt x="18" y="22"/>
                    </a:cubicBezTo>
                    <a:cubicBezTo>
                      <a:pt x="18" y="21"/>
                      <a:pt x="21" y="23"/>
                      <a:pt x="21" y="23"/>
                    </a:cubicBezTo>
                    <a:cubicBezTo>
                      <a:pt x="21" y="22"/>
                      <a:pt x="19" y="19"/>
                      <a:pt x="19" y="19"/>
                    </a:cubicBezTo>
                    <a:cubicBezTo>
                      <a:pt x="18" y="18"/>
                      <a:pt x="16" y="18"/>
                      <a:pt x="15" y="17"/>
                    </a:cubicBezTo>
                    <a:cubicBezTo>
                      <a:pt x="15" y="17"/>
                      <a:pt x="15" y="15"/>
                      <a:pt x="15" y="16"/>
                    </a:cubicBezTo>
                    <a:cubicBezTo>
                      <a:pt x="14" y="14"/>
                      <a:pt x="11" y="12"/>
                      <a:pt x="11" y="10"/>
                    </a:cubicBezTo>
                    <a:cubicBezTo>
                      <a:pt x="12" y="6"/>
                      <a:pt x="15" y="10"/>
                      <a:pt x="16" y="11"/>
                    </a:cubicBezTo>
                    <a:cubicBezTo>
                      <a:pt x="16" y="11"/>
                      <a:pt x="16" y="10"/>
                      <a:pt x="16" y="10"/>
                    </a:cubicBezTo>
                    <a:cubicBezTo>
                      <a:pt x="17" y="9"/>
                      <a:pt x="18" y="10"/>
                      <a:pt x="18" y="11"/>
                    </a:cubicBezTo>
                    <a:cubicBezTo>
                      <a:pt x="18" y="11"/>
                      <a:pt x="17" y="9"/>
                      <a:pt x="17" y="9"/>
                    </a:cubicBezTo>
                    <a:cubicBezTo>
                      <a:pt x="18" y="9"/>
                      <a:pt x="20" y="10"/>
                      <a:pt x="21" y="10"/>
                    </a:cubicBezTo>
                    <a:cubicBezTo>
                      <a:pt x="21" y="9"/>
                      <a:pt x="17" y="9"/>
                      <a:pt x="17" y="7"/>
                    </a:cubicBezTo>
                    <a:cubicBezTo>
                      <a:pt x="17" y="7"/>
                      <a:pt x="21" y="5"/>
                      <a:pt x="22" y="5"/>
                    </a:cubicBezTo>
                    <a:cubicBezTo>
                      <a:pt x="22" y="5"/>
                      <a:pt x="21" y="7"/>
                      <a:pt x="21" y="7"/>
                    </a:cubicBezTo>
                    <a:cubicBezTo>
                      <a:pt x="21" y="7"/>
                      <a:pt x="24" y="5"/>
                      <a:pt x="25" y="5"/>
                    </a:cubicBezTo>
                    <a:cubicBezTo>
                      <a:pt x="26" y="5"/>
                      <a:pt x="27" y="6"/>
                      <a:pt x="29" y="7"/>
                    </a:cubicBezTo>
                    <a:cubicBezTo>
                      <a:pt x="30" y="5"/>
                      <a:pt x="31" y="2"/>
                      <a:pt x="31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0" name="Freeform 672">
                <a:extLst>
                  <a:ext uri="{FF2B5EF4-FFF2-40B4-BE49-F238E27FC236}">
                    <a16:creationId xmlns:a16="http://schemas.microsoft.com/office/drawing/2014/main" id="{706DB039-4428-4722-82F2-68A1CB9B9C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2540" y="3470081"/>
                <a:ext cx="70082" cy="46190"/>
              </a:xfrm>
              <a:custGeom>
                <a:avLst/>
                <a:gdLst>
                  <a:gd name="T0" fmla="*/ 15 w 15"/>
                  <a:gd name="T1" fmla="*/ 6 h 10"/>
                  <a:gd name="T2" fmla="*/ 10 w 15"/>
                  <a:gd name="T3" fmla="*/ 1 h 10"/>
                  <a:gd name="T4" fmla="*/ 2 w 15"/>
                  <a:gd name="T5" fmla="*/ 5 h 10"/>
                  <a:gd name="T6" fmla="*/ 1 w 15"/>
                  <a:gd name="T7" fmla="*/ 9 h 10"/>
                  <a:gd name="T8" fmla="*/ 6 w 15"/>
                  <a:gd name="T9" fmla="*/ 9 h 10"/>
                  <a:gd name="T10" fmla="*/ 11 w 15"/>
                  <a:gd name="T11" fmla="*/ 7 h 10"/>
                  <a:gd name="T12" fmla="*/ 15 w 15"/>
                  <a:gd name="T13" fmla="*/ 6 h 10"/>
                  <a:gd name="T14" fmla="*/ 15 w 15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0">
                    <a:moveTo>
                      <a:pt x="15" y="6"/>
                    </a:moveTo>
                    <a:cubicBezTo>
                      <a:pt x="13" y="4"/>
                      <a:pt x="10" y="4"/>
                      <a:pt x="10" y="1"/>
                    </a:cubicBezTo>
                    <a:cubicBezTo>
                      <a:pt x="5" y="0"/>
                      <a:pt x="4" y="0"/>
                      <a:pt x="2" y="5"/>
                    </a:cubicBezTo>
                    <a:cubicBezTo>
                      <a:pt x="2" y="6"/>
                      <a:pt x="0" y="9"/>
                      <a:pt x="1" y="9"/>
                    </a:cubicBezTo>
                    <a:cubicBezTo>
                      <a:pt x="3" y="10"/>
                      <a:pt x="5" y="10"/>
                      <a:pt x="6" y="9"/>
                    </a:cubicBezTo>
                    <a:cubicBezTo>
                      <a:pt x="8" y="8"/>
                      <a:pt x="9" y="7"/>
                      <a:pt x="11" y="7"/>
                    </a:cubicBezTo>
                    <a:cubicBezTo>
                      <a:pt x="11" y="7"/>
                      <a:pt x="15" y="7"/>
                      <a:pt x="15" y="6"/>
                    </a:cubicBezTo>
                    <a:cubicBezTo>
                      <a:pt x="14" y="6"/>
                      <a:pt x="15" y="7"/>
                      <a:pt x="15" y="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1" name="Freeform 673">
                <a:extLst>
                  <a:ext uri="{FF2B5EF4-FFF2-40B4-BE49-F238E27FC236}">
                    <a16:creationId xmlns:a16="http://schemas.microsoft.com/office/drawing/2014/main" id="{A1E0C229-1F00-45EE-9199-B597ABC2B0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820" y="3455748"/>
                <a:ext cx="41412" cy="84419"/>
              </a:xfrm>
              <a:custGeom>
                <a:avLst/>
                <a:gdLst>
                  <a:gd name="T0" fmla="*/ 6 w 9"/>
                  <a:gd name="T1" fmla="*/ 16 h 18"/>
                  <a:gd name="T2" fmla="*/ 7 w 9"/>
                  <a:gd name="T3" fmla="*/ 11 h 18"/>
                  <a:gd name="T4" fmla="*/ 6 w 9"/>
                  <a:gd name="T5" fmla="*/ 6 h 18"/>
                  <a:gd name="T6" fmla="*/ 7 w 9"/>
                  <a:gd name="T7" fmla="*/ 4 h 18"/>
                  <a:gd name="T8" fmla="*/ 3 w 9"/>
                  <a:gd name="T9" fmla="*/ 1 h 18"/>
                  <a:gd name="T10" fmla="*/ 0 w 9"/>
                  <a:gd name="T11" fmla="*/ 9 h 18"/>
                  <a:gd name="T12" fmla="*/ 4 w 9"/>
                  <a:gd name="T13" fmla="*/ 18 h 18"/>
                  <a:gd name="T14" fmla="*/ 6 w 9"/>
                  <a:gd name="T15" fmla="*/ 16 h 18"/>
                  <a:gd name="T16" fmla="*/ 6 w 9"/>
                  <a:gd name="T17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8">
                    <a:moveTo>
                      <a:pt x="6" y="16"/>
                    </a:moveTo>
                    <a:cubicBezTo>
                      <a:pt x="7" y="14"/>
                      <a:pt x="9" y="12"/>
                      <a:pt x="7" y="11"/>
                    </a:cubicBezTo>
                    <a:cubicBezTo>
                      <a:pt x="6" y="10"/>
                      <a:pt x="5" y="8"/>
                      <a:pt x="6" y="6"/>
                    </a:cubicBezTo>
                    <a:cubicBezTo>
                      <a:pt x="6" y="6"/>
                      <a:pt x="7" y="4"/>
                      <a:pt x="7" y="4"/>
                    </a:cubicBezTo>
                    <a:cubicBezTo>
                      <a:pt x="6" y="3"/>
                      <a:pt x="4" y="1"/>
                      <a:pt x="3" y="1"/>
                    </a:cubicBezTo>
                    <a:cubicBezTo>
                      <a:pt x="0" y="0"/>
                      <a:pt x="0" y="7"/>
                      <a:pt x="0" y="9"/>
                    </a:cubicBezTo>
                    <a:cubicBezTo>
                      <a:pt x="0" y="13"/>
                      <a:pt x="2" y="15"/>
                      <a:pt x="4" y="18"/>
                    </a:cubicBezTo>
                    <a:cubicBezTo>
                      <a:pt x="5" y="17"/>
                      <a:pt x="6" y="16"/>
                      <a:pt x="6" y="16"/>
                    </a:cubicBezTo>
                    <a:cubicBezTo>
                      <a:pt x="7" y="14"/>
                      <a:pt x="6" y="16"/>
                      <a:pt x="6" y="1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2" name="Freeform 674">
                <a:extLst>
                  <a:ext uri="{FF2B5EF4-FFF2-40B4-BE49-F238E27FC236}">
                    <a16:creationId xmlns:a16="http://schemas.microsoft.com/office/drawing/2014/main" id="{82B39971-C3A2-4267-AAB7-D546089D56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712" y="3465305"/>
                <a:ext cx="60525" cy="41414"/>
              </a:xfrm>
              <a:custGeom>
                <a:avLst/>
                <a:gdLst>
                  <a:gd name="T0" fmla="*/ 11 w 13"/>
                  <a:gd name="T1" fmla="*/ 0 h 9"/>
                  <a:gd name="T2" fmla="*/ 2 w 13"/>
                  <a:gd name="T3" fmla="*/ 2 h 9"/>
                  <a:gd name="T4" fmla="*/ 3 w 13"/>
                  <a:gd name="T5" fmla="*/ 9 h 9"/>
                  <a:gd name="T6" fmla="*/ 7 w 13"/>
                  <a:gd name="T7" fmla="*/ 8 h 9"/>
                  <a:gd name="T8" fmla="*/ 10 w 13"/>
                  <a:gd name="T9" fmla="*/ 7 h 9"/>
                  <a:gd name="T10" fmla="*/ 11 w 13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9">
                    <a:moveTo>
                      <a:pt x="11" y="0"/>
                    </a:moveTo>
                    <a:cubicBezTo>
                      <a:pt x="9" y="0"/>
                      <a:pt x="2" y="0"/>
                      <a:pt x="2" y="2"/>
                    </a:cubicBezTo>
                    <a:cubicBezTo>
                      <a:pt x="0" y="4"/>
                      <a:pt x="0" y="8"/>
                      <a:pt x="3" y="9"/>
                    </a:cubicBezTo>
                    <a:cubicBezTo>
                      <a:pt x="4" y="8"/>
                      <a:pt x="6" y="9"/>
                      <a:pt x="7" y="8"/>
                    </a:cubicBezTo>
                    <a:cubicBezTo>
                      <a:pt x="8" y="8"/>
                      <a:pt x="9" y="6"/>
                      <a:pt x="10" y="7"/>
                    </a:cubicBezTo>
                    <a:cubicBezTo>
                      <a:pt x="13" y="9"/>
                      <a:pt x="11" y="1"/>
                      <a:pt x="11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3" name="Freeform 675">
                <a:extLst>
                  <a:ext uri="{FF2B5EF4-FFF2-40B4-BE49-F238E27FC236}">
                    <a16:creationId xmlns:a16="http://schemas.microsoft.com/office/drawing/2014/main" id="{45A182DF-C8F8-4CFC-A687-1B74662D13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9584" y="3492380"/>
                <a:ext cx="89196" cy="74861"/>
              </a:xfrm>
              <a:custGeom>
                <a:avLst/>
                <a:gdLst>
                  <a:gd name="T0" fmla="*/ 19 w 19"/>
                  <a:gd name="T1" fmla="*/ 14 h 16"/>
                  <a:gd name="T2" fmla="*/ 17 w 19"/>
                  <a:gd name="T3" fmla="*/ 10 h 16"/>
                  <a:gd name="T4" fmla="*/ 16 w 19"/>
                  <a:gd name="T5" fmla="*/ 7 h 16"/>
                  <a:gd name="T6" fmla="*/ 14 w 19"/>
                  <a:gd name="T7" fmla="*/ 3 h 16"/>
                  <a:gd name="T8" fmla="*/ 12 w 19"/>
                  <a:gd name="T9" fmla="*/ 0 h 16"/>
                  <a:gd name="T10" fmla="*/ 6 w 19"/>
                  <a:gd name="T11" fmla="*/ 6 h 16"/>
                  <a:gd name="T12" fmla="*/ 9 w 19"/>
                  <a:gd name="T13" fmla="*/ 9 h 16"/>
                  <a:gd name="T14" fmla="*/ 12 w 19"/>
                  <a:gd name="T15" fmla="*/ 11 h 16"/>
                  <a:gd name="T16" fmla="*/ 16 w 19"/>
                  <a:gd name="T17" fmla="*/ 13 h 16"/>
                  <a:gd name="T18" fmla="*/ 19 w 19"/>
                  <a:gd name="T19" fmla="*/ 14 h 16"/>
                  <a:gd name="T20" fmla="*/ 19 w 19"/>
                  <a:gd name="T21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16">
                    <a:moveTo>
                      <a:pt x="19" y="14"/>
                    </a:moveTo>
                    <a:cubicBezTo>
                      <a:pt x="19" y="12"/>
                      <a:pt x="19" y="11"/>
                      <a:pt x="17" y="10"/>
                    </a:cubicBezTo>
                    <a:cubicBezTo>
                      <a:pt x="15" y="9"/>
                      <a:pt x="17" y="8"/>
                      <a:pt x="16" y="7"/>
                    </a:cubicBezTo>
                    <a:cubicBezTo>
                      <a:pt x="15" y="5"/>
                      <a:pt x="14" y="6"/>
                      <a:pt x="14" y="3"/>
                    </a:cubicBezTo>
                    <a:cubicBezTo>
                      <a:pt x="14" y="3"/>
                      <a:pt x="11" y="1"/>
                      <a:pt x="12" y="0"/>
                    </a:cubicBezTo>
                    <a:cubicBezTo>
                      <a:pt x="9" y="0"/>
                      <a:pt x="0" y="1"/>
                      <a:pt x="6" y="6"/>
                    </a:cubicBezTo>
                    <a:cubicBezTo>
                      <a:pt x="7" y="7"/>
                      <a:pt x="8" y="8"/>
                      <a:pt x="9" y="9"/>
                    </a:cubicBezTo>
                    <a:cubicBezTo>
                      <a:pt x="10" y="10"/>
                      <a:pt x="11" y="10"/>
                      <a:pt x="12" y="11"/>
                    </a:cubicBezTo>
                    <a:cubicBezTo>
                      <a:pt x="14" y="11"/>
                      <a:pt x="16" y="11"/>
                      <a:pt x="16" y="13"/>
                    </a:cubicBezTo>
                    <a:cubicBezTo>
                      <a:pt x="17" y="14"/>
                      <a:pt x="18" y="16"/>
                      <a:pt x="19" y="14"/>
                    </a:cubicBezTo>
                    <a:cubicBezTo>
                      <a:pt x="19" y="13"/>
                      <a:pt x="18" y="15"/>
                      <a:pt x="19" y="1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4" name="Freeform 676">
                <a:extLst>
                  <a:ext uri="{FF2B5EF4-FFF2-40B4-BE49-F238E27FC236}">
                    <a16:creationId xmlns:a16="http://schemas.microsoft.com/office/drawing/2014/main" id="{27B39186-4851-4917-8CD2-2B10ABBC2B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3033" y="3530608"/>
                <a:ext cx="461905" cy="391821"/>
              </a:xfrm>
              <a:custGeom>
                <a:avLst/>
                <a:gdLst>
                  <a:gd name="T0" fmla="*/ 95 w 99"/>
                  <a:gd name="T1" fmla="*/ 73 h 84"/>
                  <a:gd name="T2" fmla="*/ 93 w 99"/>
                  <a:gd name="T3" fmla="*/ 68 h 84"/>
                  <a:gd name="T4" fmla="*/ 90 w 99"/>
                  <a:gd name="T5" fmla="*/ 65 h 84"/>
                  <a:gd name="T6" fmla="*/ 86 w 99"/>
                  <a:gd name="T7" fmla="*/ 60 h 84"/>
                  <a:gd name="T8" fmla="*/ 87 w 99"/>
                  <a:gd name="T9" fmla="*/ 55 h 84"/>
                  <a:gd name="T10" fmla="*/ 89 w 99"/>
                  <a:gd name="T11" fmla="*/ 50 h 84"/>
                  <a:gd name="T12" fmla="*/ 84 w 99"/>
                  <a:gd name="T13" fmla="*/ 49 h 84"/>
                  <a:gd name="T14" fmla="*/ 84 w 99"/>
                  <a:gd name="T15" fmla="*/ 46 h 84"/>
                  <a:gd name="T16" fmla="*/ 84 w 99"/>
                  <a:gd name="T17" fmla="*/ 40 h 84"/>
                  <a:gd name="T18" fmla="*/ 82 w 99"/>
                  <a:gd name="T19" fmla="*/ 36 h 84"/>
                  <a:gd name="T20" fmla="*/ 85 w 99"/>
                  <a:gd name="T21" fmla="*/ 31 h 84"/>
                  <a:gd name="T22" fmla="*/ 86 w 99"/>
                  <a:gd name="T23" fmla="*/ 20 h 84"/>
                  <a:gd name="T24" fmla="*/ 79 w 99"/>
                  <a:gd name="T25" fmla="*/ 18 h 84"/>
                  <a:gd name="T26" fmla="*/ 76 w 99"/>
                  <a:gd name="T27" fmla="*/ 15 h 84"/>
                  <a:gd name="T28" fmla="*/ 71 w 99"/>
                  <a:gd name="T29" fmla="*/ 13 h 84"/>
                  <a:gd name="T30" fmla="*/ 66 w 99"/>
                  <a:gd name="T31" fmla="*/ 12 h 84"/>
                  <a:gd name="T32" fmla="*/ 61 w 99"/>
                  <a:gd name="T33" fmla="*/ 11 h 84"/>
                  <a:gd name="T34" fmla="*/ 57 w 99"/>
                  <a:gd name="T35" fmla="*/ 12 h 84"/>
                  <a:gd name="T36" fmla="*/ 53 w 99"/>
                  <a:gd name="T37" fmla="*/ 15 h 84"/>
                  <a:gd name="T38" fmla="*/ 49 w 99"/>
                  <a:gd name="T39" fmla="*/ 17 h 84"/>
                  <a:gd name="T40" fmla="*/ 46 w 99"/>
                  <a:gd name="T41" fmla="*/ 20 h 84"/>
                  <a:gd name="T42" fmla="*/ 33 w 99"/>
                  <a:gd name="T43" fmla="*/ 18 h 84"/>
                  <a:gd name="T44" fmla="*/ 30 w 99"/>
                  <a:gd name="T45" fmla="*/ 16 h 84"/>
                  <a:gd name="T46" fmla="*/ 25 w 99"/>
                  <a:gd name="T47" fmla="*/ 15 h 84"/>
                  <a:gd name="T48" fmla="*/ 24 w 99"/>
                  <a:gd name="T49" fmla="*/ 10 h 84"/>
                  <a:gd name="T50" fmla="*/ 20 w 99"/>
                  <a:gd name="T51" fmla="*/ 5 h 84"/>
                  <a:gd name="T52" fmla="*/ 14 w 99"/>
                  <a:gd name="T53" fmla="*/ 5 h 84"/>
                  <a:gd name="T54" fmla="*/ 11 w 99"/>
                  <a:gd name="T55" fmla="*/ 7 h 84"/>
                  <a:gd name="T56" fmla="*/ 5 w 99"/>
                  <a:gd name="T57" fmla="*/ 4 h 84"/>
                  <a:gd name="T58" fmla="*/ 1 w 99"/>
                  <a:gd name="T59" fmla="*/ 3 h 84"/>
                  <a:gd name="T60" fmla="*/ 0 w 99"/>
                  <a:gd name="T61" fmla="*/ 5 h 84"/>
                  <a:gd name="T62" fmla="*/ 1 w 99"/>
                  <a:gd name="T63" fmla="*/ 8 h 84"/>
                  <a:gd name="T64" fmla="*/ 1 w 99"/>
                  <a:gd name="T65" fmla="*/ 10 h 84"/>
                  <a:gd name="T66" fmla="*/ 1 w 99"/>
                  <a:gd name="T67" fmla="*/ 12 h 84"/>
                  <a:gd name="T68" fmla="*/ 3 w 99"/>
                  <a:gd name="T69" fmla="*/ 14 h 84"/>
                  <a:gd name="T70" fmla="*/ 3 w 99"/>
                  <a:gd name="T71" fmla="*/ 16 h 84"/>
                  <a:gd name="T72" fmla="*/ 5 w 99"/>
                  <a:gd name="T73" fmla="*/ 21 h 84"/>
                  <a:gd name="T74" fmla="*/ 8 w 99"/>
                  <a:gd name="T75" fmla="*/ 24 h 84"/>
                  <a:gd name="T76" fmla="*/ 10 w 99"/>
                  <a:gd name="T77" fmla="*/ 25 h 84"/>
                  <a:gd name="T78" fmla="*/ 8 w 99"/>
                  <a:gd name="T79" fmla="*/ 37 h 84"/>
                  <a:gd name="T80" fmla="*/ 12 w 99"/>
                  <a:gd name="T81" fmla="*/ 41 h 84"/>
                  <a:gd name="T82" fmla="*/ 18 w 99"/>
                  <a:gd name="T83" fmla="*/ 47 h 84"/>
                  <a:gd name="T84" fmla="*/ 17 w 99"/>
                  <a:gd name="T85" fmla="*/ 50 h 84"/>
                  <a:gd name="T86" fmla="*/ 19 w 99"/>
                  <a:gd name="T87" fmla="*/ 52 h 84"/>
                  <a:gd name="T88" fmla="*/ 22 w 99"/>
                  <a:gd name="T89" fmla="*/ 58 h 84"/>
                  <a:gd name="T90" fmla="*/ 24 w 99"/>
                  <a:gd name="T91" fmla="*/ 55 h 84"/>
                  <a:gd name="T92" fmla="*/ 25 w 99"/>
                  <a:gd name="T93" fmla="*/ 56 h 84"/>
                  <a:gd name="T94" fmla="*/ 26 w 99"/>
                  <a:gd name="T95" fmla="*/ 57 h 84"/>
                  <a:gd name="T96" fmla="*/ 30 w 99"/>
                  <a:gd name="T97" fmla="*/ 57 h 84"/>
                  <a:gd name="T98" fmla="*/ 35 w 99"/>
                  <a:gd name="T99" fmla="*/ 66 h 84"/>
                  <a:gd name="T100" fmla="*/ 46 w 99"/>
                  <a:gd name="T101" fmla="*/ 74 h 84"/>
                  <a:gd name="T102" fmla="*/ 52 w 99"/>
                  <a:gd name="T103" fmla="*/ 76 h 84"/>
                  <a:gd name="T104" fmla="*/ 56 w 99"/>
                  <a:gd name="T105" fmla="*/ 75 h 84"/>
                  <a:gd name="T106" fmla="*/ 56 w 99"/>
                  <a:gd name="T107" fmla="*/ 76 h 84"/>
                  <a:gd name="T108" fmla="*/ 61 w 99"/>
                  <a:gd name="T109" fmla="*/ 73 h 84"/>
                  <a:gd name="T110" fmla="*/ 60 w 99"/>
                  <a:gd name="T111" fmla="*/ 73 h 84"/>
                  <a:gd name="T112" fmla="*/ 62 w 99"/>
                  <a:gd name="T113" fmla="*/ 73 h 84"/>
                  <a:gd name="T114" fmla="*/ 65 w 99"/>
                  <a:gd name="T115" fmla="*/ 77 h 84"/>
                  <a:gd name="T116" fmla="*/ 69 w 99"/>
                  <a:gd name="T117" fmla="*/ 81 h 84"/>
                  <a:gd name="T118" fmla="*/ 88 w 99"/>
                  <a:gd name="T119" fmla="*/ 84 h 84"/>
                  <a:gd name="T120" fmla="*/ 92 w 99"/>
                  <a:gd name="T121" fmla="*/ 77 h 84"/>
                  <a:gd name="T122" fmla="*/ 95 w 99"/>
                  <a:gd name="T123" fmla="*/ 73 h 84"/>
                  <a:gd name="T124" fmla="*/ 95 w 99"/>
                  <a:gd name="T125" fmla="*/ 7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9" h="84">
                    <a:moveTo>
                      <a:pt x="95" y="73"/>
                    </a:moveTo>
                    <a:cubicBezTo>
                      <a:pt x="93" y="72"/>
                      <a:pt x="94" y="70"/>
                      <a:pt x="93" y="68"/>
                    </a:cubicBezTo>
                    <a:cubicBezTo>
                      <a:pt x="93" y="67"/>
                      <a:pt x="91" y="66"/>
                      <a:pt x="90" y="65"/>
                    </a:cubicBezTo>
                    <a:cubicBezTo>
                      <a:pt x="88" y="64"/>
                      <a:pt x="87" y="62"/>
                      <a:pt x="86" y="60"/>
                    </a:cubicBezTo>
                    <a:cubicBezTo>
                      <a:pt x="84" y="58"/>
                      <a:pt x="85" y="58"/>
                      <a:pt x="87" y="55"/>
                    </a:cubicBezTo>
                    <a:cubicBezTo>
                      <a:pt x="88" y="54"/>
                      <a:pt x="90" y="52"/>
                      <a:pt x="89" y="50"/>
                    </a:cubicBezTo>
                    <a:cubicBezTo>
                      <a:pt x="88" y="49"/>
                      <a:pt x="85" y="49"/>
                      <a:pt x="84" y="49"/>
                    </a:cubicBezTo>
                    <a:cubicBezTo>
                      <a:pt x="83" y="48"/>
                      <a:pt x="84" y="46"/>
                      <a:pt x="84" y="46"/>
                    </a:cubicBezTo>
                    <a:cubicBezTo>
                      <a:pt x="83" y="44"/>
                      <a:pt x="83" y="41"/>
                      <a:pt x="84" y="40"/>
                    </a:cubicBezTo>
                    <a:cubicBezTo>
                      <a:pt x="86" y="38"/>
                      <a:pt x="83" y="37"/>
                      <a:pt x="82" y="36"/>
                    </a:cubicBezTo>
                    <a:cubicBezTo>
                      <a:pt x="82" y="35"/>
                      <a:pt x="84" y="32"/>
                      <a:pt x="85" y="31"/>
                    </a:cubicBezTo>
                    <a:cubicBezTo>
                      <a:pt x="85" y="30"/>
                      <a:pt x="87" y="20"/>
                      <a:pt x="86" y="20"/>
                    </a:cubicBezTo>
                    <a:cubicBezTo>
                      <a:pt x="83" y="20"/>
                      <a:pt x="82" y="20"/>
                      <a:pt x="79" y="18"/>
                    </a:cubicBezTo>
                    <a:cubicBezTo>
                      <a:pt x="78" y="17"/>
                      <a:pt x="77" y="16"/>
                      <a:pt x="76" y="15"/>
                    </a:cubicBezTo>
                    <a:cubicBezTo>
                      <a:pt x="75" y="14"/>
                      <a:pt x="72" y="14"/>
                      <a:pt x="71" y="13"/>
                    </a:cubicBezTo>
                    <a:cubicBezTo>
                      <a:pt x="69" y="13"/>
                      <a:pt x="68" y="13"/>
                      <a:pt x="66" y="12"/>
                    </a:cubicBezTo>
                    <a:cubicBezTo>
                      <a:pt x="65" y="10"/>
                      <a:pt x="63" y="11"/>
                      <a:pt x="61" y="11"/>
                    </a:cubicBezTo>
                    <a:cubicBezTo>
                      <a:pt x="60" y="12"/>
                      <a:pt x="58" y="11"/>
                      <a:pt x="57" y="12"/>
                    </a:cubicBezTo>
                    <a:cubicBezTo>
                      <a:pt x="55" y="12"/>
                      <a:pt x="54" y="14"/>
                      <a:pt x="53" y="15"/>
                    </a:cubicBezTo>
                    <a:cubicBezTo>
                      <a:pt x="52" y="16"/>
                      <a:pt x="49" y="15"/>
                      <a:pt x="49" y="17"/>
                    </a:cubicBezTo>
                    <a:cubicBezTo>
                      <a:pt x="49" y="19"/>
                      <a:pt x="48" y="19"/>
                      <a:pt x="46" y="20"/>
                    </a:cubicBezTo>
                    <a:cubicBezTo>
                      <a:pt x="41" y="21"/>
                      <a:pt x="37" y="21"/>
                      <a:pt x="33" y="18"/>
                    </a:cubicBezTo>
                    <a:cubicBezTo>
                      <a:pt x="32" y="17"/>
                      <a:pt x="31" y="16"/>
                      <a:pt x="30" y="16"/>
                    </a:cubicBezTo>
                    <a:cubicBezTo>
                      <a:pt x="28" y="14"/>
                      <a:pt x="27" y="15"/>
                      <a:pt x="25" y="15"/>
                    </a:cubicBezTo>
                    <a:cubicBezTo>
                      <a:pt x="24" y="14"/>
                      <a:pt x="24" y="11"/>
                      <a:pt x="24" y="10"/>
                    </a:cubicBezTo>
                    <a:cubicBezTo>
                      <a:pt x="21" y="9"/>
                      <a:pt x="20" y="8"/>
                      <a:pt x="20" y="5"/>
                    </a:cubicBezTo>
                    <a:cubicBezTo>
                      <a:pt x="20" y="0"/>
                      <a:pt x="16" y="3"/>
                      <a:pt x="14" y="5"/>
                    </a:cubicBezTo>
                    <a:cubicBezTo>
                      <a:pt x="13" y="6"/>
                      <a:pt x="12" y="7"/>
                      <a:pt x="11" y="7"/>
                    </a:cubicBezTo>
                    <a:cubicBezTo>
                      <a:pt x="9" y="6"/>
                      <a:pt x="6" y="6"/>
                      <a:pt x="5" y="4"/>
                    </a:cubicBezTo>
                    <a:cubicBezTo>
                      <a:pt x="3" y="2"/>
                      <a:pt x="3" y="1"/>
                      <a:pt x="1" y="3"/>
                    </a:cubicBezTo>
                    <a:cubicBezTo>
                      <a:pt x="1" y="4"/>
                      <a:pt x="0" y="4"/>
                      <a:pt x="0" y="5"/>
                    </a:cubicBezTo>
                    <a:cubicBezTo>
                      <a:pt x="0" y="6"/>
                      <a:pt x="0" y="7"/>
                      <a:pt x="1" y="8"/>
                    </a:cubicBezTo>
                    <a:cubicBezTo>
                      <a:pt x="1" y="8"/>
                      <a:pt x="2" y="10"/>
                      <a:pt x="1" y="10"/>
                    </a:cubicBezTo>
                    <a:cubicBezTo>
                      <a:pt x="1" y="11"/>
                      <a:pt x="0" y="11"/>
                      <a:pt x="1" y="12"/>
                    </a:cubicBezTo>
                    <a:cubicBezTo>
                      <a:pt x="1" y="13"/>
                      <a:pt x="3" y="13"/>
                      <a:pt x="3" y="14"/>
                    </a:cubicBezTo>
                    <a:cubicBezTo>
                      <a:pt x="3" y="15"/>
                      <a:pt x="2" y="16"/>
                      <a:pt x="3" y="16"/>
                    </a:cubicBezTo>
                    <a:cubicBezTo>
                      <a:pt x="4" y="18"/>
                      <a:pt x="4" y="19"/>
                      <a:pt x="5" y="21"/>
                    </a:cubicBezTo>
                    <a:cubicBezTo>
                      <a:pt x="6" y="22"/>
                      <a:pt x="6" y="23"/>
                      <a:pt x="8" y="24"/>
                    </a:cubicBezTo>
                    <a:cubicBezTo>
                      <a:pt x="8" y="24"/>
                      <a:pt x="10" y="25"/>
                      <a:pt x="10" y="25"/>
                    </a:cubicBezTo>
                    <a:cubicBezTo>
                      <a:pt x="11" y="29"/>
                      <a:pt x="2" y="33"/>
                      <a:pt x="8" y="37"/>
                    </a:cubicBezTo>
                    <a:cubicBezTo>
                      <a:pt x="10" y="38"/>
                      <a:pt x="10" y="40"/>
                      <a:pt x="12" y="41"/>
                    </a:cubicBezTo>
                    <a:cubicBezTo>
                      <a:pt x="14" y="43"/>
                      <a:pt x="16" y="44"/>
                      <a:pt x="18" y="47"/>
                    </a:cubicBezTo>
                    <a:cubicBezTo>
                      <a:pt x="18" y="48"/>
                      <a:pt x="17" y="49"/>
                      <a:pt x="17" y="50"/>
                    </a:cubicBezTo>
                    <a:cubicBezTo>
                      <a:pt x="18" y="51"/>
                      <a:pt x="20" y="51"/>
                      <a:pt x="19" y="52"/>
                    </a:cubicBezTo>
                    <a:cubicBezTo>
                      <a:pt x="19" y="55"/>
                      <a:pt x="21" y="56"/>
                      <a:pt x="22" y="58"/>
                    </a:cubicBezTo>
                    <a:cubicBezTo>
                      <a:pt x="24" y="57"/>
                      <a:pt x="23" y="56"/>
                      <a:pt x="24" y="55"/>
                    </a:cubicBezTo>
                    <a:cubicBezTo>
                      <a:pt x="24" y="55"/>
                      <a:pt x="25" y="56"/>
                      <a:pt x="25" y="56"/>
                    </a:cubicBezTo>
                    <a:cubicBezTo>
                      <a:pt x="27" y="56"/>
                      <a:pt x="25" y="56"/>
                      <a:pt x="26" y="57"/>
                    </a:cubicBezTo>
                    <a:cubicBezTo>
                      <a:pt x="27" y="58"/>
                      <a:pt x="28" y="55"/>
                      <a:pt x="30" y="57"/>
                    </a:cubicBezTo>
                    <a:cubicBezTo>
                      <a:pt x="32" y="60"/>
                      <a:pt x="33" y="63"/>
                      <a:pt x="35" y="66"/>
                    </a:cubicBezTo>
                    <a:cubicBezTo>
                      <a:pt x="37" y="69"/>
                      <a:pt x="42" y="72"/>
                      <a:pt x="46" y="74"/>
                    </a:cubicBezTo>
                    <a:cubicBezTo>
                      <a:pt x="48" y="75"/>
                      <a:pt x="50" y="75"/>
                      <a:pt x="52" y="76"/>
                    </a:cubicBezTo>
                    <a:cubicBezTo>
                      <a:pt x="53" y="76"/>
                      <a:pt x="56" y="75"/>
                      <a:pt x="56" y="75"/>
                    </a:cubicBezTo>
                    <a:cubicBezTo>
                      <a:pt x="56" y="75"/>
                      <a:pt x="56" y="76"/>
                      <a:pt x="56" y="76"/>
                    </a:cubicBezTo>
                    <a:cubicBezTo>
                      <a:pt x="57" y="76"/>
                      <a:pt x="60" y="74"/>
                      <a:pt x="61" y="73"/>
                    </a:cubicBezTo>
                    <a:cubicBezTo>
                      <a:pt x="61" y="73"/>
                      <a:pt x="60" y="73"/>
                      <a:pt x="60" y="73"/>
                    </a:cubicBezTo>
                    <a:cubicBezTo>
                      <a:pt x="60" y="72"/>
                      <a:pt x="62" y="73"/>
                      <a:pt x="62" y="73"/>
                    </a:cubicBezTo>
                    <a:cubicBezTo>
                      <a:pt x="64" y="74"/>
                      <a:pt x="64" y="75"/>
                      <a:pt x="65" y="77"/>
                    </a:cubicBezTo>
                    <a:cubicBezTo>
                      <a:pt x="66" y="80"/>
                      <a:pt x="67" y="80"/>
                      <a:pt x="69" y="81"/>
                    </a:cubicBezTo>
                    <a:cubicBezTo>
                      <a:pt x="75" y="82"/>
                      <a:pt x="82" y="83"/>
                      <a:pt x="88" y="84"/>
                    </a:cubicBezTo>
                    <a:cubicBezTo>
                      <a:pt x="88" y="80"/>
                      <a:pt x="89" y="79"/>
                      <a:pt x="92" y="77"/>
                    </a:cubicBezTo>
                    <a:cubicBezTo>
                      <a:pt x="94" y="76"/>
                      <a:pt x="99" y="75"/>
                      <a:pt x="95" y="73"/>
                    </a:cubicBezTo>
                    <a:cubicBezTo>
                      <a:pt x="94" y="72"/>
                      <a:pt x="97" y="74"/>
                      <a:pt x="95" y="7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5" name="Freeform 677">
                <a:extLst>
                  <a:ext uri="{FF2B5EF4-FFF2-40B4-BE49-F238E27FC236}">
                    <a16:creationId xmlns:a16="http://schemas.microsoft.com/office/drawing/2014/main" id="{FB3C21F1-3903-47B2-A4B6-C288F121C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2589" y="3535386"/>
                <a:ext cx="36635" cy="27078"/>
              </a:xfrm>
              <a:custGeom>
                <a:avLst/>
                <a:gdLst>
                  <a:gd name="T0" fmla="*/ 1 w 8"/>
                  <a:gd name="T1" fmla="*/ 1 h 6"/>
                  <a:gd name="T2" fmla="*/ 3 w 8"/>
                  <a:gd name="T3" fmla="*/ 4 h 6"/>
                  <a:gd name="T4" fmla="*/ 8 w 8"/>
                  <a:gd name="T5" fmla="*/ 6 h 6"/>
                  <a:gd name="T6" fmla="*/ 0 w 8"/>
                  <a:gd name="T7" fmla="*/ 0 h 6"/>
                  <a:gd name="T8" fmla="*/ 1 w 8"/>
                  <a:gd name="T9" fmla="*/ 1 h 6"/>
                  <a:gd name="T10" fmla="*/ 1 w 8"/>
                  <a:gd name="T11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">
                    <a:moveTo>
                      <a:pt x="1" y="1"/>
                    </a:moveTo>
                    <a:cubicBezTo>
                      <a:pt x="2" y="1"/>
                      <a:pt x="2" y="3"/>
                      <a:pt x="3" y="4"/>
                    </a:cubicBezTo>
                    <a:cubicBezTo>
                      <a:pt x="5" y="4"/>
                      <a:pt x="6" y="5"/>
                      <a:pt x="8" y="6"/>
                    </a:cubicBezTo>
                    <a:cubicBezTo>
                      <a:pt x="7" y="2"/>
                      <a:pt x="3" y="1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2" y="1"/>
                      <a:pt x="0" y="1"/>
                      <a:pt x="1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6" name="Freeform 678">
                <a:extLst>
                  <a:ext uri="{FF2B5EF4-FFF2-40B4-BE49-F238E27FC236}">
                    <a16:creationId xmlns:a16="http://schemas.microsoft.com/office/drawing/2014/main" id="{1B4B87F2-FB07-4F8C-A974-CB7D08B15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4280" y="3422298"/>
                <a:ext cx="164057" cy="84419"/>
              </a:xfrm>
              <a:custGeom>
                <a:avLst/>
                <a:gdLst>
                  <a:gd name="T0" fmla="*/ 26 w 35"/>
                  <a:gd name="T1" fmla="*/ 15 h 18"/>
                  <a:gd name="T2" fmla="*/ 30 w 35"/>
                  <a:gd name="T3" fmla="*/ 17 h 18"/>
                  <a:gd name="T4" fmla="*/ 34 w 35"/>
                  <a:gd name="T5" fmla="*/ 17 h 18"/>
                  <a:gd name="T6" fmla="*/ 33 w 35"/>
                  <a:gd name="T7" fmla="*/ 12 h 18"/>
                  <a:gd name="T8" fmla="*/ 30 w 35"/>
                  <a:gd name="T9" fmla="*/ 10 h 18"/>
                  <a:gd name="T10" fmla="*/ 27 w 35"/>
                  <a:gd name="T11" fmla="*/ 7 h 18"/>
                  <a:gd name="T12" fmla="*/ 19 w 35"/>
                  <a:gd name="T13" fmla="*/ 6 h 18"/>
                  <a:gd name="T14" fmla="*/ 9 w 35"/>
                  <a:gd name="T15" fmla="*/ 4 h 18"/>
                  <a:gd name="T16" fmla="*/ 0 w 35"/>
                  <a:gd name="T17" fmla="*/ 2 h 18"/>
                  <a:gd name="T18" fmla="*/ 8 w 35"/>
                  <a:gd name="T19" fmla="*/ 14 h 18"/>
                  <a:gd name="T20" fmla="*/ 18 w 35"/>
                  <a:gd name="T21" fmla="*/ 18 h 18"/>
                  <a:gd name="T22" fmla="*/ 26 w 35"/>
                  <a:gd name="T23" fmla="*/ 15 h 18"/>
                  <a:gd name="T24" fmla="*/ 26 w 35"/>
                  <a:gd name="T25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18">
                    <a:moveTo>
                      <a:pt x="26" y="15"/>
                    </a:moveTo>
                    <a:cubicBezTo>
                      <a:pt x="27" y="14"/>
                      <a:pt x="29" y="16"/>
                      <a:pt x="30" y="17"/>
                    </a:cubicBezTo>
                    <a:cubicBezTo>
                      <a:pt x="30" y="17"/>
                      <a:pt x="34" y="17"/>
                      <a:pt x="34" y="17"/>
                    </a:cubicBezTo>
                    <a:cubicBezTo>
                      <a:pt x="35" y="16"/>
                      <a:pt x="30" y="12"/>
                      <a:pt x="33" y="12"/>
                    </a:cubicBezTo>
                    <a:cubicBezTo>
                      <a:pt x="32" y="11"/>
                      <a:pt x="30" y="11"/>
                      <a:pt x="30" y="10"/>
                    </a:cubicBezTo>
                    <a:cubicBezTo>
                      <a:pt x="30" y="8"/>
                      <a:pt x="29" y="7"/>
                      <a:pt x="27" y="7"/>
                    </a:cubicBezTo>
                    <a:cubicBezTo>
                      <a:pt x="24" y="7"/>
                      <a:pt x="22" y="8"/>
                      <a:pt x="19" y="6"/>
                    </a:cubicBezTo>
                    <a:cubicBezTo>
                      <a:pt x="16" y="5"/>
                      <a:pt x="13" y="5"/>
                      <a:pt x="9" y="4"/>
                    </a:cubicBezTo>
                    <a:cubicBezTo>
                      <a:pt x="6" y="3"/>
                      <a:pt x="4" y="0"/>
                      <a:pt x="0" y="2"/>
                    </a:cubicBezTo>
                    <a:cubicBezTo>
                      <a:pt x="3" y="6"/>
                      <a:pt x="11" y="7"/>
                      <a:pt x="8" y="14"/>
                    </a:cubicBezTo>
                    <a:cubicBezTo>
                      <a:pt x="11" y="14"/>
                      <a:pt x="18" y="14"/>
                      <a:pt x="18" y="18"/>
                    </a:cubicBezTo>
                    <a:cubicBezTo>
                      <a:pt x="18" y="15"/>
                      <a:pt x="24" y="15"/>
                      <a:pt x="26" y="15"/>
                    </a:cubicBezTo>
                    <a:cubicBezTo>
                      <a:pt x="27" y="14"/>
                      <a:pt x="19" y="15"/>
                      <a:pt x="26" y="1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7" name="Freeform 679">
                <a:extLst>
                  <a:ext uri="{FF2B5EF4-FFF2-40B4-BE49-F238E27FC236}">
                    <a16:creationId xmlns:a16="http://schemas.microsoft.com/office/drawing/2014/main" id="{253EEA4A-21E4-4306-A280-B3031D988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7369" y="3478046"/>
                <a:ext cx="125829" cy="98753"/>
              </a:xfrm>
              <a:custGeom>
                <a:avLst/>
                <a:gdLst>
                  <a:gd name="T0" fmla="*/ 8 w 27"/>
                  <a:gd name="T1" fmla="*/ 2 h 21"/>
                  <a:gd name="T2" fmla="*/ 10 w 27"/>
                  <a:gd name="T3" fmla="*/ 5 h 21"/>
                  <a:gd name="T4" fmla="*/ 7 w 27"/>
                  <a:gd name="T5" fmla="*/ 5 h 21"/>
                  <a:gd name="T6" fmla="*/ 4 w 27"/>
                  <a:gd name="T7" fmla="*/ 3 h 21"/>
                  <a:gd name="T8" fmla="*/ 4 w 27"/>
                  <a:gd name="T9" fmla="*/ 7 h 21"/>
                  <a:gd name="T10" fmla="*/ 6 w 27"/>
                  <a:gd name="T11" fmla="*/ 11 h 21"/>
                  <a:gd name="T12" fmla="*/ 8 w 27"/>
                  <a:gd name="T13" fmla="*/ 14 h 21"/>
                  <a:gd name="T14" fmla="*/ 9 w 27"/>
                  <a:gd name="T15" fmla="*/ 17 h 21"/>
                  <a:gd name="T16" fmla="*/ 16 w 27"/>
                  <a:gd name="T17" fmla="*/ 13 h 21"/>
                  <a:gd name="T18" fmla="*/ 17 w 27"/>
                  <a:gd name="T19" fmla="*/ 16 h 21"/>
                  <a:gd name="T20" fmla="*/ 21 w 27"/>
                  <a:gd name="T21" fmla="*/ 21 h 21"/>
                  <a:gd name="T22" fmla="*/ 21 w 27"/>
                  <a:gd name="T23" fmla="*/ 18 h 21"/>
                  <a:gd name="T24" fmla="*/ 23 w 27"/>
                  <a:gd name="T25" fmla="*/ 16 h 21"/>
                  <a:gd name="T26" fmla="*/ 25 w 27"/>
                  <a:gd name="T27" fmla="*/ 11 h 21"/>
                  <a:gd name="T28" fmla="*/ 19 w 27"/>
                  <a:gd name="T29" fmla="*/ 1 h 21"/>
                  <a:gd name="T30" fmla="*/ 12 w 27"/>
                  <a:gd name="T31" fmla="*/ 2 h 21"/>
                  <a:gd name="T32" fmla="*/ 9 w 27"/>
                  <a:gd name="T33" fmla="*/ 0 h 21"/>
                  <a:gd name="T34" fmla="*/ 8 w 27"/>
                  <a:gd name="T35" fmla="*/ 2 h 21"/>
                  <a:gd name="T36" fmla="*/ 8 w 27"/>
                  <a:gd name="T37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21">
                    <a:moveTo>
                      <a:pt x="8" y="2"/>
                    </a:moveTo>
                    <a:cubicBezTo>
                      <a:pt x="8" y="2"/>
                      <a:pt x="11" y="4"/>
                      <a:pt x="10" y="5"/>
                    </a:cubicBezTo>
                    <a:cubicBezTo>
                      <a:pt x="10" y="5"/>
                      <a:pt x="7" y="5"/>
                      <a:pt x="7" y="5"/>
                    </a:cubicBezTo>
                    <a:cubicBezTo>
                      <a:pt x="5" y="5"/>
                      <a:pt x="5" y="3"/>
                      <a:pt x="4" y="3"/>
                    </a:cubicBezTo>
                    <a:cubicBezTo>
                      <a:pt x="0" y="2"/>
                      <a:pt x="4" y="6"/>
                      <a:pt x="4" y="7"/>
                    </a:cubicBezTo>
                    <a:cubicBezTo>
                      <a:pt x="4" y="10"/>
                      <a:pt x="7" y="8"/>
                      <a:pt x="6" y="11"/>
                    </a:cubicBezTo>
                    <a:cubicBezTo>
                      <a:pt x="5" y="13"/>
                      <a:pt x="7" y="13"/>
                      <a:pt x="8" y="14"/>
                    </a:cubicBezTo>
                    <a:cubicBezTo>
                      <a:pt x="9" y="14"/>
                      <a:pt x="9" y="16"/>
                      <a:pt x="9" y="17"/>
                    </a:cubicBezTo>
                    <a:cubicBezTo>
                      <a:pt x="10" y="16"/>
                      <a:pt x="14" y="14"/>
                      <a:pt x="16" y="13"/>
                    </a:cubicBezTo>
                    <a:cubicBezTo>
                      <a:pt x="17" y="13"/>
                      <a:pt x="17" y="15"/>
                      <a:pt x="17" y="16"/>
                    </a:cubicBezTo>
                    <a:cubicBezTo>
                      <a:pt x="17" y="19"/>
                      <a:pt x="18" y="20"/>
                      <a:pt x="21" y="21"/>
                    </a:cubicBezTo>
                    <a:cubicBezTo>
                      <a:pt x="21" y="20"/>
                      <a:pt x="21" y="18"/>
                      <a:pt x="21" y="18"/>
                    </a:cubicBezTo>
                    <a:cubicBezTo>
                      <a:pt x="22" y="17"/>
                      <a:pt x="23" y="17"/>
                      <a:pt x="23" y="16"/>
                    </a:cubicBezTo>
                    <a:cubicBezTo>
                      <a:pt x="24" y="14"/>
                      <a:pt x="24" y="12"/>
                      <a:pt x="25" y="11"/>
                    </a:cubicBezTo>
                    <a:cubicBezTo>
                      <a:pt x="27" y="8"/>
                      <a:pt x="21" y="2"/>
                      <a:pt x="19" y="1"/>
                    </a:cubicBezTo>
                    <a:cubicBezTo>
                      <a:pt x="17" y="4"/>
                      <a:pt x="15" y="4"/>
                      <a:pt x="12" y="2"/>
                    </a:cubicBezTo>
                    <a:cubicBezTo>
                      <a:pt x="12" y="1"/>
                      <a:pt x="10" y="0"/>
                      <a:pt x="9" y="0"/>
                    </a:cubicBezTo>
                    <a:cubicBezTo>
                      <a:pt x="8" y="0"/>
                      <a:pt x="8" y="1"/>
                      <a:pt x="8" y="2"/>
                    </a:cubicBezTo>
                    <a:cubicBezTo>
                      <a:pt x="9" y="3"/>
                      <a:pt x="7" y="0"/>
                      <a:pt x="8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8" name="Freeform 680">
                <a:extLst>
                  <a:ext uri="{FF2B5EF4-FFF2-40B4-BE49-F238E27FC236}">
                    <a16:creationId xmlns:a16="http://schemas.microsoft.com/office/drawing/2014/main" id="{FA24B320-8B8E-4980-ACB3-D931E214B2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8780" y="3787044"/>
                <a:ext cx="41412" cy="47783"/>
              </a:xfrm>
              <a:custGeom>
                <a:avLst/>
                <a:gdLst>
                  <a:gd name="T0" fmla="*/ 3 w 9"/>
                  <a:gd name="T1" fmla="*/ 2 h 10"/>
                  <a:gd name="T2" fmla="*/ 0 w 9"/>
                  <a:gd name="T3" fmla="*/ 7 h 10"/>
                  <a:gd name="T4" fmla="*/ 4 w 9"/>
                  <a:gd name="T5" fmla="*/ 8 h 10"/>
                  <a:gd name="T6" fmla="*/ 9 w 9"/>
                  <a:gd name="T7" fmla="*/ 10 h 10"/>
                  <a:gd name="T8" fmla="*/ 7 w 9"/>
                  <a:gd name="T9" fmla="*/ 5 h 10"/>
                  <a:gd name="T10" fmla="*/ 8 w 9"/>
                  <a:gd name="T11" fmla="*/ 3 h 10"/>
                  <a:gd name="T12" fmla="*/ 3 w 9"/>
                  <a:gd name="T13" fmla="*/ 2 h 10"/>
                  <a:gd name="T14" fmla="*/ 3 w 9"/>
                  <a:gd name="T1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0">
                    <a:moveTo>
                      <a:pt x="3" y="2"/>
                    </a:moveTo>
                    <a:cubicBezTo>
                      <a:pt x="1" y="3"/>
                      <a:pt x="0" y="5"/>
                      <a:pt x="0" y="7"/>
                    </a:cubicBezTo>
                    <a:cubicBezTo>
                      <a:pt x="1" y="7"/>
                      <a:pt x="4" y="7"/>
                      <a:pt x="4" y="8"/>
                    </a:cubicBezTo>
                    <a:cubicBezTo>
                      <a:pt x="6" y="10"/>
                      <a:pt x="7" y="10"/>
                      <a:pt x="9" y="10"/>
                    </a:cubicBezTo>
                    <a:cubicBezTo>
                      <a:pt x="9" y="10"/>
                      <a:pt x="7" y="5"/>
                      <a:pt x="7" y="5"/>
                    </a:cubicBezTo>
                    <a:cubicBezTo>
                      <a:pt x="8" y="5"/>
                      <a:pt x="9" y="5"/>
                      <a:pt x="8" y="3"/>
                    </a:cubicBezTo>
                    <a:cubicBezTo>
                      <a:pt x="6" y="2"/>
                      <a:pt x="5" y="0"/>
                      <a:pt x="3" y="2"/>
                    </a:cubicBezTo>
                    <a:cubicBezTo>
                      <a:pt x="1" y="4"/>
                      <a:pt x="4" y="1"/>
                      <a:pt x="3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9" name="Freeform 681">
                <a:extLst>
                  <a:ext uri="{FF2B5EF4-FFF2-40B4-BE49-F238E27FC236}">
                    <a16:creationId xmlns:a16="http://schemas.microsoft.com/office/drawing/2014/main" id="{2E3287AD-6865-4936-AA80-95368B598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7566" y="3610246"/>
                <a:ext cx="162463" cy="125829"/>
              </a:xfrm>
              <a:custGeom>
                <a:avLst/>
                <a:gdLst>
                  <a:gd name="T0" fmla="*/ 29 w 35"/>
                  <a:gd name="T1" fmla="*/ 10 h 27"/>
                  <a:gd name="T2" fmla="*/ 30 w 35"/>
                  <a:gd name="T3" fmla="*/ 7 h 27"/>
                  <a:gd name="T4" fmla="*/ 29 w 35"/>
                  <a:gd name="T5" fmla="*/ 5 h 27"/>
                  <a:gd name="T6" fmla="*/ 35 w 35"/>
                  <a:gd name="T7" fmla="*/ 0 h 27"/>
                  <a:gd name="T8" fmla="*/ 25 w 35"/>
                  <a:gd name="T9" fmla="*/ 1 h 27"/>
                  <a:gd name="T10" fmla="*/ 19 w 35"/>
                  <a:gd name="T11" fmla="*/ 2 h 27"/>
                  <a:gd name="T12" fmla="*/ 13 w 35"/>
                  <a:gd name="T13" fmla="*/ 2 h 27"/>
                  <a:gd name="T14" fmla="*/ 8 w 35"/>
                  <a:gd name="T15" fmla="*/ 2 h 27"/>
                  <a:gd name="T16" fmla="*/ 7 w 35"/>
                  <a:gd name="T17" fmla="*/ 4 h 27"/>
                  <a:gd name="T18" fmla="*/ 6 w 35"/>
                  <a:gd name="T19" fmla="*/ 6 h 27"/>
                  <a:gd name="T20" fmla="*/ 3 w 35"/>
                  <a:gd name="T21" fmla="*/ 6 h 27"/>
                  <a:gd name="T22" fmla="*/ 3 w 35"/>
                  <a:gd name="T23" fmla="*/ 10 h 27"/>
                  <a:gd name="T24" fmla="*/ 4 w 35"/>
                  <a:gd name="T25" fmla="*/ 14 h 27"/>
                  <a:gd name="T26" fmla="*/ 2 w 35"/>
                  <a:gd name="T27" fmla="*/ 22 h 27"/>
                  <a:gd name="T28" fmla="*/ 7 w 35"/>
                  <a:gd name="T29" fmla="*/ 27 h 27"/>
                  <a:gd name="T30" fmla="*/ 13 w 35"/>
                  <a:gd name="T31" fmla="*/ 24 h 27"/>
                  <a:gd name="T32" fmla="*/ 22 w 35"/>
                  <a:gd name="T33" fmla="*/ 19 h 27"/>
                  <a:gd name="T34" fmla="*/ 28 w 35"/>
                  <a:gd name="T35" fmla="*/ 15 h 27"/>
                  <a:gd name="T36" fmla="*/ 29 w 35"/>
                  <a:gd name="T37" fmla="*/ 10 h 27"/>
                  <a:gd name="T38" fmla="*/ 29 w 35"/>
                  <a:gd name="T39" fmla="*/ 1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5" h="27">
                    <a:moveTo>
                      <a:pt x="29" y="10"/>
                    </a:moveTo>
                    <a:cubicBezTo>
                      <a:pt x="30" y="9"/>
                      <a:pt x="31" y="8"/>
                      <a:pt x="30" y="7"/>
                    </a:cubicBezTo>
                    <a:cubicBezTo>
                      <a:pt x="29" y="6"/>
                      <a:pt x="28" y="6"/>
                      <a:pt x="29" y="5"/>
                    </a:cubicBezTo>
                    <a:cubicBezTo>
                      <a:pt x="31" y="3"/>
                      <a:pt x="35" y="3"/>
                      <a:pt x="35" y="0"/>
                    </a:cubicBezTo>
                    <a:cubicBezTo>
                      <a:pt x="32" y="0"/>
                      <a:pt x="28" y="0"/>
                      <a:pt x="25" y="1"/>
                    </a:cubicBezTo>
                    <a:cubicBezTo>
                      <a:pt x="23" y="1"/>
                      <a:pt x="21" y="2"/>
                      <a:pt x="19" y="2"/>
                    </a:cubicBezTo>
                    <a:cubicBezTo>
                      <a:pt x="16" y="2"/>
                      <a:pt x="15" y="1"/>
                      <a:pt x="13" y="2"/>
                    </a:cubicBezTo>
                    <a:cubicBezTo>
                      <a:pt x="11" y="3"/>
                      <a:pt x="10" y="3"/>
                      <a:pt x="8" y="2"/>
                    </a:cubicBezTo>
                    <a:cubicBezTo>
                      <a:pt x="6" y="0"/>
                      <a:pt x="7" y="4"/>
                      <a:pt x="7" y="4"/>
                    </a:cubicBezTo>
                    <a:cubicBezTo>
                      <a:pt x="6" y="5"/>
                      <a:pt x="6" y="6"/>
                      <a:pt x="6" y="6"/>
                    </a:cubicBezTo>
                    <a:cubicBezTo>
                      <a:pt x="5" y="8"/>
                      <a:pt x="4" y="6"/>
                      <a:pt x="3" y="6"/>
                    </a:cubicBezTo>
                    <a:cubicBezTo>
                      <a:pt x="2" y="7"/>
                      <a:pt x="3" y="9"/>
                      <a:pt x="3" y="10"/>
                    </a:cubicBezTo>
                    <a:cubicBezTo>
                      <a:pt x="3" y="11"/>
                      <a:pt x="2" y="13"/>
                      <a:pt x="4" y="14"/>
                    </a:cubicBezTo>
                    <a:cubicBezTo>
                      <a:pt x="9" y="17"/>
                      <a:pt x="5" y="19"/>
                      <a:pt x="2" y="22"/>
                    </a:cubicBezTo>
                    <a:cubicBezTo>
                      <a:pt x="0" y="24"/>
                      <a:pt x="5" y="27"/>
                      <a:pt x="7" y="27"/>
                    </a:cubicBezTo>
                    <a:cubicBezTo>
                      <a:pt x="9" y="27"/>
                      <a:pt x="11" y="25"/>
                      <a:pt x="13" y="24"/>
                    </a:cubicBezTo>
                    <a:cubicBezTo>
                      <a:pt x="16" y="22"/>
                      <a:pt x="19" y="21"/>
                      <a:pt x="22" y="19"/>
                    </a:cubicBezTo>
                    <a:cubicBezTo>
                      <a:pt x="24" y="18"/>
                      <a:pt x="26" y="17"/>
                      <a:pt x="28" y="15"/>
                    </a:cubicBezTo>
                    <a:cubicBezTo>
                      <a:pt x="29" y="13"/>
                      <a:pt x="28" y="11"/>
                      <a:pt x="29" y="10"/>
                    </a:cubicBezTo>
                    <a:cubicBezTo>
                      <a:pt x="30" y="8"/>
                      <a:pt x="29" y="11"/>
                      <a:pt x="29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0" name="Freeform 682">
                <a:extLst>
                  <a:ext uri="{FF2B5EF4-FFF2-40B4-BE49-F238E27FC236}">
                    <a16:creationId xmlns:a16="http://schemas.microsoft.com/office/drawing/2014/main" id="{D8833C5E-1060-4B1C-B3C3-D8181AB9BB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2426" y="3600690"/>
                <a:ext cx="232545" cy="219803"/>
              </a:xfrm>
              <a:custGeom>
                <a:avLst/>
                <a:gdLst>
                  <a:gd name="T0" fmla="*/ 47 w 50"/>
                  <a:gd name="T1" fmla="*/ 36 h 47"/>
                  <a:gd name="T2" fmla="*/ 45 w 50"/>
                  <a:gd name="T3" fmla="*/ 34 h 47"/>
                  <a:gd name="T4" fmla="*/ 46 w 50"/>
                  <a:gd name="T5" fmla="*/ 32 h 47"/>
                  <a:gd name="T6" fmla="*/ 41 w 50"/>
                  <a:gd name="T7" fmla="*/ 27 h 47"/>
                  <a:gd name="T8" fmla="*/ 38 w 50"/>
                  <a:gd name="T9" fmla="*/ 25 h 47"/>
                  <a:gd name="T10" fmla="*/ 35 w 50"/>
                  <a:gd name="T11" fmla="*/ 18 h 47"/>
                  <a:gd name="T12" fmla="*/ 38 w 50"/>
                  <a:gd name="T13" fmla="*/ 10 h 47"/>
                  <a:gd name="T14" fmla="*/ 34 w 50"/>
                  <a:gd name="T15" fmla="*/ 6 h 47"/>
                  <a:gd name="T16" fmla="*/ 32 w 50"/>
                  <a:gd name="T17" fmla="*/ 2 h 47"/>
                  <a:gd name="T18" fmla="*/ 30 w 50"/>
                  <a:gd name="T19" fmla="*/ 3 h 47"/>
                  <a:gd name="T20" fmla="*/ 28 w 50"/>
                  <a:gd name="T21" fmla="*/ 1 h 47"/>
                  <a:gd name="T22" fmla="*/ 25 w 50"/>
                  <a:gd name="T23" fmla="*/ 2 h 47"/>
                  <a:gd name="T24" fmla="*/ 20 w 50"/>
                  <a:gd name="T25" fmla="*/ 1 h 47"/>
                  <a:gd name="T26" fmla="*/ 18 w 50"/>
                  <a:gd name="T27" fmla="*/ 4 h 47"/>
                  <a:gd name="T28" fmla="*/ 13 w 50"/>
                  <a:gd name="T29" fmla="*/ 7 h 47"/>
                  <a:gd name="T30" fmla="*/ 14 w 50"/>
                  <a:gd name="T31" fmla="*/ 10 h 47"/>
                  <a:gd name="T32" fmla="*/ 13 w 50"/>
                  <a:gd name="T33" fmla="*/ 13 h 47"/>
                  <a:gd name="T34" fmla="*/ 9 w 50"/>
                  <a:gd name="T35" fmla="*/ 19 h 47"/>
                  <a:gd name="T36" fmla="*/ 1 w 50"/>
                  <a:gd name="T37" fmla="*/ 25 h 47"/>
                  <a:gd name="T38" fmla="*/ 3 w 50"/>
                  <a:gd name="T39" fmla="*/ 30 h 47"/>
                  <a:gd name="T40" fmla="*/ 9 w 50"/>
                  <a:gd name="T41" fmla="*/ 31 h 47"/>
                  <a:gd name="T42" fmla="*/ 18 w 50"/>
                  <a:gd name="T43" fmla="*/ 36 h 47"/>
                  <a:gd name="T44" fmla="*/ 29 w 50"/>
                  <a:gd name="T45" fmla="*/ 45 h 47"/>
                  <a:gd name="T46" fmla="*/ 38 w 50"/>
                  <a:gd name="T47" fmla="*/ 47 h 47"/>
                  <a:gd name="T48" fmla="*/ 43 w 50"/>
                  <a:gd name="T49" fmla="*/ 42 h 47"/>
                  <a:gd name="T50" fmla="*/ 50 w 50"/>
                  <a:gd name="T51" fmla="*/ 43 h 47"/>
                  <a:gd name="T52" fmla="*/ 47 w 50"/>
                  <a:gd name="T53" fmla="*/ 39 h 47"/>
                  <a:gd name="T54" fmla="*/ 47 w 50"/>
                  <a:gd name="T55" fmla="*/ 36 h 47"/>
                  <a:gd name="T56" fmla="*/ 47 w 50"/>
                  <a:gd name="T57" fmla="*/ 3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0" h="47">
                    <a:moveTo>
                      <a:pt x="47" y="36"/>
                    </a:moveTo>
                    <a:cubicBezTo>
                      <a:pt x="47" y="36"/>
                      <a:pt x="45" y="35"/>
                      <a:pt x="45" y="34"/>
                    </a:cubicBezTo>
                    <a:cubicBezTo>
                      <a:pt x="45" y="33"/>
                      <a:pt x="46" y="33"/>
                      <a:pt x="46" y="32"/>
                    </a:cubicBezTo>
                    <a:cubicBezTo>
                      <a:pt x="45" y="30"/>
                      <a:pt x="43" y="29"/>
                      <a:pt x="41" y="27"/>
                    </a:cubicBezTo>
                    <a:cubicBezTo>
                      <a:pt x="40" y="27"/>
                      <a:pt x="38" y="26"/>
                      <a:pt x="38" y="25"/>
                    </a:cubicBezTo>
                    <a:cubicBezTo>
                      <a:pt x="37" y="23"/>
                      <a:pt x="35" y="21"/>
                      <a:pt x="35" y="18"/>
                    </a:cubicBezTo>
                    <a:cubicBezTo>
                      <a:pt x="34" y="16"/>
                      <a:pt x="40" y="12"/>
                      <a:pt x="38" y="10"/>
                    </a:cubicBezTo>
                    <a:cubicBezTo>
                      <a:pt x="36" y="9"/>
                      <a:pt x="35" y="8"/>
                      <a:pt x="34" y="6"/>
                    </a:cubicBezTo>
                    <a:cubicBezTo>
                      <a:pt x="33" y="5"/>
                      <a:pt x="33" y="3"/>
                      <a:pt x="32" y="2"/>
                    </a:cubicBezTo>
                    <a:cubicBezTo>
                      <a:pt x="31" y="2"/>
                      <a:pt x="31" y="3"/>
                      <a:pt x="30" y="3"/>
                    </a:cubicBezTo>
                    <a:cubicBezTo>
                      <a:pt x="28" y="3"/>
                      <a:pt x="29" y="1"/>
                      <a:pt x="28" y="1"/>
                    </a:cubicBezTo>
                    <a:cubicBezTo>
                      <a:pt x="27" y="1"/>
                      <a:pt x="25" y="2"/>
                      <a:pt x="25" y="2"/>
                    </a:cubicBezTo>
                    <a:cubicBezTo>
                      <a:pt x="23" y="0"/>
                      <a:pt x="22" y="1"/>
                      <a:pt x="20" y="1"/>
                    </a:cubicBezTo>
                    <a:cubicBezTo>
                      <a:pt x="18" y="2"/>
                      <a:pt x="19" y="3"/>
                      <a:pt x="18" y="4"/>
                    </a:cubicBezTo>
                    <a:cubicBezTo>
                      <a:pt x="16" y="5"/>
                      <a:pt x="14" y="5"/>
                      <a:pt x="13" y="7"/>
                    </a:cubicBezTo>
                    <a:cubicBezTo>
                      <a:pt x="12" y="9"/>
                      <a:pt x="14" y="8"/>
                      <a:pt x="14" y="10"/>
                    </a:cubicBezTo>
                    <a:cubicBezTo>
                      <a:pt x="14" y="11"/>
                      <a:pt x="13" y="11"/>
                      <a:pt x="13" y="13"/>
                    </a:cubicBezTo>
                    <a:cubicBezTo>
                      <a:pt x="13" y="16"/>
                      <a:pt x="12" y="17"/>
                      <a:pt x="9" y="19"/>
                    </a:cubicBezTo>
                    <a:cubicBezTo>
                      <a:pt x="7" y="20"/>
                      <a:pt x="0" y="23"/>
                      <a:pt x="1" y="25"/>
                    </a:cubicBezTo>
                    <a:cubicBezTo>
                      <a:pt x="2" y="26"/>
                      <a:pt x="2" y="29"/>
                      <a:pt x="3" y="30"/>
                    </a:cubicBezTo>
                    <a:cubicBezTo>
                      <a:pt x="4" y="31"/>
                      <a:pt x="8" y="31"/>
                      <a:pt x="9" y="31"/>
                    </a:cubicBezTo>
                    <a:cubicBezTo>
                      <a:pt x="12" y="32"/>
                      <a:pt x="15" y="34"/>
                      <a:pt x="18" y="36"/>
                    </a:cubicBezTo>
                    <a:cubicBezTo>
                      <a:pt x="22" y="39"/>
                      <a:pt x="25" y="42"/>
                      <a:pt x="29" y="45"/>
                    </a:cubicBezTo>
                    <a:cubicBezTo>
                      <a:pt x="32" y="47"/>
                      <a:pt x="35" y="47"/>
                      <a:pt x="38" y="47"/>
                    </a:cubicBezTo>
                    <a:cubicBezTo>
                      <a:pt x="41" y="47"/>
                      <a:pt x="41" y="44"/>
                      <a:pt x="43" y="42"/>
                    </a:cubicBezTo>
                    <a:cubicBezTo>
                      <a:pt x="45" y="40"/>
                      <a:pt x="49" y="44"/>
                      <a:pt x="50" y="43"/>
                    </a:cubicBezTo>
                    <a:cubicBezTo>
                      <a:pt x="49" y="42"/>
                      <a:pt x="48" y="41"/>
                      <a:pt x="47" y="39"/>
                    </a:cubicBezTo>
                    <a:cubicBezTo>
                      <a:pt x="47" y="38"/>
                      <a:pt x="48" y="37"/>
                      <a:pt x="47" y="36"/>
                    </a:cubicBezTo>
                    <a:cubicBezTo>
                      <a:pt x="46" y="35"/>
                      <a:pt x="48" y="37"/>
                      <a:pt x="47" y="3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1" name="Freeform 683">
                <a:extLst>
                  <a:ext uri="{FF2B5EF4-FFF2-40B4-BE49-F238E27FC236}">
                    <a16:creationId xmlns:a16="http://schemas.microsoft.com/office/drawing/2014/main" id="{76505734-EAA9-4DE6-8AF8-20791206C6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762" y="3473269"/>
                <a:ext cx="442791" cy="168834"/>
              </a:xfrm>
              <a:custGeom>
                <a:avLst/>
                <a:gdLst>
                  <a:gd name="T0" fmla="*/ 52 w 95"/>
                  <a:gd name="T1" fmla="*/ 36 h 36"/>
                  <a:gd name="T2" fmla="*/ 54 w 95"/>
                  <a:gd name="T3" fmla="*/ 33 h 36"/>
                  <a:gd name="T4" fmla="*/ 55 w 95"/>
                  <a:gd name="T5" fmla="*/ 31 h 36"/>
                  <a:gd name="T6" fmla="*/ 60 w 95"/>
                  <a:gd name="T7" fmla="*/ 31 h 36"/>
                  <a:gd name="T8" fmla="*/ 64 w 95"/>
                  <a:gd name="T9" fmla="*/ 31 h 36"/>
                  <a:gd name="T10" fmla="*/ 75 w 95"/>
                  <a:gd name="T11" fmla="*/ 29 h 36"/>
                  <a:gd name="T12" fmla="*/ 85 w 95"/>
                  <a:gd name="T13" fmla="*/ 28 h 36"/>
                  <a:gd name="T14" fmla="*/ 90 w 95"/>
                  <a:gd name="T15" fmla="*/ 28 h 36"/>
                  <a:gd name="T16" fmla="*/ 92 w 95"/>
                  <a:gd name="T17" fmla="*/ 30 h 36"/>
                  <a:gd name="T18" fmla="*/ 94 w 95"/>
                  <a:gd name="T19" fmla="*/ 28 h 36"/>
                  <a:gd name="T20" fmla="*/ 92 w 95"/>
                  <a:gd name="T21" fmla="*/ 24 h 36"/>
                  <a:gd name="T22" fmla="*/ 92 w 95"/>
                  <a:gd name="T23" fmla="*/ 22 h 36"/>
                  <a:gd name="T24" fmla="*/ 91 w 95"/>
                  <a:gd name="T25" fmla="*/ 17 h 36"/>
                  <a:gd name="T26" fmla="*/ 93 w 95"/>
                  <a:gd name="T27" fmla="*/ 14 h 36"/>
                  <a:gd name="T28" fmla="*/ 89 w 95"/>
                  <a:gd name="T29" fmla="*/ 8 h 36"/>
                  <a:gd name="T30" fmla="*/ 83 w 95"/>
                  <a:gd name="T31" fmla="*/ 3 h 36"/>
                  <a:gd name="T32" fmla="*/ 80 w 95"/>
                  <a:gd name="T33" fmla="*/ 3 h 36"/>
                  <a:gd name="T34" fmla="*/ 78 w 95"/>
                  <a:gd name="T35" fmla="*/ 3 h 36"/>
                  <a:gd name="T36" fmla="*/ 73 w 95"/>
                  <a:gd name="T37" fmla="*/ 6 h 36"/>
                  <a:gd name="T38" fmla="*/ 63 w 95"/>
                  <a:gd name="T39" fmla="*/ 6 h 36"/>
                  <a:gd name="T40" fmla="*/ 58 w 95"/>
                  <a:gd name="T41" fmla="*/ 6 h 36"/>
                  <a:gd name="T42" fmla="*/ 54 w 95"/>
                  <a:gd name="T43" fmla="*/ 4 h 36"/>
                  <a:gd name="T44" fmla="*/ 50 w 95"/>
                  <a:gd name="T45" fmla="*/ 2 h 36"/>
                  <a:gd name="T46" fmla="*/ 46 w 95"/>
                  <a:gd name="T47" fmla="*/ 0 h 36"/>
                  <a:gd name="T48" fmla="*/ 37 w 95"/>
                  <a:gd name="T49" fmla="*/ 0 h 36"/>
                  <a:gd name="T50" fmla="*/ 29 w 95"/>
                  <a:gd name="T51" fmla="*/ 4 h 36"/>
                  <a:gd name="T52" fmla="*/ 18 w 95"/>
                  <a:gd name="T53" fmla="*/ 5 h 36"/>
                  <a:gd name="T54" fmla="*/ 16 w 95"/>
                  <a:gd name="T55" fmla="*/ 6 h 36"/>
                  <a:gd name="T56" fmla="*/ 18 w 95"/>
                  <a:gd name="T57" fmla="*/ 7 h 36"/>
                  <a:gd name="T58" fmla="*/ 15 w 95"/>
                  <a:gd name="T59" fmla="*/ 8 h 36"/>
                  <a:gd name="T60" fmla="*/ 13 w 95"/>
                  <a:gd name="T61" fmla="*/ 9 h 36"/>
                  <a:gd name="T62" fmla="*/ 4 w 95"/>
                  <a:gd name="T63" fmla="*/ 9 h 36"/>
                  <a:gd name="T64" fmla="*/ 3 w 95"/>
                  <a:gd name="T65" fmla="*/ 11 h 36"/>
                  <a:gd name="T66" fmla="*/ 3 w 95"/>
                  <a:gd name="T67" fmla="*/ 15 h 36"/>
                  <a:gd name="T68" fmla="*/ 5 w 95"/>
                  <a:gd name="T69" fmla="*/ 14 h 36"/>
                  <a:gd name="T70" fmla="*/ 3 w 95"/>
                  <a:gd name="T71" fmla="*/ 17 h 36"/>
                  <a:gd name="T72" fmla="*/ 5 w 95"/>
                  <a:gd name="T73" fmla="*/ 17 h 36"/>
                  <a:gd name="T74" fmla="*/ 5 w 95"/>
                  <a:gd name="T75" fmla="*/ 19 h 36"/>
                  <a:gd name="T76" fmla="*/ 3 w 95"/>
                  <a:gd name="T77" fmla="*/ 20 h 36"/>
                  <a:gd name="T78" fmla="*/ 4 w 95"/>
                  <a:gd name="T79" fmla="*/ 22 h 36"/>
                  <a:gd name="T80" fmla="*/ 4 w 95"/>
                  <a:gd name="T81" fmla="*/ 25 h 36"/>
                  <a:gd name="T82" fmla="*/ 8 w 95"/>
                  <a:gd name="T83" fmla="*/ 27 h 36"/>
                  <a:gd name="T84" fmla="*/ 7 w 95"/>
                  <a:gd name="T85" fmla="*/ 30 h 36"/>
                  <a:gd name="T86" fmla="*/ 10 w 95"/>
                  <a:gd name="T87" fmla="*/ 30 h 36"/>
                  <a:gd name="T88" fmla="*/ 8 w 95"/>
                  <a:gd name="T89" fmla="*/ 31 h 36"/>
                  <a:gd name="T90" fmla="*/ 10 w 95"/>
                  <a:gd name="T91" fmla="*/ 31 h 36"/>
                  <a:gd name="T92" fmla="*/ 9 w 95"/>
                  <a:gd name="T93" fmla="*/ 34 h 36"/>
                  <a:gd name="T94" fmla="*/ 11 w 95"/>
                  <a:gd name="T95" fmla="*/ 35 h 36"/>
                  <a:gd name="T96" fmla="*/ 12 w 95"/>
                  <a:gd name="T97" fmla="*/ 31 h 36"/>
                  <a:gd name="T98" fmla="*/ 16 w 95"/>
                  <a:gd name="T99" fmla="*/ 32 h 36"/>
                  <a:gd name="T100" fmla="*/ 22 w 95"/>
                  <a:gd name="T101" fmla="*/ 33 h 36"/>
                  <a:gd name="T102" fmla="*/ 27 w 95"/>
                  <a:gd name="T103" fmla="*/ 31 h 36"/>
                  <a:gd name="T104" fmla="*/ 35 w 95"/>
                  <a:gd name="T105" fmla="*/ 35 h 36"/>
                  <a:gd name="T106" fmla="*/ 42 w 95"/>
                  <a:gd name="T107" fmla="*/ 32 h 36"/>
                  <a:gd name="T108" fmla="*/ 44 w 95"/>
                  <a:gd name="T109" fmla="*/ 30 h 36"/>
                  <a:gd name="T110" fmla="*/ 48 w 95"/>
                  <a:gd name="T111" fmla="*/ 31 h 36"/>
                  <a:gd name="T112" fmla="*/ 50 w 95"/>
                  <a:gd name="T113" fmla="*/ 33 h 36"/>
                  <a:gd name="T114" fmla="*/ 50 w 95"/>
                  <a:gd name="T115" fmla="*/ 35 h 36"/>
                  <a:gd name="T116" fmla="*/ 52 w 95"/>
                  <a:gd name="T117" fmla="*/ 36 h 36"/>
                  <a:gd name="T118" fmla="*/ 52 w 95"/>
                  <a:gd name="T11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5" h="36">
                    <a:moveTo>
                      <a:pt x="52" y="36"/>
                    </a:moveTo>
                    <a:cubicBezTo>
                      <a:pt x="53" y="35"/>
                      <a:pt x="54" y="33"/>
                      <a:pt x="54" y="33"/>
                    </a:cubicBezTo>
                    <a:cubicBezTo>
                      <a:pt x="53" y="31"/>
                      <a:pt x="54" y="30"/>
                      <a:pt x="55" y="31"/>
                    </a:cubicBezTo>
                    <a:cubicBezTo>
                      <a:pt x="57" y="32"/>
                      <a:pt x="58" y="31"/>
                      <a:pt x="60" y="31"/>
                    </a:cubicBezTo>
                    <a:cubicBezTo>
                      <a:pt x="62" y="30"/>
                      <a:pt x="62" y="30"/>
                      <a:pt x="64" y="31"/>
                    </a:cubicBezTo>
                    <a:cubicBezTo>
                      <a:pt x="68" y="31"/>
                      <a:pt x="71" y="29"/>
                      <a:pt x="75" y="29"/>
                    </a:cubicBezTo>
                    <a:cubicBezTo>
                      <a:pt x="78" y="29"/>
                      <a:pt x="82" y="29"/>
                      <a:pt x="85" y="28"/>
                    </a:cubicBezTo>
                    <a:cubicBezTo>
                      <a:pt x="87" y="27"/>
                      <a:pt x="87" y="29"/>
                      <a:pt x="90" y="28"/>
                    </a:cubicBezTo>
                    <a:cubicBezTo>
                      <a:pt x="92" y="27"/>
                      <a:pt x="91" y="29"/>
                      <a:pt x="92" y="30"/>
                    </a:cubicBezTo>
                    <a:cubicBezTo>
                      <a:pt x="93" y="31"/>
                      <a:pt x="95" y="29"/>
                      <a:pt x="94" y="28"/>
                    </a:cubicBezTo>
                    <a:cubicBezTo>
                      <a:pt x="93" y="27"/>
                      <a:pt x="95" y="25"/>
                      <a:pt x="92" y="24"/>
                    </a:cubicBezTo>
                    <a:cubicBezTo>
                      <a:pt x="91" y="23"/>
                      <a:pt x="93" y="23"/>
                      <a:pt x="92" y="22"/>
                    </a:cubicBezTo>
                    <a:cubicBezTo>
                      <a:pt x="92" y="20"/>
                      <a:pt x="91" y="19"/>
                      <a:pt x="91" y="17"/>
                    </a:cubicBezTo>
                    <a:cubicBezTo>
                      <a:pt x="91" y="16"/>
                      <a:pt x="93" y="14"/>
                      <a:pt x="93" y="14"/>
                    </a:cubicBezTo>
                    <a:cubicBezTo>
                      <a:pt x="92" y="12"/>
                      <a:pt x="90" y="11"/>
                      <a:pt x="89" y="8"/>
                    </a:cubicBezTo>
                    <a:cubicBezTo>
                      <a:pt x="87" y="5"/>
                      <a:pt x="87" y="4"/>
                      <a:pt x="83" y="3"/>
                    </a:cubicBezTo>
                    <a:cubicBezTo>
                      <a:pt x="82" y="3"/>
                      <a:pt x="81" y="3"/>
                      <a:pt x="80" y="3"/>
                    </a:cubicBezTo>
                    <a:cubicBezTo>
                      <a:pt x="78" y="2"/>
                      <a:pt x="79" y="3"/>
                      <a:pt x="78" y="3"/>
                    </a:cubicBezTo>
                    <a:cubicBezTo>
                      <a:pt x="76" y="5"/>
                      <a:pt x="74" y="5"/>
                      <a:pt x="73" y="6"/>
                    </a:cubicBezTo>
                    <a:cubicBezTo>
                      <a:pt x="70" y="7"/>
                      <a:pt x="66" y="6"/>
                      <a:pt x="63" y="6"/>
                    </a:cubicBezTo>
                    <a:cubicBezTo>
                      <a:pt x="61" y="6"/>
                      <a:pt x="59" y="6"/>
                      <a:pt x="58" y="6"/>
                    </a:cubicBezTo>
                    <a:cubicBezTo>
                      <a:pt x="56" y="5"/>
                      <a:pt x="56" y="4"/>
                      <a:pt x="54" y="4"/>
                    </a:cubicBezTo>
                    <a:cubicBezTo>
                      <a:pt x="52" y="4"/>
                      <a:pt x="51" y="3"/>
                      <a:pt x="50" y="2"/>
                    </a:cubicBezTo>
                    <a:cubicBezTo>
                      <a:pt x="49" y="2"/>
                      <a:pt x="45" y="0"/>
                      <a:pt x="46" y="0"/>
                    </a:cubicBezTo>
                    <a:cubicBezTo>
                      <a:pt x="44" y="1"/>
                      <a:pt x="39" y="0"/>
                      <a:pt x="37" y="0"/>
                    </a:cubicBezTo>
                    <a:cubicBezTo>
                      <a:pt x="34" y="0"/>
                      <a:pt x="31" y="3"/>
                      <a:pt x="29" y="4"/>
                    </a:cubicBezTo>
                    <a:cubicBezTo>
                      <a:pt x="26" y="6"/>
                      <a:pt x="21" y="4"/>
                      <a:pt x="18" y="5"/>
                    </a:cubicBezTo>
                    <a:cubicBezTo>
                      <a:pt x="17" y="5"/>
                      <a:pt x="16" y="5"/>
                      <a:pt x="16" y="6"/>
                    </a:cubicBezTo>
                    <a:cubicBezTo>
                      <a:pt x="16" y="6"/>
                      <a:pt x="18" y="6"/>
                      <a:pt x="18" y="7"/>
                    </a:cubicBezTo>
                    <a:cubicBezTo>
                      <a:pt x="18" y="7"/>
                      <a:pt x="15" y="7"/>
                      <a:pt x="15" y="8"/>
                    </a:cubicBezTo>
                    <a:cubicBezTo>
                      <a:pt x="15" y="9"/>
                      <a:pt x="15" y="9"/>
                      <a:pt x="13" y="9"/>
                    </a:cubicBezTo>
                    <a:cubicBezTo>
                      <a:pt x="10" y="9"/>
                      <a:pt x="7" y="9"/>
                      <a:pt x="4" y="9"/>
                    </a:cubicBezTo>
                    <a:cubicBezTo>
                      <a:pt x="2" y="9"/>
                      <a:pt x="3" y="10"/>
                      <a:pt x="3" y="11"/>
                    </a:cubicBezTo>
                    <a:cubicBezTo>
                      <a:pt x="2" y="13"/>
                      <a:pt x="0" y="14"/>
                      <a:pt x="3" y="15"/>
                    </a:cubicBezTo>
                    <a:cubicBezTo>
                      <a:pt x="3" y="15"/>
                      <a:pt x="5" y="14"/>
                      <a:pt x="5" y="14"/>
                    </a:cubicBezTo>
                    <a:cubicBezTo>
                      <a:pt x="5" y="15"/>
                      <a:pt x="3" y="17"/>
                      <a:pt x="3" y="17"/>
                    </a:cubicBezTo>
                    <a:cubicBezTo>
                      <a:pt x="4" y="18"/>
                      <a:pt x="4" y="17"/>
                      <a:pt x="5" y="17"/>
                    </a:cubicBezTo>
                    <a:cubicBezTo>
                      <a:pt x="5" y="17"/>
                      <a:pt x="5" y="19"/>
                      <a:pt x="5" y="19"/>
                    </a:cubicBezTo>
                    <a:cubicBezTo>
                      <a:pt x="7" y="22"/>
                      <a:pt x="4" y="20"/>
                      <a:pt x="3" y="20"/>
                    </a:cubicBezTo>
                    <a:cubicBezTo>
                      <a:pt x="3" y="20"/>
                      <a:pt x="2" y="23"/>
                      <a:pt x="4" y="22"/>
                    </a:cubicBezTo>
                    <a:cubicBezTo>
                      <a:pt x="6" y="22"/>
                      <a:pt x="4" y="24"/>
                      <a:pt x="4" y="25"/>
                    </a:cubicBezTo>
                    <a:cubicBezTo>
                      <a:pt x="4" y="26"/>
                      <a:pt x="7" y="26"/>
                      <a:pt x="8" y="27"/>
                    </a:cubicBezTo>
                    <a:cubicBezTo>
                      <a:pt x="9" y="28"/>
                      <a:pt x="7" y="30"/>
                      <a:pt x="7" y="30"/>
                    </a:cubicBezTo>
                    <a:cubicBezTo>
                      <a:pt x="8" y="30"/>
                      <a:pt x="9" y="28"/>
                      <a:pt x="10" y="30"/>
                    </a:cubicBezTo>
                    <a:cubicBezTo>
                      <a:pt x="10" y="31"/>
                      <a:pt x="8" y="31"/>
                      <a:pt x="8" y="31"/>
                    </a:cubicBezTo>
                    <a:cubicBezTo>
                      <a:pt x="8" y="31"/>
                      <a:pt x="10" y="31"/>
                      <a:pt x="10" y="31"/>
                    </a:cubicBezTo>
                    <a:cubicBezTo>
                      <a:pt x="11" y="32"/>
                      <a:pt x="10" y="33"/>
                      <a:pt x="9" y="34"/>
                    </a:cubicBezTo>
                    <a:cubicBezTo>
                      <a:pt x="9" y="35"/>
                      <a:pt x="11" y="36"/>
                      <a:pt x="11" y="35"/>
                    </a:cubicBezTo>
                    <a:cubicBezTo>
                      <a:pt x="12" y="34"/>
                      <a:pt x="11" y="32"/>
                      <a:pt x="12" y="31"/>
                    </a:cubicBezTo>
                    <a:cubicBezTo>
                      <a:pt x="13" y="30"/>
                      <a:pt x="15" y="32"/>
                      <a:pt x="16" y="32"/>
                    </a:cubicBezTo>
                    <a:cubicBezTo>
                      <a:pt x="18" y="33"/>
                      <a:pt x="20" y="35"/>
                      <a:pt x="22" y="33"/>
                    </a:cubicBezTo>
                    <a:cubicBezTo>
                      <a:pt x="25" y="32"/>
                      <a:pt x="23" y="29"/>
                      <a:pt x="27" y="31"/>
                    </a:cubicBezTo>
                    <a:cubicBezTo>
                      <a:pt x="29" y="33"/>
                      <a:pt x="32" y="35"/>
                      <a:pt x="35" y="35"/>
                    </a:cubicBezTo>
                    <a:cubicBezTo>
                      <a:pt x="37" y="34"/>
                      <a:pt x="40" y="33"/>
                      <a:pt x="42" y="32"/>
                    </a:cubicBezTo>
                    <a:cubicBezTo>
                      <a:pt x="43" y="31"/>
                      <a:pt x="43" y="30"/>
                      <a:pt x="44" y="30"/>
                    </a:cubicBezTo>
                    <a:cubicBezTo>
                      <a:pt x="46" y="31"/>
                      <a:pt x="47" y="32"/>
                      <a:pt x="48" y="31"/>
                    </a:cubicBezTo>
                    <a:cubicBezTo>
                      <a:pt x="51" y="30"/>
                      <a:pt x="51" y="31"/>
                      <a:pt x="50" y="33"/>
                    </a:cubicBezTo>
                    <a:cubicBezTo>
                      <a:pt x="50" y="34"/>
                      <a:pt x="52" y="34"/>
                      <a:pt x="50" y="35"/>
                    </a:cubicBezTo>
                    <a:cubicBezTo>
                      <a:pt x="51" y="36"/>
                      <a:pt x="51" y="36"/>
                      <a:pt x="52" y="36"/>
                    </a:cubicBezTo>
                    <a:cubicBezTo>
                      <a:pt x="53" y="35"/>
                      <a:pt x="51" y="36"/>
                      <a:pt x="52" y="3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2" name="Freeform 684">
                <a:extLst>
                  <a:ext uri="{FF2B5EF4-FFF2-40B4-BE49-F238E27FC236}">
                    <a16:creationId xmlns:a16="http://schemas.microsoft.com/office/drawing/2014/main" id="{34CF54D5-40AA-4BA7-9A52-D46C4528C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451" y="3740854"/>
                <a:ext cx="490574" cy="393414"/>
              </a:xfrm>
              <a:custGeom>
                <a:avLst/>
                <a:gdLst>
                  <a:gd name="T0" fmla="*/ 65 w 105"/>
                  <a:gd name="T1" fmla="*/ 20 h 84"/>
                  <a:gd name="T2" fmla="*/ 61 w 105"/>
                  <a:gd name="T3" fmla="*/ 17 h 84"/>
                  <a:gd name="T4" fmla="*/ 52 w 105"/>
                  <a:gd name="T5" fmla="*/ 17 h 84"/>
                  <a:gd name="T6" fmla="*/ 48 w 105"/>
                  <a:gd name="T7" fmla="*/ 15 h 84"/>
                  <a:gd name="T8" fmla="*/ 40 w 105"/>
                  <a:gd name="T9" fmla="*/ 8 h 84"/>
                  <a:gd name="T10" fmla="*/ 27 w 105"/>
                  <a:gd name="T11" fmla="*/ 1 h 84"/>
                  <a:gd name="T12" fmla="*/ 21 w 105"/>
                  <a:gd name="T13" fmla="*/ 1 h 84"/>
                  <a:gd name="T14" fmla="*/ 13 w 105"/>
                  <a:gd name="T15" fmla="*/ 3 h 84"/>
                  <a:gd name="T16" fmla="*/ 17 w 105"/>
                  <a:gd name="T17" fmla="*/ 9 h 84"/>
                  <a:gd name="T18" fmla="*/ 13 w 105"/>
                  <a:gd name="T19" fmla="*/ 12 h 84"/>
                  <a:gd name="T20" fmla="*/ 10 w 105"/>
                  <a:gd name="T21" fmla="*/ 12 h 84"/>
                  <a:gd name="T22" fmla="*/ 9 w 105"/>
                  <a:gd name="T23" fmla="*/ 14 h 84"/>
                  <a:gd name="T24" fmla="*/ 2 w 105"/>
                  <a:gd name="T25" fmla="*/ 14 h 84"/>
                  <a:gd name="T26" fmla="*/ 1 w 105"/>
                  <a:gd name="T27" fmla="*/ 19 h 84"/>
                  <a:gd name="T28" fmla="*/ 3 w 105"/>
                  <a:gd name="T29" fmla="*/ 22 h 84"/>
                  <a:gd name="T30" fmla="*/ 8 w 105"/>
                  <a:gd name="T31" fmla="*/ 31 h 84"/>
                  <a:gd name="T32" fmla="*/ 12 w 105"/>
                  <a:gd name="T33" fmla="*/ 38 h 84"/>
                  <a:gd name="T34" fmla="*/ 15 w 105"/>
                  <a:gd name="T35" fmla="*/ 42 h 84"/>
                  <a:gd name="T36" fmla="*/ 20 w 105"/>
                  <a:gd name="T37" fmla="*/ 46 h 84"/>
                  <a:gd name="T38" fmla="*/ 22 w 105"/>
                  <a:gd name="T39" fmla="*/ 53 h 84"/>
                  <a:gd name="T40" fmla="*/ 23 w 105"/>
                  <a:gd name="T41" fmla="*/ 59 h 84"/>
                  <a:gd name="T42" fmla="*/ 31 w 105"/>
                  <a:gd name="T43" fmla="*/ 67 h 84"/>
                  <a:gd name="T44" fmla="*/ 36 w 105"/>
                  <a:gd name="T45" fmla="*/ 76 h 84"/>
                  <a:gd name="T46" fmla="*/ 40 w 105"/>
                  <a:gd name="T47" fmla="*/ 81 h 84"/>
                  <a:gd name="T48" fmla="*/ 41 w 105"/>
                  <a:gd name="T49" fmla="*/ 84 h 84"/>
                  <a:gd name="T50" fmla="*/ 43 w 105"/>
                  <a:gd name="T51" fmla="*/ 81 h 84"/>
                  <a:gd name="T52" fmla="*/ 50 w 105"/>
                  <a:gd name="T53" fmla="*/ 79 h 84"/>
                  <a:gd name="T54" fmla="*/ 60 w 105"/>
                  <a:gd name="T55" fmla="*/ 80 h 84"/>
                  <a:gd name="T56" fmla="*/ 66 w 105"/>
                  <a:gd name="T57" fmla="*/ 77 h 84"/>
                  <a:gd name="T58" fmla="*/ 76 w 105"/>
                  <a:gd name="T59" fmla="*/ 72 h 84"/>
                  <a:gd name="T60" fmla="*/ 94 w 105"/>
                  <a:gd name="T61" fmla="*/ 68 h 84"/>
                  <a:gd name="T62" fmla="*/ 102 w 105"/>
                  <a:gd name="T63" fmla="*/ 66 h 84"/>
                  <a:gd name="T64" fmla="*/ 104 w 105"/>
                  <a:gd name="T65" fmla="*/ 61 h 84"/>
                  <a:gd name="T66" fmla="*/ 105 w 105"/>
                  <a:gd name="T67" fmla="*/ 56 h 84"/>
                  <a:gd name="T68" fmla="*/ 103 w 105"/>
                  <a:gd name="T69" fmla="*/ 51 h 84"/>
                  <a:gd name="T70" fmla="*/ 93 w 105"/>
                  <a:gd name="T71" fmla="*/ 50 h 84"/>
                  <a:gd name="T72" fmla="*/ 88 w 105"/>
                  <a:gd name="T73" fmla="*/ 47 h 84"/>
                  <a:gd name="T74" fmla="*/ 81 w 105"/>
                  <a:gd name="T75" fmla="*/ 39 h 84"/>
                  <a:gd name="T76" fmla="*/ 77 w 105"/>
                  <a:gd name="T77" fmla="*/ 34 h 84"/>
                  <a:gd name="T78" fmla="*/ 77 w 105"/>
                  <a:gd name="T79" fmla="*/ 29 h 84"/>
                  <a:gd name="T80" fmla="*/ 74 w 105"/>
                  <a:gd name="T81" fmla="*/ 27 h 84"/>
                  <a:gd name="T82" fmla="*/ 70 w 105"/>
                  <a:gd name="T83" fmla="*/ 22 h 84"/>
                  <a:gd name="T84" fmla="*/ 65 w 105"/>
                  <a:gd name="T85" fmla="*/ 2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" h="84">
                    <a:moveTo>
                      <a:pt x="65" y="20"/>
                    </a:moveTo>
                    <a:cubicBezTo>
                      <a:pt x="64" y="17"/>
                      <a:pt x="64" y="17"/>
                      <a:pt x="61" y="17"/>
                    </a:cubicBezTo>
                    <a:cubicBezTo>
                      <a:pt x="58" y="17"/>
                      <a:pt x="55" y="17"/>
                      <a:pt x="52" y="17"/>
                    </a:cubicBezTo>
                    <a:cubicBezTo>
                      <a:pt x="50" y="17"/>
                      <a:pt x="49" y="15"/>
                      <a:pt x="48" y="15"/>
                    </a:cubicBezTo>
                    <a:cubicBezTo>
                      <a:pt x="45" y="12"/>
                      <a:pt x="42" y="10"/>
                      <a:pt x="40" y="8"/>
                    </a:cubicBezTo>
                    <a:cubicBezTo>
                      <a:pt x="36" y="5"/>
                      <a:pt x="32" y="2"/>
                      <a:pt x="27" y="1"/>
                    </a:cubicBezTo>
                    <a:cubicBezTo>
                      <a:pt x="25" y="0"/>
                      <a:pt x="24" y="0"/>
                      <a:pt x="21" y="1"/>
                    </a:cubicBezTo>
                    <a:cubicBezTo>
                      <a:pt x="19" y="1"/>
                      <a:pt x="16" y="2"/>
                      <a:pt x="13" y="3"/>
                    </a:cubicBezTo>
                    <a:cubicBezTo>
                      <a:pt x="14" y="5"/>
                      <a:pt x="17" y="7"/>
                      <a:pt x="17" y="9"/>
                    </a:cubicBezTo>
                    <a:cubicBezTo>
                      <a:pt x="17" y="11"/>
                      <a:pt x="14" y="12"/>
                      <a:pt x="13" y="12"/>
                    </a:cubicBezTo>
                    <a:cubicBezTo>
                      <a:pt x="12" y="13"/>
                      <a:pt x="11" y="12"/>
                      <a:pt x="10" y="12"/>
                    </a:cubicBezTo>
                    <a:cubicBezTo>
                      <a:pt x="9" y="13"/>
                      <a:pt x="9" y="14"/>
                      <a:pt x="9" y="14"/>
                    </a:cubicBezTo>
                    <a:cubicBezTo>
                      <a:pt x="7" y="17"/>
                      <a:pt x="3" y="15"/>
                      <a:pt x="2" y="14"/>
                    </a:cubicBezTo>
                    <a:cubicBezTo>
                      <a:pt x="1" y="16"/>
                      <a:pt x="1" y="17"/>
                      <a:pt x="1" y="19"/>
                    </a:cubicBezTo>
                    <a:cubicBezTo>
                      <a:pt x="0" y="22"/>
                      <a:pt x="1" y="21"/>
                      <a:pt x="3" y="22"/>
                    </a:cubicBezTo>
                    <a:cubicBezTo>
                      <a:pt x="5" y="24"/>
                      <a:pt x="7" y="28"/>
                      <a:pt x="8" y="31"/>
                    </a:cubicBezTo>
                    <a:cubicBezTo>
                      <a:pt x="10" y="33"/>
                      <a:pt x="11" y="35"/>
                      <a:pt x="12" y="38"/>
                    </a:cubicBezTo>
                    <a:cubicBezTo>
                      <a:pt x="13" y="40"/>
                      <a:pt x="14" y="41"/>
                      <a:pt x="15" y="42"/>
                    </a:cubicBezTo>
                    <a:cubicBezTo>
                      <a:pt x="17" y="44"/>
                      <a:pt x="19" y="44"/>
                      <a:pt x="20" y="46"/>
                    </a:cubicBezTo>
                    <a:cubicBezTo>
                      <a:pt x="21" y="48"/>
                      <a:pt x="22" y="50"/>
                      <a:pt x="22" y="53"/>
                    </a:cubicBezTo>
                    <a:cubicBezTo>
                      <a:pt x="23" y="55"/>
                      <a:pt x="22" y="57"/>
                      <a:pt x="23" y="59"/>
                    </a:cubicBezTo>
                    <a:cubicBezTo>
                      <a:pt x="25" y="63"/>
                      <a:pt x="29" y="64"/>
                      <a:pt x="31" y="67"/>
                    </a:cubicBezTo>
                    <a:cubicBezTo>
                      <a:pt x="33" y="70"/>
                      <a:pt x="34" y="74"/>
                      <a:pt x="36" y="76"/>
                    </a:cubicBezTo>
                    <a:cubicBezTo>
                      <a:pt x="37" y="78"/>
                      <a:pt x="39" y="80"/>
                      <a:pt x="40" y="81"/>
                    </a:cubicBezTo>
                    <a:cubicBezTo>
                      <a:pt x="40" y="82"/>
                      <a:pt x="40" y="84"/>
                      <a:pt x="41" y="84"/>
                    </a:cubicBezTo>
                    <a:cubicBezTo>
                      <a:pt x="43" y="84"/>
                      <a:pt x="42" y="82"/>
                      <a:pt x="43" y="81"/>
                    </a:cubicBezTo>
                    <a:cubicBezTo>
                      <a:pt x="43" y="78"/>
                      <a:pt x="48" y="79"/>
                      <a:pt x="50" y="79"/>
                    </a:cubicBezTo>
                    <a:cubicBezTo>
                      <a:pt x="53" y="79"/>
                      <a:pt x="58" y="78"/>
                      <a:pt x="60" y="80"/>
                    </a:cubicBezTo>
                    <a:cubicBezTo>
                      <a:pt x="63" y="81"/>
                      <a:pt x="64" y="79"/>
                      <a:pt x="66" y="77"/>
                    </a:cubicBezTo>
                    <a:cubicBezTo>
                      <a:pt x="69" y="73"/>
                      <a:pt x="72" y="73"/>
                      <a:pt x="76" y="72"/>
                    </a:cubicBezTo>
                    <a:cubicBezTo>
                      <a:pt x="82" y="72"/>
                      <a:pt x="88" y="70"/>
                      <a:pt x="94" y="68"/>
                    </a:cubicBezTo>
                    <a:cubicBezTo>
                      <a:pt x="96" y="67"/>
                      <a:pt x="99" y="66"/>
                      <a:pt x="102" y="66"/>
                    </a:cubicBezTo>
                    <a:cubicBezTo>
                      <a:pt x="103" y="65"/>
                      <a:pt x="103" y="63"/>
                      <a:pt x="104" y="61"/>
                    </a:cubicBezTo>
                    <a:cubicBezTo>
                      <a:pt x="104" y="60"/>
                      <a:pt x="105" y="58"/>
                      <a:pt x="105" y="56"/>
                    </a:cubicBezTo>
                    <a:cubicBezTo>
                      <a:pt x="105" y="55"/>
                      <a:pt x="104" y="52"/>
                      <a:pt x="103" y="51"/>
                    </a:cubicBezTo>
                    <a:cubicBezTo>
                      <a:pt x="100" y="51"/>
                      <a:pt x="96" y="51"/>
                      <a:pt x="93" y="50"/>
                    </a:cubicBezTo>
                    <a:cubicBezTo>
                      <a:pt x="90" y="50"/>
                      <a:pt x="90" y="49"/>
                      <a:pt x="88" y="47"/>
                    </a:cubicBezTo>
                    <a:cubicBezTo>
                      <a:pt x="86" y="43"/>
                      <a:pt x="83" y="42"/>
                      <a:pt x="81" y="39"/>
                    </a:cubicBezTo>
                    <a:cubicBezTo>
                      <a:pt x="80" y="39"/>
                      <a:pt x="78" y="35"/>
                      <a:pt x="77" y="34"/>
                    </a:cubicBezTo>
                    <a:cubicBezTo>
                      <a:pt x="76" y="32"/>
                      <a:pt x="81" y="31"/>
                      <a:pt x="77" y="29"/>
                    </a:cubicBezTo>
                    <a:cubicBezTo>
                      <a:pt x="76" y="29"/>
                      <a:pt x="75" y="27"/>
                      <a:pt x="74" y="27"/>
                    </a:cubicBezTo>
                    <a:cubicBezTo>
                      <a:pt x="72" y="27"/>
                      <a:pt x="71" y="24"/>
                      <a:pt x="70" y="22"/>
                    </a:cubicBezTo>
                    <a:cubicBezTo>
                      <a:pt x="69" y="19"/>
                      <a:pt x="69" y="20"/>
                      <a:pt x="65" y="2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3" name="Freeform 685">
                <a:extLst>
                  <a:ext uri="{FF2B5EF4-FFF2-40B4-BE49-F238E27FC236}">
                    <a16:creationId xmlns:a16="http://schemas.microsoft.com/office/drawing/2014/main" id="{5AC4863C-B3A7-4B08-93E9-C2CB3B3964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8007" y="3712182"/>
                <a:ext cx="97159" cy="103530"/>
              </a:xfrm>
              <a:custGeom>
                <a:avLst/>
                <a:gdLst>
                  <a:gd name="T0" fmla="*/ 5 w 21"/>
                  <a:gd name="T1" fmla="*/ 22 h 22"/>
                  <a:gd name="T2" fmla="*/ 8 w 21"/>
                  <a:gd name="T3" fmla="*/ 19 h 22"/>
                  <a:gd name="T4" fmla="*/ 12 w 21"/>
                  <a:gd name="T5" fmla="*/ 18 h 22"/>
                  <a:gd name="T6" fmla="*/ 15 w 21"/>
                  <a:gd name="T7" fmla="*/ 15 h 22"/>
                  <a:gd name="T8" fmla="*/ 11 w 21"/>
                  <a:gd name="T9" fmla="*/ 9 h 22"/>
                  <a:gd name="T10" fmla="*/ 21 w 21"/>
                  <a:gd name="T11" fmla="*/ 6 h 22"/>
                  <a:gd name="T12" fmla="*/ 19 w 21"/>
                  <a:gd name="T13" fmla="*/ 0 h 22"/>
                  <a:gd name="T14" fmla="*/ 9 w 21"/>
                  <a:gd name="T15" fmla="*/ 5 h 22"/>
                  <a:gd name="T16" fmla="*/ 4 w 21"/>
                  <a:gd name="T17" fmla="*/ 1 h 22"/>
                  <a:gd name="T18" fmla="*/ 3 w 21"/>
                  <a:gd name="T19" fmla="*/ 11 h 22"/>
                  <a:gd name="T20" fmla="*/ 0 w 21"/>
                  <a:gd name="T21" fmla="*/ 18 h 22"/>
                  <a:gd name="T22" fmla="*/ 1 w 21"/>
                  <a:gd name="T23" fmla="*/ 21 h 22"/>
                  <a:gd name="T24" fmla="*/ 5 w 21"/>
                  <a:gd name="T2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22">
                    <a:moveTo>
                      <a:pt x="5" y="22"/>
                    </a:moveTo>
                    <a:cubicBezTo>
                      <a:pt x="7" y="22"/>
                      <a:pt x="7" y="19"/>
                      <a:pt x="8" y="19"/>
                    </a:cubicBezTo>
                    <a:cubicBezTo>
                      <a:pt x="9" y="17"/>
                      <a:pt x="11" y="18"/>
                      <a:pt x="12" y="18"/>
                    </a:cubicBezTo>
                    <a:cubicBezTo>
                      <a:pt x="13" y="17"/>
                      <a:pt x="16" y="16"/>
                      <a:pt x="15" y="15"/>
                    </a:cubicBezTo>
                    <a:cubicBezTo>
                      <a:pt x="14" y="13"/>
                      <a:pt x="13" y="11"/>
                      <a:pt x="11" y="9"/>
                    </a:cubicBezTo>
                    <a:cubicBezTo>
                      <a:pt x="15" y="8"/>
                      <a:pt x="18" y="7"/>
                      <a:pt x="21" y="6"/>
                    </a:cubicBezTo>
                    <a:cubicBezTo>
                      <a:pt x="21" y="4"/>
                      <a:pt x="20" y="2"/>
                      <a:pt x="19" y="0"/>
                    </a:cubicBezTo>
                    <a:cubicBezTo>
                      <a:pt x="16" y="1"/>
                      <a:pt x="12" y="5"/>
                      <a:pt x="9" y="5"/>
                    </a:cubicBezTo>
                    <a:cubicBezTo>
                      <a:pt x="7" y="5"/>
                      <a:pt x="4" y="3"/>
                      <a:pt x="4" y="1"/>
                    </a:cubicBezTo>
                    <a:cubicBezTo>
                      <a:pt x="3" y="5"/>
                      <a:pt x="3" y="8"/>
                      <a:pt x="3" y="11"/>
                    </a:cubicBezTo>
                    <a:cubicBezTo>
                      <a:pt x="2" y="13"/>
                      <a:pt x="0" y="16"/>
                      <a:pt x="0" y="18"/>
                    </a:cubicBezTo>
                    <a:cubicBezTo>
                      <a:pt x="0" y="20"/>
                      <a:pt x="0" y="20"/>
                      <a:pt x="1" y="21"/>
                    </a:cubicBezTo>
                    <a:cubicBezTo>
                      <a:pt x="3" y="21"/>
                      <a:pt x="4" y="22"/>
                      <a:pt x="5" y="2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4" name="Freeform 686">
                <a:extLst>
                  <a:ext uri="{FF2B5EF4-FFF2-40B4-BE49-F238E27FC236}">
                    <a16:creationId xmlns:a16="http://schemas.microsoft.com/office/drawing/2014/main" id="{C4AF6125-ECA5-4C59-BE41-0CF94C28C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2786" y="3675550"/>
                <a:ext cx="36635" cy="41414"/>
              </a:xfrm>
              <a:custGeom>
                <a:avLst/>
                <a:gdLst>
                  <a:gd name="T0" fmla="*/ 7 w 8"/>
                  <a:gd name="T1" fmla="*/ 2 h 9"/>
                  <a:gd name="T2" fmla="*/ 4 w 8"/>
                  <a:gd name="T3" fmla="*/ 0 h 9"/>
                  <a:gd name="T4" fmla="*/ 2 w 8"/>
                  <a:gd name="T5" fmla="*/ 2 h 9"/>
                  <a:gd name="T6" fmla="*/ 0 w 8"/>
                  <a:gd name="T7" fmla="*/ 8 h 9"/>
                  <a:gd name="T8" fmla="*/ 4 w 8"/>
                  <a:gd name="T9" fmla="*/ 8 h 9"/>
                  <a:gd name="T10" fmla="*/ 7 w 8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9">
                    <a:moveTo>
                      <a:pt x="7" y="2"/>
                    </a:moveTo>
                    <a:cubicBezTo>
                      <a:pt x="7" y="1"/>
                      <a:pt x="5" y="0"/>
                      <a:pt x="4" y="0"/>
                    </a:cubicBezTo>
                    <a:cubicBezTo>
                      <a:pt x="3" y="1"/>
                      <a:pt x="3" y="1"/>
                      <a:pt x="2" y="2"/>
                    </a:cubicBezTo>
                    <a:cubicBezTo>
                      <a:pt x="2" y="4"/>
                      <a:pt x="1" y="6"/>
                      <a:pt x="0" y="8"/>
                    </a:cubicBezTo>
                    <a:cubicBezTo>
                      <a:pt x="2" y="8"/>
                      <a:pt x="2" y="9"/>
                      <a:pt x="4" y="8"/>
                    </a:cubicBezTo>
                    <a:cubicBezTo>
                      <a:pt x="5" y="7"/>
                      <a:pt x="8" y="4"/>
                      <a:pt x="7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5" name="Freeform 687">
                <a:extLst>
                  <a:ext uri="{FF2B5EF4-FFF2-40B4-BE49-F238E27FC236}">
                    <a16:creationId xmlns:a16="http://schemas.microsoft.com/office/drawing/2014/main" id="{88666F6D-4888-40DE-BEC4-E4D650EF7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8007" y="3731297"/>
                <a:ext cx="14336" cy="33448"/>
              </a:xfrm>
              <a:custGeom>
                <a:avLst/>
                <a:gdLst>
                  <a:gd name="T0" fmla="*/ 0 w 3"/>
                  <a:gd name="T1" fmla="*/ 3 h 7"/>
                  <a:gd name="T2" fmla="*/ 3 w 3"/>
                  <a:gd name="T3" fmla="*/ 7 h 7"/>
                  <a:gd name="T4" fmla="*/ 3 w 3"/>
                  <a:gd name="T5" fmla="*/ 1 h 7"/>
                  <a:gd name="T6" fmla="*/ 2 w 3"/>
                  <a:gd name="T7" fmla="*/ 0 h 7"/>
                  <a:gd name="T8" fmla="*/ 0 w 3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7">
                    <a:moveTo>
                      <a:pt x="0" y="3"/>
                    </a:moveTo>
                    <a:cubicBezTo>
                      <a:pt x="0" y="5"/>
                      <a:pt x="1" y="6"/>
                      <a:pt x="3" y="7"/>
                    </a:cubicBezTo>
                    <a:cubicBezTo>
                      <a:pt x="3" y="5"/>
                      <a:pt x="3" y="3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0" y="0"/>
                      <a:pt x="0" y="2"/>
                      <a:pt x="0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6" name="Freeform 688">
                <a:extLst>
                  <a:ext uri="{FF2B5EF4-FFF2-40B4-BE49-F238E27FC236}">
                    <a16:creationId xmlns:a16="http://schemas.microsoft.com/office/drawing/2014/main" id="{FE34BA09-C291-4D18-A18B-B919F4CEE1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8895" y="3712182"/>
                <a:ext cx="38227" cy="122645"/>
              </a:xfrm>
              <a:custGeom>
                <a:avLst/>
                <a:gdLst>
                  <a:gd name="T0" fmla="*/ 4 w 8"/>
                  <a:gd name="T1" fmla="*/ 17 h 26"/>
                  <a:gd name="T2" fmla="*/ 6 w 8"/>
                  <a:gd name="T3" fmla="*/ 13 h 26"/>
                  <a:gd name="T4" fmla="*/ 5 w 8"/>
                  <a:gd name="T5" fmla="*/ 10 h 26"/>
                  <a:gd name="T6" fmla="*/ 7 w 8"/>
                  <a:gd name="T7" fmla="*/ 4 h 26"/>
                  <a:gd name="T8" fmla="*/ 6 w 8"/>
                  <a:gd name="T9" fmla="*/ 0 h 26"/>
                  <a:gd name="T10" fmla="*/ 2 w 8"/>
                  <a:gd name="T11" fmla="*/ 7 h 26"/>
                  <a:gd name="T12" fmla="*/ 0 w 8"/>
                  <a:gd name="T13" fmla="*/ 11 h 26"/>
                  <a:gd name="T14" fmla="*/ 1 w 8"/>
                  <a:gd name="T15" fmla="*/ 16 h 26"/>
                  <a:gd name="T16" fmla="*/ 2 w 8"/>
                  <a:gd name="T17" fmla="*/ 26 h 26"/>
                  <a:gd name="T18" fmla="*/ 2 w 8"/>
                  <a:gd name="T19" fmla="*/ 25 h 26"/>
                  <a:gd name="T20" fmla="*/ 4 w 8"/>
                  <a:gd name="T21" fmla="*/ 17 h 26"/>
                  <a:gd name="T22" fmla="*/ 4 w 8"/>
                  <a:gd name="T23" fmla="*/ 1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26">
                    <a:moveTo>
                      <a:pt x="4" y="17"/>
                    </a:moveTo>
                    <a:cubicBezTo>
                      <a:pt x="4" y="16"/>
                      <a:pt x="5" y="15"/>
                      <a:pt x="6" y="13"/>
                    </a:cubicBezTo>
                    <a:cubicBezTo>
                      <a:pt x="7" y="11"/>
                      <a:pt x="6" y="12"/>
                      <a:pt x="5" y="10"/>
                    </a:cubicBezTo>
                    <a:cubicBezTo>
                      <a:pt x="3" y="8"/>
                      <a:pt x="4" y="3"/>
                      <a:pt x="7" y="4"/>
                    </a:cubicBezTo>
                    <a:cubicBezTo>
                      <a:pt x="8" y="1"/>
                      <a:pt x="8" y="1"/>
                      <a:pt x="6" y="0"/>
                    </a:cubicBezTo>
                    <a:cubicBezTo>
                      <a:pt x="4" y="0"/>
                      <a:pt x="3" y="5"/>
                      <a:pt x="2" y="7"/>
                    </a:cubicBezTo>
                    <a:cubicBezTo>
                      <a:pt x="1" y="8"/>
                      <a:pt x="0" y="9"/>
                      <a:pt x="0" y="11"/>
                    </a:cubicBezTo>
                    <a:cubicBezTo>
                      <a:pt x="0" y="12"/>
                      <a:pt x="1" y="14"/>
                      <a:pt x="1" y="16"/>
                    </a:cubicBezTo>
                    <a:cubicBezTo>
                      <a:pt x="1" y="19"/>
                      <a:pt x="2" y="22"/>
                      <a:pt x="2" y="26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3" y="23"/>
                      <a:pt x="3" y="20"/>
                      <a:pt x="4" y="17"/>
                    </a:cubicBezTo>
                    <a:cubicBezTo>
                      <a:pt x="4" y="16"/>
                      <a:pt x="4" y="18"/>
                      <a:pt x="4" y="1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7" name="Freeform 689">
                <a:extLst>
                  <a:ext uri="{FF2B5EF4-FFF2-40B4-BE49-F238E27FC236}">
                    <a16:creationId xmlns:a16="http://schemas.microsoft.com/office/drawing/2014/main" id="{C68C3FEF-E087-4278-8E84-341E5C33A6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5938" y="3895353"/>
                <a:ext cx="23891" cy="36635"/>
              </a:xfrm>
              <a:custGeom>
                <a:avLst/>
                <a:gdLst>
                  <a:gd name="T0" fmla="*/ 3 w 5"/>
                  <a:gd name="T1" fmla="*/ 8 h 8"/>
                  <a:gd name="T2" fmla="*/ 2 w 5"/>
                  <a:gd name="T3" fmla="*/ 0 h 8"/>
                  <a:gd name="T4" fmla="*/ 0 w 5"/>
                  <a:gd name="T5" fmla="*/ 4 h 8"/>
                  <a:gd name="T6" fmla="*/ 3 w 5"/>
                  <a:gd name="T7" fmla="*/ 8 h 8"/>
                  <a:gd name="T8" fmla="*/ 3 w 5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3" y="8"/>
                    </a:moveTo>
                    <a:cubicBezTo>
                      <a:pt x="3" y="7"/>
                      <a:pt x="5" y="0"/>
                      <a:pt x="2" y="0"/>
                    </a:cubicBezTo>
                    <a:cubicBezTo>
                      <a:pt x="1" y="1"/>
                      <a:pt x="0" y="3"/>
                      <a:pt x="0" y="4"/>
                    </a:cubicBezTo>
                    <a:cubicBezTo>
                      <a:pt x="0" y="6"/>
                      <a:pt x="1" y="7"/>
                      <a:pt x="3" y="8"/>
                    </a:cubicBezTo>
                    <a:cubicBezTo>
                      <a:pt x="3" y="8"/>
                      <a:pt x="2" y="8"/>
                      <a:pt x="3" y="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8" name="Freeform 690">
                <a:extLst>
                  <a:ext uri="{FF2B5EF4-FFF2-40B4-BE49-F238E27FC236}">
                    <a16:creationId xmlns:a16="http://schemas.microsoft.com/office/drawing/2014/main" id="{514E8B04-1E00-408B-AD20-1A194EA9D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4806" y="4068966"/>
                <a:ext cx="248472" cy="157685"/>
              </a:xfrm>
              <a:custGeom>
                <a:avLst/>
                <a:gdLst>
                  <a:gd name="T0" fmla="*/ 47 w 53"/>
                  <a:gd name="T1" fmla="*/ 0 h 34"/>
                  <a:gd name="T2" fmla="*/ 38 w 53"/>
                  <a:gd name="T3" fmla="*/ 2 h 34"/>
                  <a:gd name="T4" fmla="*/ 28 w 53"/>
                  <a:gd name="T5" fmla="*/ 4 h 34"/>
                  <a:gd name="T6" fmla="*/ 23 w 53"/>
                  <a:gd name="T7" fmla="*/ 10 h 34"/>
                  <a:gd name="T8" fmla="*/ 17 w 53"/>
                  <a:gd name="T9" fmla="*/ 9 h 34"/>
                  <a:gd name="T10" fmla="*/ 9 w 53"/>
                  <a:gd name="T11" fmla="*/ 9 h 34"/>
                  <a:gd name="T12" fmla="*/ 3 w 53"/>
                  <a:gd name="T13" fmla="*/ 12 h 34"/>
                  <a:gd name="T14" fmla="*/ 1 w 53"/>
                  <a:gd name="T15" fmla="*/ 15 h 34"/>
                  <a:gd name="T16" fmla="*/ 1 w 53"/>
                  <a:gd name="T17" fmla="*/ 21 h 34"/>
                  <a:gd name="T18" fmla="*/ 3 w 53"/>
                  <a:gd name="T19" fmla="*/ 28 h 34"/>
                  <a:gd name="T20" fmla="*/ 4 w 53"/>
                  <a:gd name="T21" fmla="*/ 32 h 34"/>
                  <a:gd name="T22" fmla="*/ 12 w 53"/>
                  <a:gd name="T23" fmla="*/ 32 h 34"/>
                  <a:gd name="T24" fmla="*/ 16 w 53"/>
                  <a:gd name="T25" fmla="*/ 29 h 34"/>
                  <a:gd name="T26" fmla="*/ 21 w 53"/>
                  <a:gd name="T27" fmla="*/ 29 h 34"/>
                  <a:gd name="T28" fmla="*/ 24 w 53"/>
                  <a:gd name="T29" fmla="*/ 26 h 34"/>
                  <a:gd name="T30" fmla="*/ 32 w 53"/>
                  <a:gd name="T31" fmla="*/ 24 h 34"/>
                  <a:gd name="T32" fmla="*/ 41 w 53"/>
                  <a:gd name="T33" fmla="*/ 21 h 34"/>
                  <a:gd name="T34" fmla="*/ 47 w 53"/>
                  <a:gd name="T35" fmla="*/ 17 h 34"/>
                  <a:gd name="T36" fmla="*/ 52 w 53"/>
                  <a:gd name="T37" fmla="*/ 12 h 34"/>
                  <a:gd name="T38" fmla="*/ 47 w 53"/>
                  <a:gd name="T3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3" h="34">
                    <a:moveTo>
                      <a:pt x="47" y="0"/>
                    </a:moveTo>
                    <a:cubicBezTo>
                      <a:pt x="44" y="1"/>
                      <a:pt x="41" y="2"/>
                      <a:pt x="38" y="2"/>
                    </a:cubicBezTo>
                    <a:cubicBezTo>
                      <a:pt x="35" y="3"/>
                      <a:pt x="31" y="2"/>
                      <a:pt x="28" y="4"/>
                    </a:cubicBezTo>
                    <a:cubicBezTo>
                      <a:pt x="26" y="6"/>
                      <a:pt x="25" y="8"/>
                      <a:pt x="23" y="10"/>
                    </a:cubicBezTo>
                    <a:cubicBezTo>
                      <a:pt x="22" y="11"/>
                      <a:pt x="19" y="9"/>
                      <a:pt x="17" y="9"/>
                    </a:cubicBezTo>
                    <a:cubicBezTo>
                      <a:pt x="14" y="9"/>
                      <a:pt x="12" y="9"/>
                      <a:pt x="9" y="9"/>
                    </a:cubicBezTo>
                    <a:cubicBezTo>
                      <a:pt x="6" y="9"/>
                      <a:pt x="3" y="8"/>
                      <a:pt x="3" y="12"/>
                    </a:cubicBezTo>
                    <a:cubicBezTo>
                      <a:pt x="2" y="14"/>
                      <a:pt x="1" y="13"/>
                      <a:pt x="1" y="15"/>
                    </a:cubicBezTo>
                    <a:cubicBezTo>
                      <a:pt x="0" y="17"/>
                      <a:pt x="0" y="19"/>
                      <a:pt x="1" y="21"/>
                    </a:cubicBezTo>
                    <a:cubicBezTo>
                      <a:pt x="1" y="23"/>
                      <a:pt x="2" y="26"/>
                      <a:pt x="3" y="28"/>
                    </a:cubicBezTo>
                    <a:cubicBezTo>
                      <a:pt x="3" y="29"/>
                      <a:pt x="3" y="31"/>
                      <a:pt x="4" y="32"/>
                    </a:cubicBezTo>
                    <a:cubicBezTo>
                      <a:pt x="5" y="34"/>
                      <a:pt x="10" y="33"/>
                      <a:pt x="12" y="32"/>
                    </a:cubicBezTo>
                    <a:cubicBezTo>
                      <a:pt x="13" y="31"/>
                      <a:pt x="14" y="30"/>
                      <a:pt x="16" y="29"/>
                    </a:cubicBezTo>
                    <a:cubicBezTo>
                      <a:pt x="17" y="29"/>
                      <a:pt x="19" y="29"/>
                      <a:pt x="21" y="29"/>
                    </a:cubicBezTo>
                    <a:cubicBezTo>
                      <a:pt x="22" y="28"/>
                      <a:pt x="23" y="27"/>
                      <a:pt x="24" y="26"/>
                    </a:cubicBezTo>
                    <a:cubicBezTo>
                      <a:pt x="27" y="25"/>
                      <a:pt x="29" y="25"/>
                      <a:pt x="32" y="24"/>
                    </a:cubicBezTo>
                    <a:cubicBezTo>
                      <a:pt x="35" y="23"/>
                      <a:pt x="38" y="22"/>
                      <a:pt x="41" y="21"/>
                    </a:cubicBezTo>
                    <a:cubicBezTo>
                      <a:pt x="43" y="20"/>
                      <a:pt x="47" y="19"/>
                      <a:pt x="47" y="17"/>
                    </a:cubicBezTo>
                    <a:cubicBezTo>
                      <a:pt x="48" y="14"/>
                      <a:pt x="53" y="14"/>
                      <a:pt x="52" y="12"/>
                    </a:cubicBezTo>
                    <a:cubicBezTo>
                      <a:pt x="50" y="8"/>
                      <a:pt x="49" y="4"/>
                      <a:pt x="47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9" name="Freeform 691">
                <a:extLst>
                  <a:ext uri="{FF2B5EF4-FFF2-40B4-BE49-F238E27FC236}">
                    <a16:creationId xmlns:a16="http://schemas.microsoft.com/office/drawing/2014/main" id="{5C1F40F6-C2D8-49DC-810E-08177C7A77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4608" y="3895353"/>
                <a:ext cx="191132" cy="229360"/>
              </a:xfrm>
              <a:custGeom>
                <a:avLst/>
                <a:gdLst>
                  <a:gd name="T0" fmla="*/ 39 w 41"/>
                  <a:gd name="T1" fmla="*/ 19 h 49"/>
                  <a:gd name="T2" fmla="*/ 34 w 41"/>
                  <a:gd name="T3" fmla="*/ 14 h 49"/>
                  <a:gd name="T4" fmla="*/ 28 w 41"/>
                  <a:gd name="T5" fmla="*/ 12 h 49"/>
                  <a:gd name="T6" fmla="*/ 22 w 41"/>
                  <a:gd name="T7" fmla="*/ 6 h 49"/>
                  <a:gd name="T8" fmla="*/ 21 w 41"/>
                  <a:gd name="T9" fmla="*/ 3 h 49"/>
                  <a:gd name="T10" fmla="*/ 22 w 41"/>
                  <a:gd name="T11" fmla="*/ 0 h 49"/>
                  <a:gd name="T12" fmla="*/ 17 w 41"/>
                  <a:gd name="T13" fmla="*/ 5 h 49"/>
                  <a:gd name="T14" fmla="*/ 10 w 41"/>
                  <a:gd name="T15" fmla="*/ 10 h 49"/>
                  <a:gd name="T16" fmla="*/ 5 w 41"/>
                  <a:gd name="T17" fmla="*/ 10 h 49"/>
                  <a:gd name="T18" fmla="*/ 0 w 41"/>
                  <a:gd name="T19" fmla="*/ 11 h 49"/>
                  <a:gd name="T20" fmla="*/ 5 w 41"/>
                  <a:gd name="T21" fmla="*/ 17 h 49"/>
                  <a:gd name="T22" fmla="*/ 16 w 41"/>
                  <a:gd name="T23" fmla="*/ 19 h 49"/>
                  <a:gd name="T24" fmla="*/ 16 w 41"/>
                  <a:gd name="T25" fmla="*/ 32 h 49"/>
                  <a:gd name="T26" fmla="*/ 11 w 41"/>
                  <a:gd name="T27" fmla="*/ 34 h 49"/>
                  <a:gd name="T28" fmla="*/ 0 w 41"/>
                  <a:gd name="T29" fmla="*/ 37 h 49"/>
                  <a:gd name="T30" fmla="*/ 5 w 41"/>
                  <a:gd name="T31" fmla="*/ 49 h 49"/>
                  <a:gd name="T32" fmla="*/ 14 w 41"/>
                  <a:gd name="T33" fmla="*/ 48 h 49"/>
                  <a:gd name="T34" fmla="*/ 17 w 41"/>
                  <a:gd name="T35" fmla="*/ 44 h 49"/>
                  <a:gd name="T36" fmla="*/ 23 w 41"/>
                  <a:gd name="T37" fmla="*/ 42 h 49"/>
                  <a:gd name="T38" fmla="*/ 28 w 41"/>
                  <a:gd name="T39" fmla="*/ 38 h 49"/>
                  <a:gd name="T40" fmla="*/ 29 w 41"/>
                  <a:gd name="T41" fmla="*/ 32 h 49"/>
                  <a:gd name="T42" fmla="*/ 32 w 41"/>
                  <a:gd name="T43" fmla="*/ 30 h 49"/>
                  <a:gd name="T44" fmla="*/ 37 w 41"/>
                  <a:gd name="T45" fmla="*/ 24 h 49"/>
                  <a:gd name="T46" fmla="*/ 39 w 41"/>
                  <a:gd name="T47" fmla="*/ 19 h 49"/>
                  <a:gd name="T48" fmla="*/ 39 w 41"/>
                  <a:gd name="T49" fmla="*/ 1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1" h="49">
                    <a:moveTo>
                      <a:pt x="39" y="19"/>
                    </a:moveTo>
                    <a:cubicBezTo>
                      <a:pt x="36" y="19"/>
                      <a:pt x="35" y="16"/>
                      <a:pt x="34" y="14"/>
                    </a:cubicBezTo>
                    <a:cubicBezTo>
                      <a:pt x="33" y="13"/>
                      <a:pt x="29" y="13"/>
                      <a:pt x="28" y="12"/>
                    </a:cubicBezTo>
                    <a:cubicBezTo>
                      <a:pt x="25" y="11"/>
                      <a:pt x="24" y="9"/>
                      <a:pt x="22" y="6"/>
                    </a:cubicBezTo>
                    <a:cubicBezTo>
                      <a:pt x="22" y="5"/>
                      <a:pt x="21" y="4"/>
                      <a:pt x="21" y="3"/>
                    </a:cubicBezTo>
                    <a:cubicBezTo>
                      <a:pt x="21" y="3"/>
                      <a:pt x="22" y="0"/>
                      <a:pt x="22" y="0"/>
                    </a:cubicBezTo>
                    <a:cubicBezTo>
                      <a:pt x="21" y="0"/>
                      <a:pt x="18" y="4"/>
                      <a:pt x="17" y="5"/>
                    </a:cubicBezTo>
                    <a:cubicBezTo>
                      <a:pt x="15" y="7"/>
                      <a:pt x="13" y="10"/>
                      <a:pt x="10" y="10"/>
                    </a:cubicBezTo>
                    <a:cubicBezTo>
                      <a:pt x="8" y="11"/>
                      <a:pt x="7" y="10"/>
                      <a:pt x="5" y="10"/>
                    </a:cubicBezTo>
                    <a:cubicBezTo>
                      <a:pt x="3" y="11"/>
                      <a:pt x="1" y="13"/>
                      <a:pt x="0" y="11"/>
                    </a:cubicBezTo>
                    <a:cubicBezTo>
                      <a:pt x="1" y="14"/>
                      <a:pt x="2" y="17"/>
                      <a:pt x="5" y="17"/>
                    </a:cubicBezTo>
                    <a:cubicBezTo>
                      <a:pt x="7" y="17"/>
                      <a:pt x="15" y="17"/>
                      <a:pt x="16" y="19"/>
                    </a:cubicBezTo>
                    <a:cubicBezTo>
                      <a:pt x="19" y="23"/>
                      <a:pt x="17" y="27"/>
                      <a:pt x="16" y="32"/>
                    </a:cubicBezTo>
                    <a:cubicBezTo>
                      <a:pt x="15" y="33"/>
                      <a:pt x="11" y="34"/>
                      <a:pt x="11" y="34"/>
                    </a:cubicBezTo>
                    <a:cubicBezTo>
                      <a:pt x="7" y="35"/>
                      <a:pt x="3" y="36"/>
                      <a:pt x="0" y="37"/>
                    </a:cubicBezTo>
                    <a:cubicBezTo>
                      <a:pt x="2" y="41"/>
                      <a:pt x="4" y="45"/>
                      <a:pt x="5" y="49"/>
                    </a:cubicBezTo>
                    <a:cubicBezTo>
                      <a:pt x="8" y="48"/>
                      <a:pt x="11" y="48"/>
                      <a:pt x="14" y="48"/>
                    </a:cubicBezTo>
                    <a:cubicBezTo>
                      <a:pt x="18" y="47"/>
                      <a:pt x="15" y="46"/>
                      <a:pt x="17" y="44"/>
                    </a:cubicBezTo>
                    <a:cubicBezTo>
                      <a:pt x="19" y="43"/>
                      <a:pt x="22" y="44"/>
                      <a:pt x="23" y="42"/>
                    </a:cubicBezTo>
                    <a:cubicBezTo>
                      <a:pt x="25" y="40"/>
                      <a:pt x="25" y="39"/>
                      <a:pt x="28" y="38"/>
                    </a:cubicBezTo>
                    <a:cubicBezTo>
                      <a:pt x="30" y="37"/>
                      <a:pt x="29" y="34"/>
                      <a:pt x="29" y="32"/>
                    </a:cubicBezTo>
                    <a:cubicBezTo>
                      <a:pt x="28" y="30"/>
                      <a:pt x="30" y="30"/>
                      <a:pt x="32" y="30"/>
                    </a:cubicBezTo>
                    <a:cubicBezTo>
                      <a:pt x="35" y="29"/>
                      <a:pt x="35" y="26"/>
                      <a:pt x="37" y="24"/>
                    </a:cubicBezTo>
                    <a:cubicBezTo>
                      <a:pt x="38" y="23"/>
                      <a:pt x="41" y="20"/>
                      <a:pt x="39" y="19"/>
                    </a:cubicBezTo>
                    <a:cubicBezTo>
                      <a:pt x="38" y="19"/>
                      <a:pt x="40" y="20"/>
                      <a:pt x="39" y="1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0" name="Freeform 692">
                <a:extLst>
                  <a:ext uri="{FF2B5EF4-FFF2-40B4-BE49-F238E27FC236}">
                    <a16:creationId xmlns:a16="http://schemas.microsoft.com/office/drawing/2014/main" id="{DB776E6B-509D-40D3-A7A1-D00E720DC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0764" y="3446191"/>
                <a:ext cx="256437" cy="111494"/>
              </a:xfrm>
              <a:custGeom>
                <a:avLst/>
                <a:gdLst>
                  <a:gd name="T0" fmla="*/ 55 w 55"/>
                  <a:gd name="T1" fmla="*/ 5 h 24"/>
                  <a:gd name="T2" fmla="*/ 47 w 55"/>
                  <a:gd name="T3" fmla="*/ 3 h 24"/>
                  <a:gd name="T4" fmla="*/ 36 w 55"/>
                  <a:gd name="T5" fmla="*/ 2 h 24"/>
                  <a:gd name="T6" fmla="*/ 27 w 55"/>
                  <a:gd name="T7" fmla="*/ 0 h 24"/>
                  <a:gd name="T8" fmla="*/ 22 w 55"/>
                  <a:gd name="T9" fmla="*/ 2 h 24"/>
                  <a:gd name="T10" fmla="*/ 19 w 55"/>
                  <a:gd name="T11" fmla="*/ 4 h 24"/>
                  <a:gd name="T12" fmla="*/ 11 w 55"/>
                  <a:gd name="T13" fmla="*/ 5 h 24"/>
                  <a:gd name="T14" fmla="*/ 9 w 55"/>
                  <a:gd name="T15" fmla="*/ 7 h 24"/>
                  <a:gd name="T16" fmla="*/ 8 w 55"/>
                  <a:gd name="T17" fmla="*/ 11 h 24"/>
                  <a:gd name="T18" fmla="*/ 12 w 55"/>
                  <a:gd name="T19" fmla="*/ 12 h 24"/>
                  <a:gd name="T20" fmla="*/ 15 w 55"/>
                  <a:gd name="T21" fmla="*/ 12 h 24"/>
                  <a:gd name="T22" fmla="*/ 19 w 55"/>
                  <a:gd name="T23" fmla="*/ 15 h 24"/>
                  <a:gd name="T24" fmla="*/ 15 w 55"/>
                  <a:gd name="T25" fmla="*/ 17 h 24"/>
                  <a:gd name="T26" fmla="*/ 11 w 55"/>
                  <a:gd name="T27" fmla="*/ 17 h 24"/>
                  <a:gd name="T28" fmla="*/ 10 w 55"/>
                  <a:gd name="T29" fmla="*/ 20 h 24"/>
                  <a:gd name="T30" fmla="*/ 1 w 55"/>
                  <a:gd name="T31" fmla="*/ 20 h 24"/>
                  <a:gd name="T32" fmla="*/ 11 w 55"/>
                  <a:gd name="T33" fmla="*/ 22 h 24"/>
                  <a:gd name="T34" fmla="*/ 15 w 55"/>
                  <a:gd name="T35" fmla="*/ 23 h 24"/>
                  <a:gd name="T36" fmla="*/ 21 w 55"/>
                  <a:gd name="T37" fmla="*/ 23 h 24"/>
                  <a:gd name="T38" fmla="*/ 25 w 55"/>
                  <a:gd name="T39" fmla="*/ 20 h 24"/>
                  <a:gd name="T40" fmla="*/ 28 w 55"/>
                  <a:gd name="T41" fmla="*/ 17 h 24"/>
                  <a:gd name="T42" fmla="*/ 33 w 55"/>
                  <a:gd name="T43" fmla="*/ 16 h 24"/>
                  <a:gd name="T44" fmla="*/ 37 w 55"/>
                  <a:gd name="T45" fmla="*/ 16 h 24"/>
                  <a:gd name="T46" fmla="*/ 40 w 55"/>
                  <a:gd name="T47" fmla="*/ 13 h 24"/>
                  <a:gd name="T48" fmla="*/ 44 w 55"/>
                  <a:gd name="T49" fmla="*/ 12 h 24"/>
                  <a:gd name="T50" fmla="*/ 54 w 55"/>
                  <a:gd name="T51" fmla="*/ 7 h 24"/>
                  <a:gd name="T52" fmla="*/ 55 w 55"/>
                  <a:gd name="T53" fmla="*/ 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" h="24">
                    <a:moveTo>
                      <a:pt x="55" y="5"/>
                    </a:moveTo>
                    <a:cubicBezTo>
                      <a:pt x="52" y="5"/>
                      <a:pt x="50" y="3"/>
                      <a:pt x="47" y="3"/>
                    </a:cubicBezTo>
                    <a:cubicBezTo>
                      <a:pt x="44" y="2"/>
                      <a:pt x="40" y="2"/>
                      <a:pt x="36" y="2"/>
                    </a:cubicBezTo>
                    <a:cubicBezTo>
                      <a:pt x="33" y="2"/>
                      <a:pt x="30" y="2"/>
                      <a:pt x="27" y="0"/>
                    </a:cubicBezTo>
                    <a:cubicBezTo>
                      <a:pt x="25" y="0"/>
                      <a:pt x="23" y="0"/>
                      <a:pt x="22" y="2"/>
                    </a:cubicBezTo>
                    <a:cubicBezTo>
                      <a:pt x="22" y="4"/>
                      <a:pt x="21" y="5"/>
                      <a:pt x="19" y="4"/>
                    </a:cubicBezTo>
                    <a:cubicBezTo>
                      <a:pt x="17" y="3"/>
                      <a:pt x="12" y="1"/>
                      <a:pt x="11" y="5"/>
                    </a:cubicBezTo>
                    <a:cubicBezTo>
                      <a:pt x="10" y="6"/>
                      <a:pt x="11" y="6"/>
                      <a:pt x="9" y="7"/>
                    </a:cubicBezTo>
                    <a:cubicBezTo>
                      <a:pt x="8" y="8"/>
                      <a:pt x="6" y="10"/>
                      <a:pt x="8" y="11"/>
                    </a:cubicBezTo>
                    <a:cubicBezTo>
                      <a:pt x="9" y="12"/>
                      <a:pt x="12" y="13"/>
                      <a:pt x="12" y="12"/>
                    </a:cubicBezTo>
                    <a:cubicBezTo>
                      <a:pt x="13" y="10"/>
                      <a:pt x="14" y="11"/>
                      <a:pt x="15" y="12"/>
                    </a:cubicBezTo>
                    <a:cubicBezTo>
                      <a:pt x="16" y="13"/>
                      <a:pt x="20" y="14"/>
                      <a:pt x="19" y="15"/>
                    </a:cubicBezTo>
                    <a:cubicBezTo>
                      <a:pt x="19" y="16"/>
                      <a:pt x="16" y="16"/>
                      <a:pt x="15" y="17"/>
                    </a:cubicBezTo>
                    <a:cubicBezTo>
                      <a:pt x="14" y="18"/>
                      <a:pt x="13" y="19"/>
                      <a:pt x="11" y="17"/>
                    </a:cubicBezTo>
                    <a:cubicBezTo>
                      <a:pt x="10" y="16"/>
                      <a:pt x="10" y="19"/>
                      <a:pt x="10" y="20"/>
                    </a:cubicBezTo>
                    <a:cubicBezTo>
                      <a:pt x="6" y="22"/>
                      <a:pt x="4" y="15"/>
                      <a:pt x="1" y="20"/>
                    </a:cubicBezTo>
                    <a:cubicBezTo>
                      <a:pt x="0" y="21"/>
                      <a:pt x="10" y="23"/>
                      <a:pt x="11" y="22"/>
                    </a:cubicBezTo>
                    <a:cubicBezTo>
                      <a:pt x="12" y="21"/>
                      <a:pt x="14" y="22"/>
                      <a:pt x="15" y="23"/>
                    </a:cubicBezTo>
                    <a:cubicBezTo>
                      <a:pt x="16" y="23"/>
                      <a:pt x="19" y="24"/>
                      <a:pt x="21" y="23"/>
                    </a:cubicBezTo>
                    <a:cubicBezTo>
                      <a:pt x="22" y="22"/>
                      <a:pt x="24" y="23"/>
                      <a:pt x="25" y="20"/>
                    </a:cubicBezTo>
                    <a:cubicBezTo>
                      <a:pt x="25" y="19"/>
                      <a:pt x="27" y="18"/>
                      <a:pt x="28" y="17"/>
                    </a:cubicBezTo>
                    <a:cubicBezTo>
                      <a:pt x="29" y="16"/>
                      <a:pt x="33" y="16"/>
                      <a:pt x="33" y="16"/>
                    </a:cubicBezTo>
                    <a:cubicBezTo>
                      <a:pt x="34" y="18"/>
                      <a:pt x="35" y="16"/>
                      <a:pt x="37" y="16"/>
                    </a:cubicBezTo>
                    <a:cubicBezTo>
                      <a:pt x="38" y="16"/>
                      <a:pt x="39" y="13"/>
                      <a:pt x="40" y="13"/>
                    </a:cubicBezTo>
                    <a:cubicBezTo>
                      <a:pt x="41" y="12"/>
                      <a:pt x="43" y="13"/>
                      <a:pt x="44" y="12"/>
                    </a:cubicBezTo>
                    <a:cubicBezTo>
                      <a:pt x="48" y="11"/>
                      <a:pt x="50" y="9"/>
                      <a:pt x="54" y="7"/>
                    </a:cubicBezTo>
                    <a:cubicBezTo>
                      <a:pt x="55" y="7"/>
                      <a:pt x="55" y="7"/>
                      <a:pt x="55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1" name="Freeform 693">
                <a:extLst>
                  <a:ext uri="{FF2B5EF4-FFF2-40B4-BE49-F238E27FC236}">
                    <a16:creationId xmlns:a16="http://schemas.microsoft.com/office/drawing/2014/main" id="{BC30AF05-9CDB-4E9E-8C93-6DA4F85D0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8583" y="3376110"/>
                <a:ext cx="415714" cy="243694"/>
              </a:xfrm>
              <a:custGeom>
                <a:avLst/>
                <a:gdLst>
                  <a:gd name="T0" fmla="*/ 78 w 89"/>
                  <a:gd name="T1" fmla="*/ 32 h 52"/>
                  <a:gd name="T2" fmla="*/ 81 w 89"/>
                  <a:gd name="T3" fmla="*/ 33 h 52"/>
                  <a:gd name="T4" fmla="*/ 84 w 89"/>
                  <a:gd name="T5" fmla="*/ 31 h 52"/>
                  <a:gd name="T6" fmla="*/ 81 w 89"/>
                  <a:gd name="T7" fmla="*/ 26 h 52"/>
                  <a:gd name="T8" fmla="*/ 79 w 89"/>
                  <a:gd name="T9" fmla="*/ 27 h 52"/>
                  <a:gd name="T10" fmla="*/ 75 w 89"/>
                  <a:gd name="T11" fmla="*/ 27 h 52"/>
                  <a:gd name="T12" fmla="*/ 78 w 89"/>
                  <a:gd name="T13" fmla="*/ 21 h 52"/>
                  <a:gd name="T14" fmla="*/ 74 w 89"/>
                  <a:gd name="T15" fmla="*/ 22 h 52"/>
                  <a:gd name="T16" fmla="*/ 68 w 89"/>
                  <a:gd name="T17" fmla="*/ 25 h 52"/>
                  <a:gd name="T18" fmla="*/ 65 w 89"/>
                  <a:gd name="T19" fmla="*/ 29 h 52"/>
                  <a:gd name="T20" fmla="*/ 62 w 89"/>
                  <a:gd name="T21" fmla="*/ 28 h 52"/>
                  <a:gd name="T22" fmla="*/ 57 w 89"/>
                  <a:gd name="T23" fmla="*/ 27 h 52"/>
                  <a:gd name="T24" fmla="*/ 53 w 89"/>
                  <a:gd name="T25" fmla="*/ 23 h 52"/>
                  <a:gd name="T26" fmla="*/ 52 w 89"/>
                  <a:gd name="T27" fmla="*/ 17 h 52"/>
                  <a:gd name="T28" fmla="*/ 49 w 89"/>
                  <a:gd name="T29" fmla="*/ 13 h 52"/>
                  <a:gd name="T30" fmla="*/ 45 w 89"/>
                  <a:gd name="T31" fmla="*/ 12 h 52"/>
                  <a:gd name="T32" fmla="*/ 38 w 89"/>
                  <a:gd name="T33" fmla="*/ 12 h 52"/>
                  <a:gd name="T34" fmla="*/ 31 w 89"/>
                  <a:gd name="T35" fmla="*/ 12 h 52"/>
                  <a:gd name="T36" fmla="*/ 27 w 89"/>
                  <a:gd name="T37" fmla="*/ 8 h 52"/>
                  <a:gd name="T38" fmla="*/ 23 w 89"/>
                  <a:gd name="T39" fmla="*/ 8 h 52"/>
                  <a:gd name="T40" fmla="*/ 19 w 89"/>
                  <a:gd name="T41" fmla="*/ 10 h 52"/>
                  <a:gd name="T42" fmla="*/ 17 w 89"/>
                  <a:gd name="T43" fmla="*/ 6 h 52"/>
                  <a:gd name="T44" fmla="*/ 15 w 89"/>
                  <a:gd name="T45" fmla="*/ 1 h 52"/>
                  <a:gd name="T46" fmla="*/ 15 w 89"/>
                  <a:gd name="T47" fmla="*/ 5 h 52"/>
                  <a:gd name="T48" fmla="*/ 14 w 89"/>
                  <a:gd name="T49" fmla="*/ 8 h 52"/>
                  <a:gd name="T50" fmla="*/ 13 w 89"/>
                  <a:gd name="T51" fmla="*/ 3 h 52"/>
                  <a:gd name="T52" fmla="*/ 14 w 89"/>
                  <a:gd name="T53" fmla="*/ 0 h 52"/>
                  <a:gd name="T54" fmla="*/ 1 w 89"/>
                  <a:gd name="T55" fmla="*/ 4 h 52"/>
                  <a:gd name="T56" fmla="*/ 1 w 89"/>
                  <a:gd name="T57" fmla="*/ 15 h 52"/>
                  <a:gd name="T58" fmla="*/ 1 w 89"/>
                  <a:gd name="T59" fmla="*/ 23 h 52"/>
                  <a:gd name="T60" fmla="*/ 2 w 89"/>
                  <a:gd name="T61" fmla="*/ 26 h 52"/>
                  <a:gd name="T62" fmla="*/ 6 w 89"/>
                  <a:gd name="T63" fmla="*/ 26 h 52"/>
                  <a:gd name="T64" fmla="*/ 6 w 89"/>
                  <a:gd name="T65" fmla="*/ 23 h 52"/>
                  <a:gd name="T66" fmla="*/ 10 w 89"/>
                  <a:gd name="T67" fmla="*/ 20 h 52"/>
                  <a:gd name="T68" fmla="*/ 13 w 89"/>
                  <a:gd name="T69" fmla="*/ 18 h 52"/>
                  <a:gd name="T70" fmla="*/ 17 w 89"/>
                  <a:gd name="T71" fmla="*/ 19 h 52"/>
                  <a:gd name="T72" fmla="*/ 21 w 89"/>
                  <a:gd name="T73" fmla="*/ 20 h 52"/>
                  <a:gd name="T74" fmla="*/ 21 w 89"/>
                  <a:gd name="T75" fmla="*/ 24 h 52"/>
                  <a:gd name="T76" fmla="*/ 26 w 89"/>
                  <a:gd name="T77" fmla="*/ 27 h 52"/>
                  <a:gd name="T78" fmla="*/ 33 w 89"/>
                  <a:gd name="T79" fmla="*/ 34 h 52"/>
                  <a:gd name="T80" fmla="*/ 38 w 89"/>
                  <a:gd name="T81" fmla="*/ 37 h 52"/>
                  <a:gd name="T82" fmla="*/ 41 w 89"/>
                  <a:gd name="T83" fmla="*/ 39 h 52"/>
                  <a:gd name="T84" fmla="*/ 50 w 89"/>
                  <a:gd name="T85" fmla="*/ 45 h 52"/>
                  <a:gd name="T86" fmla="*/ 54 w 89"/>
                  <a:gd name="T87" fmla="*/ 49 h 52"/>
                  <a:gd name="T88" fmla="*/ 61 w 89"/>
                  <a:gd name="T89" fmla="*/ 52 h 52"/>
                  <a:gd name="T90" fmla="*/ 63 w 89"/>
                  <a:gd name="T91" fmla="*/ 47 h 52"/>
                  <a:gd name="T92" fmla="*/ 62 w 89"/>
                  <a:gd name="T93" fmla="*/ 42 h 52"/>
                  <a:gd name="T94" fmla="*/ 59 w 89"/>
                  <a:gd name="T95" fmla="*/ 38 h 52"/>
                  <a:gd name="T96" fmla="*/ 64 w 89"/>
                  <a:gd name="T97" fmla="*/ 36 h 52"/>
                  <a:gd name="T98" fmla="*/ 66 w 89"/>
                  <a:gd name="T99" fmla="*/ 33 h 52"/>
                  <a:gd name="T100" fmla="*/ 68 w 89"/>
                  <a:gd name="T101" fmla="*/ 30 h 52"/>
                  <a:gd name="T102" fmla="*/ 71 w 89"/>
                  <a:gd name="T103" fmla="*/ 30 h 52"/>
                  <a:gd name="T104" fmla="*/ 74 w 89"/>
                  <a:gd name="T105" fmla="*/ 29 h 52"/>
                  <a:gd name="T106" fmla="*/ 74 w 89"/>
                  <a:gd name="T107" fmla="*/ 34 h 52"/>
                  <a:gd name="T108" fmla="*/ 77 w 89"/>
                  <a:gd name="T109" fmla="*/ 34 h 52"/>
                  <a:gd name="T110" fmla="*/ 78 w 89"/>
                  <a:gd name="T111" fmla="*/ 32 h 52"/>
                  <a:gd name="T112" fmla="*/ 78 w 89"/>
                  <a:gd name="T113" fmla="*/ 3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9" h="52">
                    <a:moveTo>
                      <a:pt x="78" y="32"/>
                    </a:moveTo>
                    <a:cubicBezTo>
                      <a:pt x="79" y="33"/>
                      <a:pt x="79" y="34"/>
                      <a:pt x="81" y="33"/>
                    </a:cubicBezTo>
                    <a:cubicBezTo>
                      <a:pt x="82" y="33"/>
                      <a:pt x="83" y="31"/>
                      <a:pt x="84" y="31"/>
                    </a:cubicBezTo>
                    <a:cubicBezTo>
                      <a:pt x="89" y="30"/>
                      <a:pt x="83" y="28"/>
                      <a:pt x="81" y="26"/>
                    </a:cubicBezTo>
                    <a:cubicBezTo>
                      <a:pt x="80" y="25"/>
                      <a:pt x="80" y="26"/>
                      <a:pt x="79" y="27"/>
                    </a:cubicBezTo>
                    <a:cubicBezTo>
                      <a:pt x="79" y="28"/>
                      <a:pt x="76" y="27"/>
                      <a:pt x="75" y="27"/>
                    </a:cubicBezTo>
                    <a:cubicBezTo>
                      <a:pt x="71" y="25"/>
                      <a:pt x="77" y="22"/>
                      <a:pt x="78" y="21"/>
                    </a:cubicBezTo>
                    <a:cubicBezTo>
                      <a:pt x="78" y="21"/>
                      <a:pt x="74" y="22"/>
                      <a:pt x="74" y="22"/>
                    </a:cubicBezTo>
                    <a:cubicBezTo>
                      <a:pt x="72" y="23"/>
                      <a:pt x="70" y="23"/>
                      <a:pt x="68" y="25"/>
                    </a:cubicBezTo>
                    <a:cubicBezTo>
                      <a:pt x="67" y="26"/>
                      <a:pt x="66" y="28"/>
                      <a:pt x="65" y="29"/>
                    </a:cubicBezTo>
                    <a:cubicBezTo>
                      <a:pt x="64" y="32"/>
                      <a:pt x="63" y="30"/>
                      <a:pt x="62" y="28"/>
                    </a:cubicBezTo>
                    <a:cubicBezTo>
                      <a:pt x="61" y="26"/>
                      <a:pt x="59" y="27"/>
                      <a:pt x="57" y="27"/>
                    </a:cubicBezTo>
                    <a:cubicBezTo>
                      <a:pt x="55" y="27"/>
                      <a:pt x="54" y="24"/>
                      <a:pt x="53" y="23"/>
                    </a:cubicBezTo>
                    <a:cubicBezTo>
                      <a:pt x="51" y="21"/>
                      <a:pt x="54" y="19"/>
                      <a:pt x="52" y="17"/>
                    </a:cubicBezTo>
                    <a:cubicBezTo>
                      <a:pt x="51" y="16"/>
                      <a:pt x="50" y="14"/>
                      <a:pt x="49" y="13"/>
                    </a:cubicBezTo>
                    <a:cubicBezTo>
                      <a:pt x="48" y="12"/>
                      <a:pt x="46" y="11"/>
                      <a:pt x="45" y="12"/>
                    </a:cubicBezTo>
                    <a:cubicBezTo>
                      <a:pt x="43" y="13"/>
                      <a:pt x="41" y="12"/>
                      <a:pt x="38" y="12"/>
                    </a:cubicBezTo>
                    <a:cubicBezTo>
                      <a:pt x="36" y="12"/>
                      <a:pt x="33" y="13"/>
                      <a:pt x="31" y="12"/>
                    </a:cubicBezTo>
                    <a:cubicBezTo>
                      <a:pt x="30" y="11"/>
                      <a:pt x="28" y="9"/>
                      <a:pt x="27" y="8"/>
                    </a:cubicBezTo>
                    <a:cubicBezTo>
                      <a:pt x="25" y="6"/>
                      <a:pt x="24" y="6"/>
                      <a:pt x="23" y="8"/>
                    </a:cubicBezTo>
                    <a:cubicBezTo>
                      <a:pt x="22" y="9"/>
                      <a:pt x="21" y="10"/>
                      <a:pt x="19" y="10"/>
                    </a:cubicBezTo>
                    <a:cubicBezTo>
                      <a:pt x="16" y="10"/>
                      <a:pt x="16" y="8"/>
                      <a:pt x="17" y="6"/>
                    </a:cubicBezTo>
                    <a:cubicBezTo>
                      <a:pt x="18" y="3"/>
                      <a:pt x="18" y="3"/>
                      <a:pt x="15" y="1"/>
                    </a:cubicBezTo>
                    <a:cubicBezTo>
                      <a:pt x="15" y="2"/>
                      <a:pt x="15" y="4"/>
                      <a:pt x="15" y="5"/>
                    </a:cubicBezTo>
                    <a:cubicBezTo>
                      <a:pt x="15" y="7"/>
                      <a:pt x="16" y="8"/>
                      <a:pt x="14" y="8"/>
                    </a:cubicBezTo>
                    <a:cubicBezTo>
                      <a:pt x="12" y="7"/>
                      <a:pt x="12" y="4"/>
                      <a:pt x="13" y="3"/>
                    </a:cubicBezTo>
                    <a:cubicBezTo>
                      <a:pt x="13" y="3"/>
                      <a:pt x="15" y="0"/>
                      <a:pt x="14" y="0"/>
                    </a:cubicBezTo>
                    <a:cubicBezTo>
                      <a:pt x="9" y="1"/>
                      <a:pt x="5" y="2"/>
                      <a:pt x="1" y="4"/>
                    </a:cubicBezTo>
                    <a:cubicBezTo>
                      <a:pt x="0" y="4"/>
                      <a:pt x="1" y="14"/>
                      <a:pt x="1" y="15"/>
                    </a:cubicBezTo>
                    <a:cubicBezTo>
                      <a:pt x="1" y="18"/>
                      <a:pt x="1" y="21"/>
                      <a:pt x="1" y="23"/>
                    </a:cubicBezTo>
                    <a:cubicBezTo>
                      <a:pt x="1" y="25"/>
                      <a:pt x="0" y="26"/>
                      <a:pt x="2" y="26"/>
                    </a:cubicBezTo>
                    <a:cubicBezTo>
                      <a:pt x="3" y="26"/>
                      <a:pt x="4" y="26"/>
                      <a:pt x="6" y="26"/>
                    </a:cubicBezTo>
                    <a:cubicBezTo>
                      <a:pt x="8" y="26"/>
                      <a:pt x="5" y="24"/>
                      <a:pt x="6" y="23"/>
                    </a:cubicBezTo>
                    <a:cubicBezTo>
                      <a:pt x="7" y="21"/>
                      <a:pt x="9" y="22"/>
                      <a:pt x="10" y="20"/>
                    </a:cubicBezTo>
                    <a:cubicBezTo>
                      <a:pt x="12" y="19"/>
                      <a:pt x="12" y="19"/>
                      <a:pt x="13" y="18"/>
                    </a:cubicBezTo>
                    <a:cubicBezTo>
                      <a:pt x="15" y="17"/>
                      <a:pt x="16" y="18"/>
                      <a:pt x="17" y="19"/>
                    </a:cubicBezTo>
                    <a:cubicBezTo>
                      <a:pt x="18" y="20"/>
                      <a:pt x="21" y="20"/>
                      <a:pt x="21" y="20"/>
                    </a:cubicBezTo>
                    <a:cubicBezTo>
                      <a:pt x="22" y="22"/>
                      <a:pt x="21" y="23"/>
                      <a:pt x="21" y="24"/>
                    </a:cubicBezTo>
                    <a:cubicBezTo>
                      <a:pt x="22" y="27"/>
                      <a:pt x="25" y="27"/>
                      <a:pt x="26" y="27"/>
                    </a:cubicBezTo>
                    <a:cubicBezTo>
                      <a:pt x="31" y="27"/>
                      <a:pt x="31" y="30"/>
                      <a:pt x="33" y="34"/>
                    </a:cubicBezTo>
                    <a:cubicBezTo>
                      <a:pt x="34" y="35"/>
                      <a:pt x="36" y="36"/>
                      <a:pt x="38" y="37"/>
                    </a:cubicBezTo>
                    <a:cubicBezTo>
                      <a:pt x="39" y="37"/>
                      <a:pt x="40" y="38"/>
                      <a:pt x="41" y="39"/>
                    </a:cubicBezTo>
                    <a:cubicBezTo>
                      <a:pt x="44" y="41"/>
                      <a:pt x="47" y="44"/>
                      <a:pt x="50" y="45"/>
                    </a:cubicBezTo>
                    <a:cubicBezTo>
                      <a:pt x="54" y="46"/>
                      <a:pt x="54" y="46"/>
                      <a:pt x="54" y="49"/>
                    </a:cubicBezTo>
                    <a:cubicBezTo>
                      <a:pt x="56" y="49"/>
                      <a:pt x="59" y="51"/>
                      <a:pt x="61" y="52"/>
                    </a:cubicBezTo>
                    <a:cubicBezTo>
                      <a:pt x="61" y="49"/>
                      <a:pt x="60" y="49"/>
                      <a:pt x="63" y="47"/>
                    </a:cubicBezTo>
                    <a:cubicBezTo>
                      <a:pt x="64" y="45"/>
                      <a:pt x="62" y="44"/>
                      <a:pt x="62" y="42"/>
                    </a:cubicBezTo>
                    <a:cubicBezTo>
                      <a:pt x="63" y="39"/>
                      <a:pt x="60" y="40"/>
                      <a:pt x="59" y="38"/>
                    </a:cubicBezTo>
                    <a:cubicBezTo>
                      <a:pt x="58" y="36"/>
                      <a:pt x="63" y="37"/>
                      <a:pt x="64" y="36"/>
                    </a:cubicBezTo>
                    <a:cubicBezTo>
                      <a:pt x="67" y="35"/>
                      <a:pt x="64" y="32"/>
                      <a:pt x="66" y="33"/>
                    </a:cubicBezTo>
                    <a:cubicBezTo>
                      <a:pt x="70" y="33"/>
                      <a:pt x="66" y="30"/>
                      <a:pt x="68" y="30"/>
                    </a:cubicBezTo>
                    <a:cubicBezTo>
                      <a:pt x="69" y="29"/>
                      <a:pt x="70" y="31"/>
                      <a:pt x="71" y="30"/>
                    </a:cubicBezTo>
                    <a:cubicBezTo>
                      <a:pt x="72" y="30"/>
                      <a:pt x="73" y="29"/>
                      <a:pt x="74" y="29"/>
                    </a:cubicBezTo>
                    <a:cubicBezTo>
                      <a:pt x="76" y="29"/>
                      <a:pt x="74" y="33"/>
                      <a:pt x="74" y="34"/>
                    </a:cubicBezTo>
                    <a:cubicBezTo>
                      <a:pt x="75" y="34"/>
                      <a:pt x="77" y="31"/>
                      <a:pt x="77" y="34"/>
                    </a:cubicBezTo>
                    <a:cubicBezTo>
                      <a:pt x="77" y="34"/>
                      <a:pt x="77" y="32"/>
                      <a:pt x="78" y="32"/>
                    </a:cubicBezTo>
                    <a:cubicBezTo>
                      <a:pt x="79" y="32"/>
                      <a:pt x="77" y="32"/>
                      <a:pt x="78" y="3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2" name="Freeform 694">
                <a:extLst>
                  <a:ext uri="{FF2B5EF4-FFF2-40B4-BE49-F238E27FC236}">
                    <a16:creationId xmlns:a16="http://schemas.microsoft.com/office/drawing/2014/main" id="{F7679A01-70F4-4143-B1D5-497F3557CE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4411" y="3646880"/>
                <a:ext cx="0" cy="4780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3" name="Freeform 695">
                <a:extLst>
                  <a:ext uri="{FF2B5EF4-FFF2-40B4-BE49-F238E27FC236}">
                    <a16:creationId xmlns:a16="http://schemas.microsoft.com/office/drawing/2014/main" id="{23FBB2A2-7A87-4DBE-AD88-E747E25E8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9387" y="3460525"/>
                <a:ext cx="340852" cy="200689"/>
              </a:xfrm>
              <a:custGeom>
                <a:avLst/>
                <a:gdLst>
                  <a:gd name="T0" fmla="*/ 73 w 73"/>
                  <a:gd name="T1" fmla="*/ 28 h 43"/>
                  <a:gd name="T2" fmla="*/ 69 w 73"/>
                  <a:gd name="T3" fmla="*/ 27 h 43"/>
                  <a:gd name="T4" fmla="*/ 65 w 73"/>
                  <a:gd name="T5" fmla="*/ 24 h 43"/>
                  <a:gd name="T6" fmla="*/ 58 w 73"/>
                  <a:gd name="T7" fmla="*/ 20 h 43"/>
                  <a:gd name="T8" fmla="*/ 52 w 73"/>
                  <a:gd name="T9" fmla="*/ 16 h 43"/>
                  <a:gd name="T10" fmla="*/ 47 w 73"/>
                  <a:gd name="T11" fmla="*/ 9 h 43"/>
                  <a:gd name="T12" fmla="*/ 40 w 73"/>
                  <a:gd name="T13" fmla="*/ 5 h 43"/>
                  <a:gd name="T14" fmla="*/ 40 w 73"/>
                  <a:gd name="T15" fmla="*/ 2 h 43"/>
                  <a:gd name="T16" fmla="*/ 36 w 73"/>
                  <a:gd name="T17" fmla="*/ 1 h 43"/>
                  <a:gd name="T18" fmla="*/ 34 w 73"/>
                  <a:gd name="T19" fmla="*/ 0 h 43"/>
                  <a:gd name="T20" fmla="*/ 31 w 73"/>
                  <a:gd name="T21" fmla="*/ 1 h 43"/>
                  <a:gd name="T22" fmla="*/ 28 w 73"/>
                  <a:gd name="T23" fmla="*/ 3 h 43"/>
                  <a:gd name="T24" fmla="*/ 25 w 73"/>
                  <a:gd name="T25" fmla="*/ 6 h 43"/>
                  <a:gd name="T26" fmla="*/ 22 w 73"/>
                  <a:gd name="T27" fmla="*/ 8 h 43"/>
                  <a:gd name="T28" fmla="*/ 17 w 73"/>
                  <a:gd name="T29" fmla="*/ 8 h 43"/>
                  <a:gd name="T30" fmla="*/ 12 w 73"/>
                  <a:gd name="T31" fmla="*/ 2 h 43"/>
                  <a:gd name="T32" fmla="*/ 2 w 73"/>
                  <a:gd name="T33" fmla="*/ 5 h 43"/>
                  <a:gd name="T34" fmla="*/ 5 w 73"/>
                  <a:gd name="T35" fmla="*/ 12 h 43"/>
                  <a:gd name="T36" fmla="*/ 8 w 73"/>
                  <a:gd name="T37" fmla="*/ 17 h 43"/>
                  <a:gd name="T38" fmla="*/ 8 w 73"/>
                  <a:gd name="T39" fmla="*/ 19 h 43"/>
                  <a:gd name="T40" fmla="*/ 10 w 73"/>
                  <a:gd name="T41" fmla="*/ 22 h 43"/>
                  <a:gd name="T42" fmla="*/ 9 w 73"/>
                  <a:gd name="T43" fmla="*/ 26 h 43"/>
                  <a:gd name="T44" fmla="*/ 9 w 73"/>
                  <a:gd name="T45" fmla="*/ 31 h 43"/>
                  <a:gd name="T46" fmla="*/ 14 w 73"/>
                  <a:gd name="T47" fmla="*/ 29 h 43"/>
                  <a:gd name="T48" fmla="*/ 17 w 73"/>
                  <a:gd name="T49" fmla="*/ 26 h 43"/>
                  <a:gd name="T50" fmla="*/ 27 w 73"/>
                  <a:gd name="T51" fmla="*/ 27 h 43"/>
                  <a:gd name="T52" fmla="*/ 37 w 73"/>
                  <a:gd name="T53" fmla="*/ 31 h 43"/>
                  <a:gd name="T54" fmla="*/ 45 w 73"/>
                  <a:gd name="T55" fmla="*/ 35 h 43"/>
                  <a:gd name="T56" fmla="*/ 46 w 73"/>
                  <a:gd name="T57" fmla="*/ 37 h 43"/>
                  <a:gd name="T58" fmla="*/ 48 w 73"/>
                  <a:gd name="T59" fmla="*/ 42 h 43"/>
                  <a:gd name="T60" fmla="*/ 53 w 73"/>
                  <a:gd name="T61" fmla="*/ 43 h 43"/>
                  <a:gd name="T62" fmla="*/ 57 w 73"/>
                  <a:gd name="T63" fmla="*/ 40 h 43"/>
                  <a:gd name="T64" fmla="*/ 62 w 73"/>
                  <a:gd name="T65" fmla="*/ 38 h 43"/>
                  <a:gd name="T66" fmla="*/ 65 w 73"/>
                  <a:gd name="T67" fmla="*/ 33 h 43"/>
                  <a:gd name="T68" fmla="*/ 69 w 73"/>
                  <a:gd name="T69" fmla="*/ 31 h 43"/>
                  <a:gd name="T70" fmla="*/ 73 w 73"/>
                  <a:gd name="T71" fmla="*/ 31 h 43"/>
                  <a:gd name="T72" fmla="*/ 73 w 73"/>
                  <a:gd name="T7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3" h="43">
                    <a:moveTo>
                      <a:pt x="73" y="28"/>
                    </a:moveTo>
                    <a:cubicBezTo>
                      <a:pt x="72" y="27"/>
                      <a:pt x="71" y="27"/>
                      <a:pt x="69" y="27"/>
                    </a:cubicBezTo>
                    <a:cubicBezTo>
                      <a:pt x="68" y="26"/>
                      <a:pt x="66" y="25"/>
                      <a:pt x="65" y="24"/>
                    </a:cubicBezTo>
                    <a:cubicBezTo>
                      <a:pt x="63" y="23"/>
                      <a:pt x="60" y="22"/>
                      <a:pt x="58" y="20"/>
                    </a:cubicBezTo>
                    <a:cubicBezTo>
                      <a:pt x="57" y="18"/>
                      <a:pt x="54" y="18"/>
                      <a:pt x="52" y="16"/>
                    </a:cubicBezTo>
                    <a:cubicBezTo>
                      <a:pt x="51" y="13"/>
                      <a:pt x="50" y="9"/>
                      <a:pt x="47" y="9"/>
                    </a:cubicBezTo>
                    <a:cubicBezTo>
                      <a:pt x="44" y="9"/>
                      <a:pt x="40" y="9"/>
                      <a:pt x="40" y="5"/>
                    </a:cubicBezTo>
                    <a:cubicBezTo>
                      <a:pt x="40" y="4"/>
                      <a:pt x="41" y="2"/>
                      <a:pt x="40" y="2"/>
                    </a:cubicBezTo>
                    <a:cubicBezTo>
                      <a:pt x="39" y="1"/>
                      <a:pt x="38" y="2"/>
                      <a:pt x="36" y="1"/>
                    </a:cubicBezTo>
                    <a:cubicBezTo>
                      <a:pt x="36" y="1"/>
                      <a:pt x="35" y="0"/>
                      <a:pt x="34" y="0"/>
                    </a:cubicBezTo>
                    <a:cubicBezTo>
                      <a:pt x="33" y="0"/>
                      <a:pt x="32" y="1"/>
                      <a:pt x="31" y="1"/>
                    </a:cubicBezTo>
                    <a:cubicBezTo>
                      <a:pt x="30" y="0"/>
                      <a:pt x="29" y="3"/>
                      <a:pt x="28" y="3"/>
                    </a:cubicBezTo>
                    <a:cubicBezTo>
                      <a:pt x="27" y="3"/>
                      <a:pt x="24" y="4"/>
                      <a:pt x="25" y="6"/>
                    </a:cubicBezTo>
                    <a:cubicBezTo>
                      <a:pt x="26" y="9"/>
                      <a:pt x="25" y="8"/>
                      <a:pt x="22" y="8"/>
                    </a:cubicBezTo>
                    <a:cubicBezTo>
                      <a:pt x="21" y="8"/>
                      <a:pt x="18" y="8"/>
                      <a:pt x="17" y="8"/>
                    </a:cubicBezTo>
                    <a:cubicBezTo>
                      <a:pt x="15" y="6"/>
                      <a:pt x="14" y="4"/>
                      <a:pt x="12" y="2"/>
                    </a:cubicBezTo>
                    <a:cubicBezTo>
                      <a:pt x="9" y="0"/>
                      <a:pt x="5" y="3"/>
                      <a:pt x="2" y="5"/>
                    </a:cubicBezTo>
                    <a:cubicBezTo>
                      <a:pt x="3" y="6"/>
                      <a:pt x="6" y="10"/>
                      <a:pt x="5" y="12"/>
                    </a:cubicBezTo>
                    <a:cubicBezTo>
                      <a:pt x="0" y="15"/>
                      <a:pt x="6" y="15"/>
                      <a:pt x="8" y="17"/>
                    </a:cubicBezTo>
                    <a:cubicBezTo>
                      <a:pt x="8" y="17"/>
                      <a:pt x="8" y="19"/>
                      <a:pt x="8" y="19"/>
                    </a:cubicBezTo>
                    <a:cubicBezTo>
                      <a:pt x="7" y="20"/>
                      <a:pt x="9" y="22"/>
                      <a:pt x="10" y="22"/>
                    </a:cubicBezTo>
                    <a:cubicBezTo>
                      <a:pt x="10" y="23"/>
                      <a:pt x="9" y="24"/>
                      <a:pt x="9" y="26"/>
                    </a:cubicBezTo>
                    <a:cubicBezTo>
                      <a:pt x="9" y="27"/>
                      <a:pt x="9" y="29"/>
                      <a:pt x="9" y="31"/>
                    </a:cubicBezTo>
                    <a:cubicBezTo>
                      <a:pt x="11" y="31"/>
                      <a:pt x="12" y="31"/>
                      <a:pt x="14" y="29"/>
                    </a:cubicBezTo>
                    <a:cubicBezTo>
                      <a:pt x="15" y="28"/>
                      <a:pt x="16" y="27"/>
                      <a:pt x="17" y="26"/>
                    </a:cubicBezTo>
                    <a:cubicBezTo>
                      <a:pt x="21" y="26"/>
                      <a:pt x="24" y="25"/>
                      <a:pt x="27" y="27"/>
                    </a:cubicBezTo>
                    <a:cubicBezTo>
                      <a:pt x="29" y="30"/>
                      <a:pt x="35" y="28"/>
                      <a:pt x="37" y="31"/>
                    </a:cubicBezTo>
                    <a:cubicBezTo>
                      <a:pt x="39" y="34"/>
                      <a:pt x="41" y="35"/>
                      <a:pt x="45" y="35"/>
                    </a:cubicBezTo>
                    <a:cubicBezTo>
                      <a:pt x="46" y="35"/>
                      <a:pt x="46" y="35"/>
                      <a:pt x="46" y="37"/>
                    </a:cubicBezTo>
                    <a:cubicBezTo>
                      <a:pt x="46" y="40"/>
                      <a:pt x="46" y="40"/>
                      <a:pt x="48" y="42"/>
                    </a:cubicBezTo>
                    <a:cubicBezTo>
                      <a:pt x="50" y="42"/>
                      <a:pt x="51" y="43"/>
                      <a:pt x="53" y="43"/>
                    </a:cubicBezTo>
                    <a:cubicBezTo>
                      <a:pt x="56" y="43"/>
                      <a:pt x="56" y="42"/>
                      <a:pt x="57" y="40"/>
                    </a:cubicBezTo>
                    <a:cubicBezTo>
                      <a:pt x="58" y="38"/>
                      <a:pt x="60" y="39"/>
                      <a:pt x="62" y="38"/>
                    </a:cubicBezTo>
                    <a:cubicBezTo>
                      <a:pt x="64" y="37"/>
                      <a:pt x="64" y="35"/>
                      <a:pt x="65" y="33"/>
                    </a:cubicBezTo>
                    <a:cubicBezTo>
                      <a:pt x="65" y="31"/>
                      <a:pt x="68" y="33"/>
                      <a:pt x="69" y="31"/>
                    </a:cubicBezTo>
                    <a:cubicBezTo>
                      <a:pt x="69" y="29"/>
                      <a:pt x="72" y="31"/>
                      <a:pt x="73" y="31"/>
                    </a:cubicBezTo>
                    <a:cubicBezTo>
                      <a:pt x="73" y="30"/>
                      <a:pt x="73" y="29"/>
                      <a:pt x="73" y="2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4" name="Freeform 696">
                <a:extLst>
                  <a:ext uri="{FF2B5EF4-FFF2-40B4-BE49-F238E27FC236}">
                    <a16:creationId xmlns:a16="http://schemas.microsoft.com/office/drawing/2014/main" id="{6495CB32-B3BF-4A12-9F87-B9B844663F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9353" y="3506717"/>
                <a:ext cx="186353" cy="125829"/>
              </a:xfrm>
              <a:custGeom>
                <a:avLst/>
                <a:gdLst>
                  <a:gd name="T0" fmla="*/ 30 w 40"/>
                  <a:gd name="T1" fmla="*/ 10 h 27"/>
                  <a:gd name="T2" fmla="*/ 25 w 40"/>
                  <a:gd name="T3" fmla="*/ 10 h 27"/>
                  <a:gd name="T4" fmla="*/ 21 w 40"/>
                  <a:gd name="T5" fmla="*/ 8 h 27"/>
                  <a:gd name="T6" fmla="*/ 19 w 40"/>
                  <a:gd name="T7" fmla="*/ 9 h 27"/>
                  <a:gd name="T8" fmla="*/ 17 w 40"/>
                  <a:gd name="T9" fmla="*/ 9 h 27"/>
                  <a:gd name="T10" fmla="*/ 10 w 40"/>
                  <a:gd name="T11" fmla="*/ 8 h 27"/>
                  <a:gd name="T12" fmla="*/ 12 w 40"/>
                  <a:gd name="T13" fmla="*/ 5 h 27"/>
                  <a:gd name="T14" fmla="*/ 16 w 40"/>
                  <a:gd name="T15" fmla="*/ 7 h 27"/>
                  <a:gd name="T16" fmla="*/ 19 w 40"/>
                  <a:gd name="T17" fmla="*/ 5 h 27"/>
                  <a:gd name="T18" fmla="*/ 16 w 40"/>
                  <a:gd name="T19" fmla="*/ 6 h 27"/>
                  <a:gd name="T20" fmla="*/ 16 w 40"/>
                  <a:gd name="T21" fmla="*/ 1 h 27"/>
                  <a:gd name="T22" fmla="*/ 14 w 40"/>
                  <a:gd name="T23" fmla="*/ 2 h 27"/>
                  <a:gd name="T24" fmla="*/ 10 w 40"/>
                  <a:gd name="T25" fmla="*/ 2 h 27"/>
                  <a:gd name="T26" fmla="*/ 8 w 40"/>
                  <a:gd name="T27" fmla="*/ 5 h 27"/>
                  <a:gd name="T28" fmla="*/ 6 w 40"/>
                  <a:gd name="T29" fmla="*/ 8 h 27"/>
                  <a:gd name="T30" fmla="*/ 1 w 40"/>
                  <a:gd name="T31" fmla="*/ 10 h 27"/>
                  <a:gd name="T32" fmla="*/ 4 w 40"/>
                  <a:gd name="T33" fmla="*/ 14 h 27"/>
                  <a:gd name="T34" fmla="*/ 4 w 40"/>
                  <a:gd name="T35" fmla="*/ 19 h 27"/>
                  <a:gd name="T36" fmla="*/ 4 w 40"/>
                  <a:gd name="T37" fmla="*/ 24 h 27"/>
                  <a:gd name="T38" fmla="*/ 9 w 40"/>
                  <a:gd name="T39" fmla="*/ 22 h 27"/>
                  <a:gd name="T40" fmla="*/ 12 w 40"/>
                  <a:gd name="T41" fmla="*/ 20 h 27"/>
                  <a:gd name="T42" fmla="*/ 17 w 40"/>
                  <a:gd name="T43" fmla="*/ 17 h 27"/>
                  <a:gd name="T44" fmla="*/ 20 w 40"/>
                  <a:gd name="T45" fmla="*/ 17 h 27"/>
                  <a:gd name="T46" fmla="*/ 22 w 40"/>
                  <a:gd name="T47" fmla="*/ 21 h 27"/>
                  <a:gd name="T48" fmla="*/ 21 w 40"/>
                  <a:gd name="T49" fmla="*/ 24 h 27"/>
                  <a:gd name="T50" fmla="*/ 27 w 40"/>
                  <a:gd name="T51" fmla="*/ 23 h 27"/>
                  <a:gd name="T52" fmla="*/ 32 w 40"/>
                  <a:gd name="T53" fmla="*/ 21 h 27"/>
                  <a:gd name="T54" fmla="*/ 39 w 40"/>
                  <a:gd name="T55" fmla="*/ 21 h 27"/>
                  <a:gd name="T56" fmla="*/ 38 w 40"/>
                  <a:gd name="T57" fmla="*/ 18 h 27"/>
                  <a:gd name="T58" fmla="*/ 36 w 40"/>
                  <a:gd name="T59" fmla="*/ 14 h 27"/>
                  <a:gd name="T60" fmla="*/ 32 w 40"/>
                  <a:gd name="T61" fmla="*/ 9 h 27"/>
                  <a:gd name="T62" fmla="*/ 30 w 40"/>
                  <a:gd name="T63" fmla="*/ 10 h 27"/>
                  <a:gd name="T64" fmla="*/ 30 w 40"/>
                  <a:gd name="T65" fmla="*/ 1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" h="27">
                    <a:moveTo>
                      <a:pt x="30" y="10"/>
                    </a:moveTo>
                    <a:cubicBezTo>
                      <a:pt x="28" y="11"/>
                      <a:pt x="27" y="10"/>
                      <a:pt x="25" y="10"/>
                    </a:cubicBezTo>
                    <a:cubicBezTo>
                      <a:pt x="23" y="10"/>
                      <a:pt x="22" y="8"/>
                      <a:pt x="21" y="8"/>
                    </a:cubicBezTo>
                    <a:cubicBezTo>
                      <a:pt x="20" y="8"/>
                      <a:pt x="20" y="9"/>
                      <a:pt x="19" y="9"/>
                    </a:cubicBezTo>
                    <a:cubicBezTo>
                      <a:pt x="19" y="10"/>
                      <a:pt x="18" y="9"/>
                      <a:pt x="17" y="9"/>
                    </a:cubicBezTo>
                    <a:cubicBezTo>
                      <a:pt x="15" y="9"/>
                      <a:pt x="12" y="9"/>
                      <a:pt x="10" y="8"/>
                    </a:cubicBezTo>
                    <a:cubicBezTo>
                      <a:pt x="9" y="7"/>
                      <a:pt x="12" y="5"/>
                      <a:pt x="12" y="5"/>
                    </a:cubicBezTo>
                    <a:cubicBezTo>
                      <a:pt x="14" y="4"/>
                      <a:pt x="15" y="7"/>
                      <a:pt x="16" y="7"/>
                    </a:cubicBezTo>
                    <a:cubicBezTo>
                      <a:pt x="18" y="7"/>
                      <a:pt x="19" y="6"/>
                      <a:pt x="19" y="5"/>
                    </a:cubicBezTo>
                    <a:cubicBezTo>
                      <a:pt x="18" y="4"/>
                      <a:pt x="17" y="6"/>
                      <a:pt x="16" y="6"/>
                    </a:cubicBezTo>
                    <a:cubicBezTo>
                      <a:pt x="15" y="5"/>
                      <a:pt x="17" y="2"/>
                      <a:pt x="16" y="1"/>
                    </a:cubicBezTo>
                    <a:cubicBezTo>
                      <a:pt x="16" y="0"/>
                      <a:pt x="14" y="2"/>
                      <a:pt x="14" y="2"/>
                    </a:cubicBezTo>
                    <a:cubicBezTo>
                      <a:pt x="12" y="3"/>
                      <a:pt x="11" y="1"/>
                      <a:pt x="10" y="2"/>
                    </a:cubicBezTo>
                    <a:cubicBezTo>
                      <a:pt x="8" y="2"/>
                      <a:pt x="12" y="5"/>
                      <a:pt x="8" y="5"/>
                    </a:cubicBezTo>
                    <a:cubicBezTo>
                      <a:pt x="6" y="4"/>
                      <a:pt x="9" y="8"/>
                      <a:pt x="6" y="8"/>
                    </a:cubicBezTo>
                    <a:cubicBezTo>
                      <a:pt x="5" y="9"/>
                      <a:pt x="0" y="8"/>
                      <a:pt x="1" y="10"/>
                    </a:cubicBezTo>
                    <a:cubicBezTo>
                      <a:pt x="2" y="13"/>
                      <a:pt x="5" y="11"/>
                      <a:pt x="4" y="14"/>
                    </a:cubicBezTo>
                    <a:cubicBezTo>
                      <a:pt x="4" y="17"/>
                      <a:pt x="7" y="17"/>
                      <a:pt x="4" y="19"/>
                    </a:cubicBezTo>
                    <a:cubicBezTo>
                      <a:pt x="3" y="20"/>
                      <a:pt x="1" y="24"/>
                      <a:pt x="4" y="24"/>
                    </a:cubicBezTo>
                    <a:cubicBezTo>
                      <a:pt x="6" y="24"/>
                      <a:pt x="8" y="21"/>
                      <a:pt x="9" y="22"/>
                    </a:cubicBezTo>
                    <a:cubicBezTo>
                      <a:pt x="12" y="25"/>
                      <a:pt x="9" y="20"/>
                      <a:pt x="12" y="20"/>
                    </a:cubicBezTo>
                    <a:cubicBezTo>
                      <a:pt x="14" y="20"/>
                      <a:pt x="15" y="19"/>
                      <a:pt x="17" y="17"/>
                    </a:cubicBezTo>
                    <a:cubicBezTo>
                      <a:pt x="18" y="14"/>
                      <a:pt x="19" y="15"/>
                      <a:pt x="20" y="17"/>
                    </a:cubicBezTo>
                    <a:cubicBezTo>
                      <a:pt x="21" y="18"/>
                      <a:pt x="22" y="19"/>
                      <a:pt x="22" y="21"/>
                    </a:cubicBezTo>
                    <a:cubicBezTo>
                      <a:pt x="22" y="22"/>
                      <a:pt x="21" y="23"/>
                      <a:pt x="21" y="24"/>
                    </a:cubicBezTo>
                    <a:cubicBezTo>
                      <a:pt x="22" y="27"/>
                      <a:pt x="26" y="24"/>
                      <a:pt x="27" y="23"/>
                    </a:cubicBezTo>
                    <a:cubicBezTo>
                      <a:pt x="28" y="22"/>
                      <a:pt x="31" y="20"/>
                      <a:pt x="32" y="21"/>
                    </a:cubicBezTo>
                    <a:cubicBezTo>
                      <a:pt x="34" y="23"/>
                      <a:pt x="36" y="20"/>
                      <a:pt x="39" y="21"/>
                    </a:cubicBezTo>
                    <a:cubicBezTo>
                      <a:pt x="40" y="20"/>
                      <a:pt x="38" y="18"/>
                      <a:pt x="38" y="18"/>
                    </a:cubicBezTo>
                    <a:cubicBezTo>
                      <a:pt x="37" y="16"/>
                      <a:pt x="38" y="14"/>
                      <a:pt x="36" y="14"/>
                    </a:cubicBezTo>
                    <a:cubicBezTo>
                      <a:pt x="33" y="15"/>
                      <a:pt x="31" y="12"/>
                      <a:pt x="32" y="9"/>
                    </a:cubicBezTo>
                    <a:cubicBezTo>
                      <a:pt x="32" y="9"/>
                      <a:pt x="31" y="9"/>
                      <a:pt x="30" y="10"/>
                    </a:cubicBezTo>
                    <a:cubicBezTo>
                      <a:pt x="29" y="10"/>
                      <a:pt x="31" y="9"/>
                      <a:pt x="30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5" name="Freeform 697">
                <a:extLst>
                  <a:ext uri="{FF2B5EF4-FFF2-40B4-BE49-F238E27FC236}">
                    <a16:creationId xmlns:a16="http://schemas.microsoft.com/office/drawing/2014/main" id="{AB9ED72B-C45F-478C-AC20-DEFB3AA4C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9634" y="3615024"/>
                <a:ext cx="387045" cy="345631"/>
              </a:xfrm>
              <a:custGeom>
                <a:avLst/>
                <a:gdLst>
                  <a:gd name="T0" fmla="*/ 8 w 83"/>
                  <a:gd name="T1" fmla="*/ 51 h 74"/>
                  <a:gd name="T2" fmla="*/ 9 w 83"/>
                  <a:gd name="T3" fmla="*/ 54 h 74"/>
                  <a:gd name="T4" fmla="*/ 11 w 83"/>
                  <a:gd name="T5" fmla="*/ 57 h 74"/>
                  <a:gd name="T6" fmla="*/ 5 w 83"/>
                  <a:gd name="T7" fmla="*/ 61 h 74"/>
                  <a:gd name="T8" fmla="*/ 3 w 83"/>
                  <a:gd name="T9" fmla="*/ 64 h 74"/>
                  <a:gd name="T10" fmla="*/ 6 w 83"/>
                  <a:gd name="T11" fmla="*/ 66 h 74"/>
                  <a:gd name="T12" fmla="*/ 13 w 83"/>
                  <a:gd name="T13" fmla="*/ 64 h 74"/>
                  <a:gd name="T14" fmla="*/ 19 w 83"/>
                  <a:gd name="T15" fmla="*/ 65 h 74"/>
                  <a:gd name="T16" fmla="*/ 23 w 83"/>
                  <a:gd name="T17" fmla="*/ 65 h 74"/>
                  <a:gd name="T18" fmla="*/ 28 w 83"/>
                  <a:gd name="T19" fmla="*/ 64 h 74"/>
                  <a:gd name="T20" fmla="*/ 29 w 83"/>
                  <a:gd name="T21" fmla="*/ 67 h 74"/>
                  <a:gd name="T22" fmla="*/ 32 w 83"/>
                  <a:gd name="T23" fmla="*/ 69 h 74"/>
                  <a:gd name="T24" fmla="*/ 33 w 83"/>
                  <a:gd name="T25" fmla="*/ 73 h 74"/>
                  <a:gd name="T26" fmla="*/ 34 w 83"/>
                  <a:gd name="T27" fmla="*/ 71 h 74"/>
                  <a:gd name="T28" fmla="*/ 36 w 83"/>
                  <a:gd name="T29" fmla="*/ 73 h 74"/>
                  <a:gd name="T30" fmla="*/ 43 w 83"/>
                  <a:gd name="T31" fmla="*/ 71 h 74"/>
                  <a:gd name="T32" fmla="*/ 46 w 83"/>
                  <a:gd name="T33" fmla="*/ 70 h 74"/>
                  <a:gd name="T34" fmla="*/ 50 w 83"/>
                  <a:gd name="T35" fmla="*/ 70 h 74"/>
                  <a:gd name="T36" fmla="*/ 48 w 83"/>
                  <a:gd name="T37" fmla="*/ 64 h 74"/>
                  <a:gd name="T38" fmla="*/ 46 w 83"/>
                  <a:gd name="T39" fmla="*/ 61 h 74"/>
                  <a:gd name="T40" fmla="*/ 44 w 83"/>
                  <a:gd name="T41" fmla="*/ 57 h 74"/>
                  <a:gd name="T42" fmla="*/ 46 w 83"/>
                  <a:gd name="T43" fmla="*/ 52 h 74"/>
                  <a:gd name="T44" fmla="*/ 49 w 83"/>
                  <a:gd name="T45" fmla="*/ 52 h 74"/>
                  <a:gd name="T46" fmla="*/ 52 w 83"/>
                  <a:gd name="T47" fmla="*/ 52 h 74"/>
                  <a:gd name="T48" fmla="*/ 57 w 83"/>
                  <a:gd name="T49" fmla="*/ 46 h 74"/>
                  <a:gd name="T50" fmla="*/ 60 w 83"/>
                  <a:gd name="T51" fmla="*/ 44 h 74"/>
                  <a:gd name="T52" fmla="*/ 62 w 83"/>
                  <a:gd name="T53" fmla="*/ 41 h 74"/>
                  <a:gd name="T54" fmla="*/ 65 w 83"/>
                  <a:gd name="T55" fmla="*/ 39 h 74"/>
                  <a:gd name="T56" fmla="*/ 66 w 83"/>
                  <a:gd name="T57" fmla="*/ 37 h 74"/>
                  <a:gd name="T58" fmla="*/ 69 w 83"/>
                  <a:gd name="T59" fmla="*/ 33 h 74"/>
                  <a:gd name="T60" fmla="*/ 71 w 83"/>
                  <a:gd name="T61" fmla="*/ 27 h 74"/>
                  <a:gd name="T62" fmla="*/ 66 w 83"/>
                  <a:gd name="T63" fmla="*/ 23 h 74"/>
                  <a:gd name="T64" fmla="*/ 65 w 83"/>
                  <a:gd name="T65" fmla="*/ 16 h 74"/>
                  <a:gd name="T66" fmla="*/ 70 w 83"/>
                  <a:gd name="T67" fmla="*/ 14 h 74"/>
                  <a:gd name="T68" fmla="*/ 74 w 83"/>
                  <a:gd name="T69" fmla="*/ 15 h 74"/>
                  <a:gd name="T70" fmla="*/ 77 w 83"/>
                  <a:gd name="T71" fmla="*/ 13 h 74"/>
                  <a:gd name="T72" fmla="*/ 83 w 83"/>
                  <a:gd name="T73" fmla="*/ 10 h 74"/>
                  <a:gd name="T74" fmla="*/ 76 w 83"/>
                  <a:gd name="T75" fmla="*/ 6 h 74"/>
                  <a:gd name="T76" fmla="*/ 74 w 83"/>
                  <a:gd name="T77" fmla="*/ 2 h 74"/>
                  <a:gd name="T78" fmla="*/ 71 w 83"/>
                  <a:gd name="T79" fmla="*/ 0 h 74"/>
                  <a:gd name="T80" fmla="*/ 65 w 83"/>
                  <a:gd name="T81" fmla="*/ 1 h 74"/>
                  <a:gd name="T82" fmla="*/ 56 w 83"/>
                  <a:gd name="T83" fmla="*/ 4 h 74"/>
                  <a:gd name="T84" fmla="*/ 53 w 83"/>
                  <a:gd name="T85" fmla="*/ 8 h 74"/>
                  <a:gd name="T86" fmla="*/ 51 w 83"/>
                  <a:gd name="T87" fmla="*/ 13 h 74"/>
                  <a:gd name="T88" fmla="*/ 48 w 83"/>
                  <a:gd name="T89" fmla="*/ 18 h 74"/>
                  <a:gd name="T90" fmla="*/ 47 w 83"/>
                  <a:gd name="T91" fmla="*/ 21 h 74"/>
                  <a:gd name="T92" fmla="*/ 43 w 83"/>
                  <a:gd name="T93" fmla="*/ 24 h 74"/>
                  <a:gd name="T94" fmla="*/ 41 w 83"/>
                  <a:gd name="T95" fmla="*/ 30 h 74"/>
                  <a:gd name="T96" fmla="*/ 38 w 83"/>
                  <a:gd name="T97" fmla="*/ 30 h 74"/>
                  <a:gd name="T98" fmla="*/ 34 w 83"/>
                  <a:gd name="T99" fmla="*/ 32 h 74"/>
                  <a:gd name="T100" fmla="*/ 30 w 83"/>
                  <a:gd name="T101" fmla="*/ 33 h 74"/>
                  <a:gd name="T102" fmla="*/ 27 w 83"/>
                  <a:gd name="T103" fmla="*/ 37 h 74"/>
                  <a:gd name="T104" fmla="*/ 22 w 83"/>
                  <a:gd name="T105" fmla="*/ 42 h 74"/>
                  <a:gd name="T106" fmla="*/ 13 w 83"/>
                  <a:gd name="T107" fmla="*/ 43 h 74"/>
                  <a:gd name="T108" fmla="*/ 0 w 83"/>
                  <a:gd name="T109" fmla="*/ 40 h 74"/>
                  <a:gd name="T110" fmla="*/ 3 w 83"/>
                  <a:gd name="T111" fmla="*/ 46 h 74"/>
                  <a:gd name="T112" fmla="*/ 8 w 83"/>
                  <a:gd name="T113" fmla="*/ 5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3" h="74">
                    <a:moveTo>
                      <a:pt x="8" y="51"/>
                    </a:moveTo>
                    <a:cubicBezTo>
                      <a:pt x="8" y="52"/>
                      <a:pt x="8" y="53"/>
                      <a:pt x="9" y="54"/>
                    </a:cubicBezTo>
                    <a:cubicBezTo>
                      <a:pt x="10" y="55"/>
                      <a:pt x="11" y="56"/>
                      <a:pt x="11" y="57"/>
                    </a:cubicBezTo>
                    <a:cubicBezTo>
                      <a:pt x="11" y="58"/>
                      <a:pt x="6" y="60"/>
                      <a:pt x="5" y="61"/>
                    </a:cubicBezTo>
                    <a:cubicBezTo>
                      <a:pt x="4" y="61"/>
                      <a:pt x="3" y="62"/>
                      <a:pt x="3" y="64"/>
                    </a:cubicBezTo>
                    <a:cubicBezTo>
                      <a:pt x="3" y="66"/>
                      <a:pt x="3" y="66"/>
                      <a:pt x="6" y="66"/>
                    </a:cubicBezTo>
                    <a:cubicBezTo>
                      <a:pt x="8" y="65"/>
                      <a:pt x="11" y="65"/>
                      <a:pt x="13" y="64"/>
                    </a:cubicBezTo>
                    <a:cubicBezTo>
                      <a:pt x="15" y="64"/>
                      <a:pt x="17" y="64"/>
                      <a:pt x="19" y="65"/>
                    </a:cubicBezTo>
                    <a:cubicBezTo>
                      <a:pt x="20" y="65"/>
                      <a:pt x="22" y="65"/>
                      <a:pt x="23" y="65"/>
                    </a:cubicBezTo>
                    <a:cubicBezTo>
                      <a:pt x="25" y="65"/>
                      <a:pt x="26" y="64"/>
                      <a:pt x="28" y="64"/>
                    </a:cubicBezTo>
                    <a:cubicBezTo>
                      <a:pt x="29" y="64"/>
                      <a:pt x="29" y="66"/>
                      <a:pt x="29" y="67"/>
                    </a:cubicBezTo>
                    <a:cubicBezTo>
                      <a:pt x="30" y="68"/>
                      <a:pt x="31" y="68"/>
                      <a:pt x="32" y="69"/>
                    </a:cubicBezTo>
                    <a:cubicBezTo>
                      <a:pt x="32" y="70"/>
                      <a:pt x="33" y="72"/>
                      <a:pt x="33" y="73"/>
                    </a:cubicBezTo>
                    <a:cubicBezTo>
                      <a:pt x="35" y="74"/>
                      <a:pt x="34" y="72"/>
                      <a:pt x="34" y="71"/>
                    </a:cubicBezTo>
                    <a:cubicBezTo>
                      <a:pt x="35" y="71"/>
                      <a:pt x="36" y="73"/>
                      <a:pt x="36" y="73"/>
                    </a:cubicBezTo>
                    <a:cubicBezTo>
                      <a:pt x="38" y="72"/>
                      <a:pt x="40" y="70"/>
                      <a:pt x="43" y="71"/>
                    </a:cubicBezTo>
                    <a:cubicBezTo>
                      <a:pt x="44" y="71"/>
                      <a:pt x="45" y="71"/>
                      <a:pt x="46" y="70"/>
                    </a:cubicBezTo>
                    <a:cubicBezTo>
                      <a:pt x="47" y="70"/>
                      <a:pt x="49" y="70"/>
                      <a:pt x="50" y="70"/>
                    </a:cubicBezTo>
                    <a:cubicBezTo>
                      <a:pt x="51" y="69"/>
                      <a:pt x="49" y="64"/>
                      <a:pt x="48" y="64"/>
                    </a:cubicBezTo>
                    <a:cubicBezTo>
                      <a:pt x="47" y="63"/>
                      <a:pt x="46" y="63"/>
                      <a:pt x="46" y="61"/>
                    </a:cubicBezTo>
                    <a:cubicBezTo>
                      <a:pt x="46" y="59"/>
                      <a:pt x="45" y="58"/>
                      <a:pt x="44" y="57"/>
                    </a:cubicBezTo>
                    <a:cubicBezTo>
                      <a:pt x="41" y="56"/>
                      <a:pt x="45" y="54"/>
                      <a:pt x="46" y="52"/>
                    </a:cubicBezTo>
                    <a:cubicBezTo>
                      <a:pt x="47" y="52"/>
                      <a:pt x="47" y="51"/>
                      <a:pt x="49" y="52"/>
                    </a:cubicBezTo>
                    <a:cubicBezTo>
                      <a:pt x="51" y="54"/>
                      <a:pt x="50" y="52"/>
                      <a:pt x="52" y="52"/>
                    </a:cubicBezTo>
                    <a:cubicBezTo>
                      <a:pt x="56" y="51"/>
                      <a:pt x="55" y="48"/>
                      <a:pt x="57" y="46"/>
                    </a:cubicBezTo>
                    <a:cubicBezTo>
                      <a:pt x="58" y="45"/>
                      <a:pt x="60" y="45"/>
                      <a:pt x="60" y="44"/>
                    </a:cubicBezTo>
                    <a:cubicBezTo>
                      <a:pt x="61" y="43"/>
                      <a:pt x="62" y="42"/>
                      <a:pt x="62" y="41"/>
                    </a:cubicBezTo>
                    <a:cubicBezTo>
                      <a:pt x="62" y="40"/>
                      <a:pt x="64" y="39"/>
                      <a:pt x="65" y="39"/>
                    </a:cubicBezTo>
                    <a:cubicBezTo>
                      <a:pt x="66" y="39"/>
                      <a:pt x="66" y="37"/>
                      <a:pt x="66" y="37"/>
                    </a:cubicBezTo>
                    <a:cubicBezTo>
                      <a:pt x="66" y="34"/>
                      <a:pt x="70" y="36"/>
                      <a:pt x="69" y="33"/>
                    </a:cubicBezTo>
                    <a:cubicBezTo>
                      <a:pt x="69" y="30"/>
                      <a:pt x="68" y="29"/>
                      <a:pt x="71" y="27"/>
                    </a:cubicBezTo>
                    <a:cubicBezTo>
                      <a:pt x="72" y="27"/>
                      <a:pt x="67" y="24"/>
                      <a:pt x="66" y="23"/>
                    </a:cubicBezTo>
                    <a:cubicBezTo>
                      <a:pt x="65" y="21"/>
                      <a:pt x="66" y="18"/>
                      <a:pt x="65" y="16"/>
                    </a:cubicBezTo>
                    <a:cubicBezTo>
                      <a:pt x="65" y="13"/>
                      <a:pt x="68" y="13"/>
                      <a:pt x="70" y="14"/>
                    </a:cubicBezTo>
                    <a:cubicBezTo>
                      <a:pt x="71" y="14"/>
                      <a:pt x="73" y="15"/>
                      <a:pt x="74" y="15"/>
                    </a:cubicBezTo>
                    <a:cubicBezTo>
                      <a:pt x="76" y="15"/>
                      <a:pt x="76" y="14"/>
                      <a:pt x="77" y="13"/>
                    </a:cubicBezTo>
                    <a:cubicBezTo>
                      <a:pt x="80" y="13"/>
                      <a:pt x="81" y="13"/>
                      <a:pt x="83" y="10"/>
                    </a:cubicBezTo>
                    <a:cubicBezTo>
                      <a:pt x="80" y="9"/>
                      <a:pt x="77" y="8"/>
                      <a:pt x="76" y="6"/>
                    </a:cubicBezTo>
                    <a:cubicBezTo>
                      <a:pt x="75" y="5"/>
                      <a:pt x="75" y="3"/>
                      <a:pt x="74" y="2"/>
                    </a:cubicBezTo>
                    <a:cubicBezTo>
                      <a:pt x="73" y="1"/>
                      <a:pt x="72" y="1"/>
                      <a:pt x="71" y="0"/>
                    </a:cubicBezTo>
                    <a:cubicBezTo>
                      <a:pt x="69" y="0"/>
                      <a:pt x="66" y="1"/>
                      <a:pt x="65" y="1"/>
                    </a:cubicBezTo>
                    <a:cubicBezTo>
                      <a:pt x="61" y="0"/>
                      <a:pt x="59" y="2"/>
                      <a:pt x="56" y="4"/>
                    </a:cubicBezTo>
                    <a:cubicBezTo>
                      <a:pt x="53" y="5"/>
                      <a:pt x="51" y="5"/>
                      <a:pt x="53" y="8"/>
                    </a:cubicBezTo>
                    <a:cubicBezTo>
                      <a:pt x="55" y="10"/>
                      <a:pt x="53" y="12"/>
                      <a:pt x="51" y="13"/>
                    </a:cubicBezTo>
                    <a:cubicBezTo>
                      <a:pt x="49" y="15"/>
                      <a:pt x="52" y="19"/>
                      <a:pt x="48" y="18"/>
                    </a:cubicBezTo>
                    <a:cubicBezTo>
                      <a:pt x="43" y="18"/>
                      <a:pt x="47" y="19"/>
                      <a:pt x="47" y="21"/>
                    </a:cubicBezTo>
                    <a:cubicBezTo>
                      <a:pt x="48" y="22"/>
                      <a:pt x="44" y="23"/>
                      <a:pt x="43" y="24"/>
                    </a:cubicBezTo>
                    <a:cubicBezTo>
                      <a:pt x="42" y="26"/>
                      <a:pt x="42" y="30"/>
                      <a:pt x="41" y="30"/>
                    </a:cubicBezTo>
                    <a:cubicBezTo>
                      <a:pt x="40" y="31"/>
                      <a:pt x="39" y="30"/>
                      <a:pt x="38" y="30"/>
                    </a:cubicBezTo>
                    <a:cubicBezTo>
                      <a:pt x="36" y="30"/>
                      <a:pt x="35" y="31"/>
                      <a:pt x="34" y="32"/>
                    </a:cubicBezTo>
                    <a:cubicBezTo>
                      <a:pt x="32" y="33"/>
                      <a:pt x="31" y="32"/>
                      <a:pt x="30" y="33"/>
                    </a:cubicBezTo>
                    <a:cubicBezTo>
                      <a:pt x="28" y="34"/>
                      <a:pt x="28" y="35"/>
                      <a:pt x="27" y="37"/>
                    </a:cubicBezTo>
                    <a:cubicBezTo>
                      <a:pt x="27" y="40"/>
                      <a:pt x="25" y="41"/>
                      <a:pt x="22" y="42"/>
                    </a:cubicBezTo>
                    <a:cubicBezTo>
                      <a:pt x="19" y="43"/>
                      <a:pt x="16" y="43"/>
                      <a:pt x="13" y="43"/>
                    </a:cubicBezTo>
                    <a:cubicBezTo>
                      <a:pt x="8" y="43"/>
                      <a:pt x="4" y="42"/>
                      <a:pt x="0" y="40"/>
                    </a:cubicBezTo>
                    <a:cubicBezTo>
                      <a:pt x="1" y="42"/>
                      <a:pt x="2" y="44"/>
                      <a:pt x="3" y="46"/>
                    </a:cubicBezTo>
                    <a:cubicBezTo>
                      <a:pt x="4" y="47"/>
                      <a:pt x="8" y="48"/>
                      <a:pt x="8" y="5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6" name="Freeform 698">
                <a:extLst>
                  <a:ext uri="{FF2B5EF4-FFF2-40B4-BE49-F238E27FC236}">
                    <a16:creationId xmlns:a16="http://schemas.microsoft.com/office/drawing/2014/main" id="{FC30045D-7E16-4E96-9111-2E264CE4D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0521" y="3572020"/>
                <a:ext cx="350410" cy="248472"/>
              </a:xfrm>
              <a:custGeom>
                <a:avLst/>
                <a:gdLst>
                  <a:gd name="T0" fmla="*/ 72 w 75"/>
                  <a:gd name="T1" fmla="*/ 7 h 53"/>
                  <a:gd name="T2" fmla="*/ 69 w 75"/>
                  <a:gd name="T3" fmla="*/ 8 h 53"/>
                  <a:gd name="T4" fmla="*/ 67 w 75"/>
                  <a:gd name="T5" fmla="*/ 7 h 53"/>
                  <a:gd name="T6" fmla="*/ 62 w 75"/>
                  <a:gd name="T7" fmla="*/ 10 h 53"/>
                  <a:gd name="T8" fmla="*/ 57 w 75"/>
                  <a:gd name="T9" fmla="*/ 11 h 53"/>
                  <a:gd name="T10" fmla="*/ 57 w 75"/>
                  <a:gd name="T11" fmla="*/ 4 h 53"/>
                  <a:gd name="T12" fmla="*/ 54 w 75"/>
                  <a:gd name="T13" fmla="*/ 1 h 53"/>
                  <a:gd name="T14" fmla="*/ 50 w 75"/>
                  <a:gd name="T15" fmla="*/ 6 h 53"/>
                  <a:gd name="T16" fmla="*/ 47 w 75"/>
                  <a:gd name="T17" fmla="*/ 8 h 53"/>
                  <a:gd name="T18" fmla="*/ 44 w 75"/>
                  <a:gd name="T19" fmla="*/ 8 h 53"/>
                  <a:gd name="T20" fmla="*/ 39 w 75"/>
                  <a:gd name="T21" fmla="*/ 10 h 53"/>
                  <a:gd name="T22" fmla="*/ 34 w 75"/>
                  <a:gd name="T23" fmla="*/ 7 h 53"/>
                  <a:gd name="T24" fmla="*/ 28 w 75"/>
                  <a:gd name="T25" fmla="*/ 6 h 53"/>
                  <a:gd name="T26" fmla="*/ 27 w 75"/>
                  <a:gd name="T27" fmla="*/ 8 h 53"/>
                  <a:gd name="T28" fmla="*/ 24 w 75"/>
                  <a:gd name="T29" fmla="*/ 9 h 53"/>
                  <a:gd name="T30" fmla="*/ 21 w 75"/>
                  <a:gd name="T31" fmla="*/ 14 h 53"/>
                  <a:gd name="T32" fmla="*/ 15 w 75"/>
                  <a:gd name="T33" fmla="*/ 17 h 53"/>
                  <a:gd name="T34" fmla="*/ 11 w 75"/>
                  <a:gd name="T35" fmla="*/ 19 h 53"/>
                  <a:gd name="T36" fmla="*/ 5 w 75"/>
                  <a:gd name="T37" fmla="*/ 16 h 53"/>
                  <a:gd name="T38" fmla="*/ 4 w 75"/>
                  <a:gd name="T39" fmla="*/ 23 h 53"/>
                  <a:gd name="T40" fmla="*/ 3 w 75"/>
                  <a:gd name="T41" fmla="*/ 29 h 53"/>
                  <a:gd name="T42" fmla="*/ 2 w 75"/>
                  <a:gd name="T43" fmla="*/ 33 h 53"/>
                  <a:gd name="T44" fmla="*/ 3 w 75"/>
                  <a:gd name="T45" fmla="*/ 37 h 53"/>
                  <a:gd name="T46" fmla="*/ 4 w 75"/>
                  <a:gd name="T47" fmla="*/ 40 h 53"/>
                  <a:gd name="T48" fmla="*/ 8 w 75"/>
                  <a:gd name="T49" fmla="*/ 43 h 53"/>
                  <a:gd name="T50" fmla="*/ 4 w 75"/>
                  <a:gd name="T51" fmla="*/ 49 h 53"/>
                  <a:gd name="T52" fmla="*/ 29 w 75"/>
                  <a:gd name="T53" fmla="*/ 50 h 53"/>
                  <a:gd name="T54" fmla="*/ 32 w 75"/>
                  <a:gd name="T55" fmla="*/ 43 h 53"/>
                  <a:gd name="T56" fmla="*/ 39 w 75"/>
                  <a:gd name="T57" fmla="*/ 40 h 53"/>
                  <a:gd name="T58" fmla="*/ 43 w 75"/>
                  <a:gd name="T59" fmla="*/ 39 h 53"/>
                  <a:gd name="T60" fmla="*/ 45 w 75"/>
                  <a:gd name="T61" fmla="*/ 39 h 53"/>
                  <a:gd name="T62" fmla="*/ 47 w 75"/>
                  <a:gd name="T63" fmla="*/ 33 h 53"/>
                  <a:gd name="T64" fmla="*/ 51 w 75"/>
                  <a:gd name="T65" fmla="*/ 30 h 53"/>
                  <a:gd name="T66" fmla="*/ 51 w 75"/>
                  <a:gd name="T67" fmla="*/ 27 h 53"/>
                  <a:gd name="T68" fmla="*/ 55 w 75"/>
                  <a:gd name="T69" fmla="*/ 26 h 53"/>
                  <a:gd name="T70" fmla="*/ 55 w 75"/>
                  <a:gd name="T71" fmla="*/ 23 h 53"/>
                  <a:gd name="T72" fmla="*/ 58 w 75"/>
                  <a:gd name="T73" fmla="*/ 19 h 53"/>
                  <a:gd name="T74" fmla="*/ 56 w 75"/>
                  <a:gd name="T75" fmla="*/ 14 h 53"/>
                  <a:gd name="T76" fmla="*/ 63 w 75"/>
                  <a:gd name="T77" fmla="*/ 11 h 53"/>
                  <a:gd name="T78" fmla="*/ 70 w 75"/>
                  <a:gd name="T79" fmla="*/ 10 h 53"/>
                  <a:gd name="T80" fmla="*/ 74 w 75"/>
                  <a:gd name="T81" fmla="*/ 9 h 53"/>
                  <a:gd name="T82" fmla="*/ 75 w 75"/>
                  <a:gd name="T83" fmla="*/ 7 h 53"/>
                  <a:gd name="T84" fmla="*/ 72 w 75"/>
                  <a:gd name="T85" fmla="*/ 7 h 53"/>
                  <a:gd name="T86" fmla="*/ 72 w 75"/>
                  <a:gd name="T87" fmla="*/ 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5" h="53">
                    <a:moveTo>
                      <a:pt x="72" y="7"/>
                    </a:moveTo>
                    <a:cubicBezTo>
                      <a:pt x="71" y="7"/>
                      <a:pt x="70" y="9"/>
                      <a:pt x="69" y="8"/>
                    </a:cubicBezTo>
                    <a:cubicBezTo>
                      <a:pt x="68" y="8"/>
                      <a:pt x="68" y="6"/>
                      <a:pt x="67" y="7"/>
                    </a:cubicBezTo>
                    <a:cubicBezTo>
                      <a:pt x="65" y="7"/>
                      <a:pt x="63" y="9"/>
                      <a:pt x="62" y="10"/>
                    </a:cubicBezTo>
                    <a:cubicBezTo>
                      <a:pt x="61" y="10"/>
                      <a:pt x="59" y="12"/>
                      <a:pt x="57" y="11"/>
                    </a:cubicBezTo>
                    <a:cubicBezTo>
                      <a:pt x="56" y="10"/>
                      <a:pt x="59" y="6"/>
                      <a:pt x="57" y="4"/>
                    </a:cubicBezTo>
                    <a:cubicBezTo>
                      <a:pt x="57" y="4"/>
                      <a:pt x="55" y="0"/>
                      <a:pt x="54" y="1"/>
                    </a:cubicBezTo>
                    <a:cubicBezTo>
                      <a:pt x="53" y="3"/>
                      <a:pt x="52" y="5"/>
                      <a:pt x="50" y="6"/>
                    </a:cubicBezTo>
                    <a:cubicBezTo>
                      <a:pt x="48" y="7"/>
                      <a:pt x="47" y="6"/>
                      <a:pt x="47" y="8"/>
                    </a:cubicBezTo>
                    <a:cubicBezTo>
                      <a:pt x="46" y="11"/>
                      <a:pt x="45" y="7"/>
                      <a:pt x="44" y="8"/>
                    </a:cubicBezTo>
                    <a:cubicBezTo>
                      <a:pt x="42" y="9"/>
                      <a:pt x="41" y="10"/>
                      <a:pt x="39" y="10"/>
                    </a:cubicBezTo>
                    <a:cubicBezTo>
                      <a:pt x="37" y="9"/>
                      <a:pt x="35" y="8"/>
                      <a:pt x="34" y="7"/>
                    </a:cubicBezTo>
                    <a:cubicBezTo>
                      <a:pt x="33" y="7"/>
                      <a:pt x="28" y="6"/>
                      <a:pt x="28" y="6"/>
                    </a:cubicBezTo>
                    <a:cubicBezTo>
                      <a:pt x="27" y="7"/>
                      <a:pt x="28" y="8"/>
                      <a:pt x="27" y="8"/>
                    </a:cubicBezTo>
                    <a:cubicBezTo>
                      <a:pt x="26" y="8"/>
                      <a:pt x="24" y="8"/>
                      <a:pt x="24" y="9"/>
                    </a:cubicBezTo>
                    <a:cubicBezTo>
                      <a:pt x="23" y="11"/>
                      <a:pt x="23" y="13"/>
                      <a:pt x="21" y="14"/>
                    </a:cubicBezTo>
                    <a:cubicBezTo>
                      <a:pt x="18" y="16"/>
                      <a:pt x="17" y="15"/>
                      <a:pt x="15" y="17"/>
                    </a:cubicBezTo>
                    <a:cubicBezTo>
                      <a:pt x="14" y="19"/>
                      <a:pt x="12" y="19"/>
                      <a:pt x="11" y="19"/>
                    </a:cubicBezTo>
                    <a:cubicBezTo>
                      <a:pt x="10" y="18"/>
                      <a:pt x="5" y="17"/>
                      <a:pt x="5" y="16"/>
                    </a:cubicBezTo>
                    <a:cubicBezTo>
                      <a:pt x="5" y="19"/>
                      <a:pt x="5" y="21"/>
                      <a:pt x="4" y="23"/>
                    </a:cubicBezTo>
                    <a:cubicBezTo>
                      <a:pt x="2" y="25"/>
                      <a:pt x="0" y="27"/>
                      <a:pt x="3" y="29"/>
                    </a:cubicBezTo>
                    <a:cubicBezTo>
                      <a:pt x="4" y="30"/>
                      <a:pt x="2" y="31"/>
                      <a:pt x="2" y="33"/>
                    </a:cubicBezTo>
                    <a:cubicBezTo>
                      <a:pt x="2" y="34"/>
                      <a:pt x="2" y="36"/>
                      <a:pt x="3" y="37"/>
                    </a:cubicBezTo>
                    <a:cubicBezTo>
                      <a:pt x="3" y="39"/>
                      <a:pt x="2" y="40"/>
                      <a:pt x="4" y="40"/>
                    </a:cubicBezTo>
                    <a:cubicBezTo>
                      <a:pt x="7" y="41"/>
                      <a:pt x="8" y="40"/>
                      <a:pt x="8" y="43"/>
                    </a:cubicBezTo>
                    <a:cubicBezTo>
                      <a:pt x="8" y="45"/>
                      <a:pt x="5" y="48"/>
                      <a:pt x="4" y="49"/>
                    </a:cubicBezTo>
                    <a:cubicBezTo>
                      <a:pt x="12" y="53"/>
                      <a:pt x="21" y="52"/>
                      <a:pt x="29" y="50"/>
                    </a:cubicBezTo>
                    <a:cubicBezTo>
                      <a:pt x="32" y="49"/>
                      <a:pt x="31" y="45"/>
                      <a:pt x="32" y="43"/>
                    </a:cubicBezTo>
                    <a:cubicBezTo>
                      <a:pt x="33" y="41"/>
                      <a:pt x="37" y="42"/>
                      <a:pt x="39" y="40"/>
                    </a:cubicBezTo>
                    <a:cubicBezTo>
                      <a:pt x="40" y="40"/>
                      <a:pt x="41" y="39"/>
                      <a:pt x="43" y="39"/>
                    </a:cubicBezTo>
                    <a:cubicBezTo>
                      <a:pt x="43" y="39"/>
                      <a:pt x="45" y="40"/>
                      <a:pt x="45" y="39"/>
                    </a:cubicBezTo>
                    <a:cubicBezTo>
                      <a:pt x="46" y="37"/>
                      <a:pt x="46" y="35"/>
                      <a:pt x="47" y="33"/>
                    </a:cubicBezTo>
                    <a:cubicBezTo>
                      <a:pt x="48" y="32"/>
                      <a:pt x="52" y="31"/>
                      <a:pt x="51" y="30"/>
                    </a:cubicBezTo>
                    <a:cubicBezTo>
                      <a:pt x="51" y="29"/>
                      <a:pt x="47" y="27"/>
                      <a:pt x="51" y="27"/>
                    </a:cubicBezTo>
                    <a:cubicBezTo>
                      <a:pt x="52" y="27"/>
                      <a:pt x="54" y="28"/>
                      <a:pt x="55" y="26"/>
                    </a:cubicBezTo>
                    <a:cubicBezTo>
                      <a:pt x="55" y="25"/>
                      <a:pt x="54" y="24"/>
                      <a:pt x="55" y="23"/>
                    </a:cubicBezTo>
                    <a:cubicBezTo>
                      <a:pt x="55" y="21"/>
                      <a:pt x="58" y="21"/>
                      <a:pt x="58" y="19"/>
                    </a:cubicBezTo>
                    <a:cubicBezTo>
                      <a:pt x="58" y="17"/>
                      <a:pt x="55" y="16"/>
                      <a:pt x="56" y="14"/>
                    </a:cubicBezTo>
                    <a:cubicBezTo>
                      <a:pt x="58" y="13"/>
                      <a:pt x="61" y="12"/>
                      <a:pt x="63" y="11"/>
                    </a:cubicBezTo>
                    <a:cubicBezTo>
                      <a:pt x="65" y="9"/>
                      <a:pt x="68" y="10"/>
                      <a:pt x="70" y="10"/>
                    </a:cubicBezTo>
                    <a:cubicBezTo>
                      <a:pt x="71" y="10"/>
                      <a:pt x="73" y="10"/>
                      <a:pt x="74" y="9"/>
                    </a:cubicBezTo>
                    <a:cubicBezTo>
                      <a:pt x="74" y="9"/>
                      <a:pt x="75" y="8"/>
                      <a:pt x="75" y="7"/>
                    </a:cubicBezTo>
                    <a:cubicBezTo>
                      <a:pt x="74" y="7"/>
                      <a:pt x="73" y="7"/>
                      <a:pt x="72" y="7"/>
                    </a:cubicBezTo>
                    <a:cubicBezTo>
                      <a:pt x="71" y="8"/>
                      <a:pt x="73" y="7"/>
                      <a:pt x="72" y="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7" name="Freeform 699">
                <a:extLst>
                  <a:ext uri="{FF2B5EF4-FFF2-40B4-BE49-F238E27FC236}">
                    <a16:creationId xmlns:a16="http://schemas.microsoft.com/office/drawing/2014/main" id="{CF6D1772-0014-4908-9A37-A76ED6E63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8665" y="3371330"/>
                <a:ext cx="12742" cy="19114"/>
              </a:xfrm>
              <a:custGeom>
                <a:avLst/>
                <a:gdLst>
                  <a:gd name="T0" fmla="*/ 3 w 3"/>
                  <a:gd name="T1" fmla="*/ 2 h 4"/>
                  <a:gd name="T2" fmla="*/ 1 w 3"/>
                  <a:gd name="T3" fmla="*/ 1 h 4"/>
                  <a:gd name="T4" fmla="*/ 3 w 3"/>
                  <a:gd name="T5" fmla="*/ 4 h 4"/>
                  <a:gd name="T6" fmla="*/ 3 w 3"/>
                  <a:gd name="T7" fmla="*/ 2 h 4"/>
                  <a:gd name="T8" fmla="*/ 3 w 3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2"/>
                    </a:moveTo>
                    <a:cubicBezTo>
                      <a:pt x="2" y="2"/>
                      <a:pt x="1" y="0"/>
                      <a:pt x="1" y="1"/>
                    </a:cubicBezTo>
                    <a:cubicBezTo>
                      <a:pt x="0" y="2"/>
                      <a:pt x="2" y="3"/>
                      <a:pt x="3" y="4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2" y="1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8" name="Freeform 700">
                <a:extLst>
                  <a:ext uri="{FF2B5EF4-FFF2-40B4-BE49-F238E27FC236}">
                    <a16:creationId xmlns:a16="http://schemas.microsoft.com/office/drawing/2014/main" id="{A193A97A-9F0F-422B-89BB-7B93A07AE6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14000" y="3076669"/>
                <a:ext cx="947700" cy="453941"/>
              </a:xfrm>
              <a:custGeom>
                <a:avLst/>
                <a:gdLst>
                  <a:gd name="T0" fmla="*/ 194 w 203"/>
                  <a:gd name="T1" fmla="*/ 37 h 97"/>
                  <a:gd name="T2" fmla="*/ 177 w 203"/>
                  <a:gd name="T3" fmla="*/ 31 h 97"/>
                  <a:gd name="T4" fmla="*/ 163 w 203"/>
                  <a:gd name="T5" fmla="*/ 19 h 97"/>
                  <a:gd name="T6" fmla="*/ 154 w 203"/>
                  <a:gd name="T7" fmla="*/ 7 h 97"/>
                  <a:gd name="T8" fmla="*/ 137 w 203"/>
                  <a:gd name="T9" fmla="*/ 10 h 97"/>
                  <a:gd name="T10" fmla="*/ 129 w 203"/>
                  <a:gd name="T11" fmla="*/ 8 h 97"/>
                  <a:gd name="T12" fmla="*/ 112 w 203"/>
                  <a:gd name="T13" fmla="*/ 2 h 97"/>
                  <a:gd name="T14" fmla="*/ 76 w 203"/>
                  <a:gd name="T15" fmla="*/ 10 h 97"/>
                  <a:gd name="T16" fmla="*/ 75 w 203"/>
                  <a:gd name="T17" fmla="*/ 20 h 97"/>
                  <a:gd name="T18" fmla="*/ 74 w 203"/>
                  <a:gd name="T19" fmla="*/ 31 h 97"/>
                  <a:gd name="T20" fmla="*/ 60 w 203"/>
                  <a:gd name="T21" fmla="*/ 29 h 97"/>
                  <a:gd name="T22" fmla="*/ 48 w 203"/>
                  <a:gd name="T23" fmla="*/ 32 h 97"/>
                  <a:gd name="T24" fmla="*/ 37 w 203"/>
                  <a:gd name="T25" fmla="*/ 27 h 97"/>
                  <a:gd name="T26" fmla="*/ 22 w 203"/>
                  <a:gd name="T27" fmla="*/ 25 h 97"/>
                  <a:gd name="T28" fmla="*/ 13 w 203"/>
                  <a:gd name="T29" fmla="*/ 32 h 97"/>
                  <a:gd name="T30" fmla="*/ 3 w 203"/>
                  <a:gd name="T31" fmla="*/ 38 h 97"/>
                  <a:gd name="T32" fmla="*/ 4 w 203"/>
                  <a:gd name="T33" fmla="*/ 47 h 97"/>
                  <a:gd name="T34" fmla="*/ 14 w 203"/>
                  <a:gd name="T35" fmla="*/ 57 h 97"/>
                  <a:gd name="T36" fmla="*/ 17 w 203"/>
                  <a:gd name="T37" fmla="*/ 57 h 97"/>
                  <a:gd name="T38" fmla="*/ 36 w 203"/>
                  <a:gd name="T39" fmla="*/ 63 h 97"/>
                  <a:gd name="T40" fmla="*/ 33 w 203"/>
                  <a:gd name="T41" fmla="*/ 66 h 97"/>
                  <a:gd name="T42" fmla="*/ 22 w 203"/>
                  <a:gd name="T43" fmla="*/ 72 h 97"/>
                  <a:gd name="T44" fmla="*/ 31 w 203"/>
                  <a:gd name="T45" fmla="*/ 82 h 97"/>
                  <a:gd name="T46" fmla="*/ 48 w 203"/>
                  <a:gd name="T47" fmla="*/ 90 h 97"/>
                  <a:gd name="T48" fmla="*/ 50 w 203"/>
                  <a:gd name="T49" fmla="*/ 68 h 97"/>
                  <a:gd name="T50" fmla="*/ 64 w 203"/>
                  <a:gd name="T51" fmla="*/ 62 h 97"/>
                  <a:gd name="T52" fmla="*/ 72 w 203"/>
                  <a:gd name="T53" fmla="*/ 66 h 97"/>
                  <a:gd name="T54" fmla="*/ 84 w 203"/>
                  <a:gd name="T55" fmla="*/ 76 h 97"/>
                  <a:gd name="T56" fmla="*/ 100 w 203"/>
                  <a:gd name="T57" fmla="*/ 81 h 97"/>
                  <a:gd name="T58" fmla="*/ 107 w 203"/>
                  <a:gd name="T59" fmla="*/ 91 h 97"/>
                  <a:gd name="T60" fmla="*/ 123 w 203"/>
                  <a:gd name="T61" fmla="*/ 85 h 97"/>
                  <a:gd name="T62" fmla="*/ 137 w 203"/>
                  <a:gd name="T63" fmla="*/ 83 h 97"/>
                  <a:gd name="T64" fmla="*/ 153 w 203"/>
                  <a:gd name="T65" fmla="*/ 81 h 97"/>
                  <a:gd name="T66" fmla="*/ 172 w 203"/>
                  <a:gd name="T67" fmla="*/ 76 h 97"/>
                  <a:gd name="T68" fmla="*/ 175 w 203"/>
                  <a:gd name="T69" fmla="*/ 66 h 97"/>
                  <a:gd name="T70" fmla="*/ 182 w 203"/>
                  <a:gd name="T71" fmla="*/ 60 h 97"/>
                  <a:gd name="T72" fmla="*/ 193 w 203"/>
                  <a:gd name="T73" fmla="*/ 56 h 97"/>
                  <a:gd name="T74" fmla="*/ 202 w 203"/>
                  <a:gd name="T75" fmla="*/ 44 h 97"/>
                  <a:gd name="T76" fmla="*/ 201 w 203"/>
                  <a:gd name="T77" fmla="*/ 39 h 97"/>
                  <a:gd name="T78" fmla="*/ 140 w 203"/>
                  <a:gd name="T79" fmla="*/ 65 h 97"/>
                  <a:gd name="T80" fmla="*/ 141 w 203"/>
                  <a:gd name="T81" fmla="*/ 59 h 97"/>
                  <a:gd name="T82" fmla="*/ 148 w 203"/>
                  <a:gd name="T83" fmla="*/ 58 h 97"/>
                  <a:gd name="T84" fmla="*/ 156 w 203"/>
                  <a:gd name="T85" fmla="*/ 58 h 97"/>
                  <a:gd name="T86" fmla="*/ 165 w 203"/>
                  <a:gd name="T87" fmla="*/ 59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03" h="97">
                    <a:moveTo>
                      <a:pt x="201" y="39"/>
                    </a:moveTo>
                    <a:cubicBezTo>
                      <a:pt x="201" y="38"/>
                      <a:pt x="197" y="39"/>
                      <a:pt x="197" y="39"/>
                    </a:cubicBezTo>
                    <a:cubicBezTo>
                      <a:pt x="195" y="39"/>
                      <a:pt x="194" y="38"/>
                      <a:pt x="194" y="37"/>
                    </a:cubicBezTo>
                    <a:cubicBezTo>
                      <a:pt x="193" y="35"/>
                      <a:pt x="191" y="35"/>
                      <a:pt x="191" y="34"/>
                    </a:cubicBezTo>
                    <a:cubicBezTo>
                      <a:pt x="190" y="33"/>
                      <a:pt x="189" y="30"/>
                      <a:pt x="186" y="30"/>
                    </a:cubicBezTo>
                    <a:cubicBezTo>
                      <a:pt x="183" y="30"/>
                      <a:pt x="180" y="33"/>
                      <a:pt x="177" y="31"/>
                    </a:cubicBezTo>
                    <a:cubicBezTo>
                      <a:pt x="176" y="30"/>
                      <a:pt x="175" y="29"/>
                      <a:pt x="174" y="28"/>
                    </a:cubicBezTo>
                    <a:cubicBezTo>
                      <a:pt x="173" y="28"/>
                      <a:pt x="171" y="31"/>
                      <a:pt x="170" y="31"/>
                    </a:cubicBezTo>
                    <a:cubicBezTo>
                      <a:pt x="169" y="32"/>
                      <a:pt x="163" y="21"/>
                      <a:pt x="163" y="19"/>
                    </a:cubicBezTo>
                    <a:cubicBezTo>
                      <a:pt x="161" y="17"/>
                      <a:pt x="160" y="14"/>
                      <a:pt x="157" y="13"/>
                    </a:cubicBezTo>
                    <a:cubicBezTo>
                      <a:pt x="156" y="12"/>
                      <a:pt x="155" y="11"/>
                      <a:pt x="154" y="11"/>
                    </a:cubicBezTo>
                    <a:cubicBezTo>
                      <a:pt x="152" y="10"/>
                      <a:pt x="154" y="8"/>
                      <a:pt x="154" y="7"/>
                    </a:cubicBezTo>
                    <a:cubicBezTo>
                      <a:pt x="154" y="6"/>
                      <a:pt x="147" y="10"/>
                      <a:pt x="146" y="11"/>
                    </a:cubicBezTo>
                    <a:cubicBezTo>
                      <a:pt x="145" y="11"/>
                      <a:pt x="137" y="14"/>
                      <a:pt x="137" y="13"/>
                    </a:cubicBezTo>
                    <a:cubicBezTo>
                      <a:pt x="137" y="11"/>
                      <a:pt x="139" y="10"/>
                      <a:pt x="137" y="10"/>
                    </a:cubicBezTo>
                    <a:cubicBezTo>
                      <a:pt x="136" y="9"/>
                      <a:pt x="135" y="8"/>
                      <a:pt x="134" y="9"/>
                    </a:cubicBezTo>
                    <a:cubicBezTo>
                      <a:pt x="134" y="9"/>
                      <a:pt x="134" y="10"/>
                      <a:pt x="133" y="9"/>
                    </a:cubicBezTo>
                    <a:cubicBezTo>
                      <a:pt x="131" y="8"/>
                      <a:pt x="132" y="7"/>
                      <a:pt x="129" y="8"/>
                    </a:cubicBezTo>
                    <a:cubicBezTo>
                      <a:pt x="126" y="10"/>
                      <a:pt x="126" y="7"/>
                      <a:pt x="126" y="5"/>
                    </a:cubicBezTo>
                    <a:cubicBezTo>
                      <a:pt x="127" y="1"/>
                      <a:pt x="121" y="0"/>
                      <a:pt x="118" y="0"/>
                    </a:cubicBezTo>
                    <a:cubicBezTo>
                      <a:pt x="116" y="0"/>
                      <a:pt x="114" y="1"/>
                      <a:pt x="112" y="2"/>
                    </a:cubicBezTo>
                    <a:cubicBezTo>
                      <a:pt x="110" y="3"/>
                      <a:pt x="108" y="4"/>
                      <a:pt x="105" y="4"/>
                    </a:cubicBezTo>
                    <a:cubicBezTo>
                      <a:pt x="97" y="6"/>
                      <a:pt x="89" y="9"/>
                      <a:pt x="81" y="9"/>
                    </a:cubicBezTo>
                    <a:cubicBezTo>
                      <a:pt x="79" y="9"/>
                      <a:pt x="77" y="9"/>
                      <a:pt x="76" y="10"/>
                    </a:cubicBezTo>
                    <a:cubicBezTo>
                      <a:pt x="75" y="11"/>
                      <a:pt x="77" y="14"/>
                      <a:pt x="79" y="14"/>
                    </a:cubicBezTo>
                    <a:cubicBezTo>
                      <a:pt x="83" y="17"/>
                      <a:pt x="76" y="16"/>
                      <a:pt x="74" y="17"/>
                    </a:cubicBezTo>
                    <a:cubicBezTo>
                      <a:pt x="72" y="18"/>
                      <a:pt x="75" y="19"/>
                      <a:pt x="75" y="20"/>
                    </a:cubicBezTo>
                    <a:cubicBezTo>
                      <a:pt x="75" y="22"/>
                      <a:pt x="71" y="22"/>
                      <a:pt x="71" y="23"/>
                    </a:cubicBezTo>
                    <a:cubicBezTo>
                      <a:pt x="71" y="26"/>
                      <a:pt x="79" y="25"/>
                      <a:pt x="78" y="29"/>
                    </a:cubicBezTo>
                    <a:cubicBezTo>
                      <a:pt x="77" y="30"/>
                      <a:pt x="76" y="31"/>
                      <a:pt x="74" y="31"/>
                    </a:cubicBezTo>
                    <a:cubicBezTo>
                      <a:pt x="73" y="31"/>
                      <a:pt x="70" y="31"/>
                      <a:pt x="69" y="31"/>
                    </a:cubicBezTo>
                    <a:cubicBezTo>
                      <a:pt x="67" y="32"/>
                      <a:pt x="68" y="33"/>
                      <a:pt x="66" y="32"/>
                    </a:cubicBezTo>
                    <a:cubicBezTo>
                      <a:pt x="64" y="31"/>
                      <a:pt x="62" y="29"/>
                      <a:pt x="60" y="29"/>
                    </a:cubicBezTo>
                    <a:cubicBezTo>
                      <a:pt x="59" y="28"/>
                      <a:pt x="57" y="30"/>
                      <a:pt x="56" y="30"/>
                    </a:cubicBezTo>
                    <a:cubicBezTo>
                      <a:pt x="54" y="29"/>
                      <a:pt x="53" y="29"/>
                      <a:pt x="51" y="30"/>
                    </a:cubicBezTo>
                    <a:cubicBezTo>
                      <a:pt x="50" y="31"/>
                      <a:pt x="49" y="33"/>
                      <a:pt x="48" y="32"/>
                    </a:cubicBezTo>
                    <a:cubicBezTo>
                      <a:pt x="47" y="32"/>
                      <a:pt x="44" y="29"/>
                      <a:pt x="43" y="30"/>
                    </a:cubicBezTo>
                    <a:cubicBezTo>
                      <a:pt x="42" y="30"/>
                      <a:pt x="42" y="33"/>
                      <a:pt x="41" y="31"/>
                    </a:cubicBezTo>
                    <a:cubicBezTo>
                      <a:pt x="40" y="29"/>
                      <a:pt x="39" y="28"/>
                      <a:pt x="37" y="27"/>
                    </a:cubicBezTo>
                    <a:cubicBezTo>
                      <a:pt x="35" y="26"/>
                      <a:pt x="33" y="26"/>
                      <a:pt x="32" y="25"/>
                    </a:cubicBezTo>
                    <a:cubicBezTo>
                      <a:pt x="29" y="24"/>
                      <a:pt x="29" y="26"/>
                      <a:pt x="27" y="26"/>
                    </a:cubicBezTo>
                    <a:cubicBezTo>
                      <a:pt x="25" y="27"/>
                      <a:pt x="24" y="24"/>
                      <a:pt x="22" y="25"/>
                    </a:cubicBezTo>
                    <a:cubicBezTo>
                      <a:pt x="21" y="26"/>
                      <a:pt x="21" y="27"/>
                      <a:pt x="20" y="27"/>
                    </a:cubicBezTo>
                    <a:cubicBezTo>
                      <a:pt x="19" y="28"/>
                      <a:pt x="17" y="28"/>
                      <a:pt x="16" y="28"/>
                    </a:cubicBezTo>
                    <a:cubicBezTo>
                      <a:pt x="15" y="29"/>
                      <a:pt x="13" y="31"/>
                      <a:pt x="13" y="32"/>
                    </a:cubicBezTo>
                    <a:cubicBezTo>
                      <a:pt x="12" y="33"/>
                      <a:pt x="14" y="36"/>
                      <a:pt x="12" y="36"/>
                    </a:cubicBezTo>
                    <a:cubicBezTo>
                      <a:pt x="10" y="37"/>
                      <a:pt x="7" y="31"/>
                      <a:pt x="6" y="34"/>
                    </a:cubicBezTo>
                    <a:cubicBezTo>
                      <a:pt x="5" y="36"/>
                      <a:pt x="4" y="36"/>
                      <a:pt x="3" y="38"/>
                    </a:cubicBezTo>
                    <a:cubicBezTo>
                      <a:pt x="2" y="40"/>
                      <a:pt x="6" y="40"/>
                      <a:pt x="4" y="42"/>
                    </a:cubicBezTo>
                    <a:cubicBezTo>
                      <a:pt x="3" y="43"/>
                      <a:pt x="0" y="45"/>
                      <a:pt x="2" y="46"/>
                    </a:cubicBezTo>
                    <a:cubicBezTo>
                      <a:pt x="3" y="46"/>
                      <a:pt x="4" y="47"/>
                      <a:pt x="4" y="47"/>
                    </a:cubicBezTo>
                    <a:cubicBezTo>
                      <a:pt x="5" y="48"/>
                      <a:pt x="4" y="49"/>
                      <a:pt x="5" y="50"/>
                    </a:cubicBezTo>
                    <a:cubicBezTo>
                      <a:pt x="7" y="51"/>
                      <a:pt x="9" y="49"/>
                      <a:pt x="11" y="51"/>
                    </a:cubicBezTo>
                    <a:cubicBezTo>
                      <a:pt x="12" y="52"/>
                      <a:pt x="14" y="55"/>
                      <a:pt x="14" y="57"/>
                    </a:cubicBezTo>
                    <a:cubicBezTo>
                      <a:pt x="13" y="57"/>
                      <a:pt x="10" y="56"/>
                      <a:pt x="13" y="58"/>
                    </a:cubicBezTo>
                    <a:cubicBezTo>
                      <a:pt x="14" y="59"/>
                      <a:pt x="14" y="60"/>
                      <a:pt x="16" y="58"/>
                    </a:cubicBezTo>
                    <a:cubicBezTo>
                      <a:pt x="16" y="57"/>
                      <a:pt x="16" y="57"/>
                      <a:pt x="17" y="57"/>
                    </a:cubicBezTo>
                    <a:cubicBezTo>
                      <a:pt x="22" y="57"/>
                      <a:pt x="24" y="54"/>
                      <a:pt x="29" y="56"/>
                    </a:cubicBezTo>
                    <a:cubicBezTo>
                      <a:pt x="31" y="57"/>
                      <a:pt x="33" y="54"/>
                      <a:pt x="34" y="56"/>
                    </a:cubicBezTo>
                    <a:cubicBezTo>
                      <a:pt x="35" y="57"/>
                      <a:pt x="37" y="61"/>
                      <a:pt x="36" y="63"/>
                    </a:cubicBezTo>
                    <a:cubicBezTo>
                      <a:pt x="35" y="63"/>
                      <a:pt x="33" y="64"/>
                      <a:pt x="35" y="64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3" y="66"/>
                      <a:pt x="33" y="66"/>
                    </a:cubicBezTo>
                    <a:cubicBezTo>
                      <a:pt x="30" y="66"/>
                      <a:pt x="22" y="64"/>
                      <a:pt x="24" y="69"/>
                    </a:cubicBezTo>
                    <a:cubicBezTo>
                      <a:pt x="25" y="71"/>
                      <a:pt x="24" y="71"/>
                      <a:pt x="22" y="70"/>
                    </a:cubicBezTo>
                    <a:cubicBezTo>
                      <a:pt x="20" y="69"/>
                      <a:pt x="21" y="71"/>
                      <a:pt x="22" y="72"/>
                    </a:cubicBezTo>
                    <a:cubicBezTo>
                      <a:pt x="24" y="72"/>
                      <a:pt x="24" y="75"/>
                      <a:pt x="25" y="76"/>
                    </a:cubicBezTo>
                    <a:cubicBezTo>
                      <a:pt x="27" y="77"/>
                      <a:pt x="24" y="79"/>
                      <a:pt x="27" y="79"/>
                    </a:cubicBezTo>
                    <a:cubicBezTo>
                      <a:pt x="28" y="79"/>
                      <a:pt x="30" y="81"/>
                      <a:pt x="31" y="82"/>
                    </a:cubicBezTo>
                    <a:cubicBezTo>
                      <a:pt x="34" y="82"/>
                      <a:pt x="31" y="85"/>
                      <a:pt x="31" y="87"/>
                    </a:cubicBezTo>
                    <a:cubicBezTo>
                      <a:pt x="34" y="85"/>
                      <a:pt x="38" y="82"/>
                      <a:pt x="42" y="85"/>
                    </a:cubicBezTo>
                    <a:cubicBezTo>
                      <a:pt x="44" y="87"/>
                      <a:pt x="45" y="90"/>
                      <a:pt x="48" y="90"/>
                    </a:cubicBezTo>
                    <a:cubicBezTo>
                      <a:pt x="50" y="90"/>
                      <a:pt x="49" y="88"/>
                      <a:pt x="49" y="87"/>
                    </a:cubicBezTo>
                    <a:cubicBezTo>
                      <a:pt x="49" y="84"/>
                      <a:pt x="49" y="81"/>
                      <a:pt x="49" y="78"/>
                    </a:cubicBezTo>
                    <a:cubicBezTo>
                      <a:pt x="49" y="76"/>
                      <a:pt x="48" y="68"/>
                      <a:pt x="50" y="68"/>
                    </a:cubicBezTo>
                    <a:cubicBezTo>
                      <a:pt x="52" y="67"/>
                      <a:pt x="55" y="66"/>
                      <a:pt x="57" y="65"/>
                    </a:cubicBezTo>
                    <a:cubicBezTo>
                      <a:pt x="59" y="65"/>
                      <a:pt x="61" y="64"/>
                      <a:pt x="62" y="64"/>
                    </a:cubicBezTo>
                    <a:cubicBezTo>
                      <a:pt x="63" y="63"/>
                      <a:pt x="62" y="61"/>
                      <a:pt x="64" y="62"/>
                    </a:cubicBezTo>
                    <a:cubicBezTo>
                      <a:pt x="65" y="62"/>
                      <a:pt x="68" y="64"/>
                      <a:pt x="68" y="62"/>
                    </a:cubicBezTo>
                    <a:cubicBezTo>
                      <a:pt x="68" y="61"/>
                      <a:pt x="70" y="60"/>
                      <a:pt x="71" y="62"/>
                    </a:cubicBezTo>
                    <a:cubicBezTo>
                      <a:pt x="72" y="63"/>
                      <a:pt x="71" y="64"/>
                      <a:pt x="72" y="66"/>
                    </a:cubicBezTo>
                    <a:cubicBezTo>
                      <a:pt x="72" y="67"/>
                      <a:pt x="73" y="69"/>
                      <a:pt x="72" y="70"/>
                    </a:cubicBezTo>
                    <a:cubicBezTo>
                      <a:pt x="73" y="71"/>
                      <a:pt x="74" y="71"/>
                      <a:pt x="75" y="72"/>
                    </a:cubicBezTo>
                    <a:cubicBezTo>
                      <a:pt x="78" y="75"/>
                      <a:pt x="80" y="77"/>
                      <a:pt x="84" y="76"/>
                    </a:cubicBezTo>
                    <a:cubicBezTo>
                      <a:pt x="86" y="76"/>
                      <a:pt x="88" y="77"/>
                      <a:pt x="90" y="77"/>
                    </a:cubicBezTo>
                    <a:cubicBezTo>
                      <a:pt x="92" y="77"/>
                      <a:pt x="93" y="75"/>
                      <a:pt x="95" y="75"/>
                    </a:cubicBezTo>
                    <a:cubicBezTo>
                      <a:pt x="97" y="76"/>
                      <a:pt x="99" y="79"/>
                      <a:pt x="100" y="81"/>
                    </a:cubicBezTo>
                    <a:cubicBezTo>
                      <a:pt x="101" y="82"/>
                      <a:pt x="100" y="83"/>
                      <a:pt x="100" y="85"/>
                    </a:cubicBezTo>
                    <a:cubicBezTo>
                      <a:pt x="100" y="87"/>
                      <a:pt x="103" y="88"/>
                      <a:pt x="103" y="90"/>
                    </a:cubicBezTo>
                    <a:cubicBezTo>
                      <a:pt x="103" y="91"/>
                      <a:pt x="106" y="91"/>
                      <a:pt x="107" y="91"/>
                    </a:cubicBezTo>
                    <a:cubicBezTo>
                      <a:pt x="109" y="91"/>
                      <a:pt x="109" y="91"/>
                      <a:pt x="110" y="93"/>
                    </a:cubicBezTo>
                    <a:cubicBezTo>
                      <a:pt x="112" y="97"/>
                      <a:pt x="114" y="92"/>
                      <a:pt x="116" y="90"/>
                    </a:cubicBezTo>
                    <a:cubicBezTo>
                      <a:pt x="117" y="87"/>
                      <a:pt x="121" y="87"/>
                      <a:pt x="123" y="85"/>
                    </a:cubicBezTo>
                    <a:cubicBezTo>
                      <a:pt x="125" y="85"/>
                      <a:pt x="125" y="85"/>
                      <a:pt x="126" y="84"/>
                    </a:cubicBezTo>
                    <a:cubicBezTo>
                      <a:pt x="127" y="81"/>
                      <a:pt x="128" y="82"/>
                      <a:pt x="130" y="82"/>
                    </a:cubicBezTo>
                    <a:cubicBezTo>
                      <a:pt x="132" y="82"/>
                      <a:pt x="136" y="85"/>
                      <a:pt x="137" y="83"/>
                    </a:cubicBezTo>
                    <a:cubicBezTo>
                      <a:pt x="137" y="81"/>
                      <a:pt x="137" y="80"/>
                      <a:pt x="139" y="79"/>
                    </a:cubicBezTo>
                    <a:cubicBezTo>
                      <a:pt x="141" y="78"/>
                      <a:pt x="143" y="80"/>
                      <a:pt x="145" y="80"/>
                    </a:cubicBezTo>
                    <a:cubicBezTo>
                      <a:pt x="147" y="81"/>
                      <a:pt x="151" y="81"/>
                      <a:pt x="153" y="81"/>
                    </a:cubicBezTo>
                    <a:cubicBezTo>
                      <a:pt x="159" y="81"/>
                      <a:pt x="164" y="83"/>
                      <a:pt x="170" y="84"/>
                    </a:cubicBezTo>
                    <a:cubicBezTo>
                      <a:pt x="169" y="82"/>
                      <a:pt x="171" y="81"/>
                      <a:pt x="173" y="79"/>
                    </a:cubicBezTo>
                    <a:cubicBezTo>
                      <a:pt x="174" y="78"/>
                      <a:pt x="173" y="78"/>
                      <a:pt x="172" y="76"/>
                    </a:cubicBezTo>
                    <a:cubicBezTo>
                      <a:pt x="171" y="75"/>
                      <a:pt x="171" y="73"/>
                      <a:pt x="171" y="71"/>
                    </a:cubicBezTo>
                    <a:cubicBezTo>
                      <a:pt x="170" y="71"/>
                      <a:pt x="170" y="67"/>
                      <a:pt x="169" y="68"/>
                    </a:cubicBezTo>
                    <a:cubicBezTo>
                      <a:pt x="170" y="67"/>
                      <a:pt x="173" y="67"/>
                      <a:pt x="175" y="66"/>
                    </a:cubicBezTo>
                    <a:cubicBezTo>
                      <a:pt x="178" y="66"/>
                      <a:pt x="180" y="68"/>
                      <a:pt x="182" y="66"/>
                    </a:cubicBezTo>
                    <a:cubicBezTo>
                      <a:pt x="183" y="66"/>
                      <a:pt x="181" y="65"/>
                      <a:pt x="181" y="64"/>
                    </a:cubicBezTo>
                    <a:cubicBezTo>
                      <a:pt x="180" y="63"/>
                      <a:pt x="181" y="61"/>
                      <a:pt x="182" y="60"/>
                    </a:cubicBezTo>
                    <a:cubicBezTo>
                      <a:pt x="183" y="59"/>
                      <a:pt x="184" y="53"/>
                      <a:pt x="185" y="54"/>
                    </a:cubicBezTo>
                    <a:cubicBezTo>
                      <a:pt x="187" y="55"/>
                      <a:pt x="188" y="56"/>
                      <a:pt x="190" y="56"/>
                    </a:cubicBezTo>
                    <a:cubicBezTo>
                      <a:pt x="191" y="55"/>
                      <a:pt x="192" y="57"/>
                      <a:pt x="193" y="56"/>
                    </a:cubicBezTo>
                    <a:cubicBezTo>
                      <a:pt x="194" y="56"/>
                      <a:pt x="196" y="55"/>
                      <a:pt x="197" y="54"/>
                    </a:cubicBezTo>
                    <a:cubicBezTo>
                      <a:pt x="198" y="53"/>
                      <a:pt x="196" y="51"/>
                      <a:pt x="196" y="49"/>
                    </a:cubicBezTo>
                    <a:cubicBezTo>
                      <a:pt x="197" y="46"/>
                      <a:pt x="200" y="47"/>
                      <a:pt x="202" y="44"/>
                    </a:cubicBezTo>
                    <a:cubicBezTo>
                      <a:pt x="202" y="43"/>
                      <a:pt x="202" y="43"/>
                      <a:pt x="203" y="42"/>
                    </a:cubicBezTo>
                    <a:cubicBezTo>
                      <a:pt x="203" y="41"/>
                      <a:pt x="202" y="40"/>
                      <a:pt x="201" y="39"/>
                    </a:cubicBezTo>
                    <a:cubicBezTo>
                      <a:pt x="201" y="38"/>
                      <a:pt x="202" y="39"/>
                      <a:pt x="201" y="39"/>
                    </a:cubicBezTo>
                    <a:close/>
                    <a:moveTo>
                      <a:pt x="148" y="58"/>
                    </a:moveTo>
                    <a:cubicBezTo>
                      <a:pt x="146" y="58"/>
                      <a:pt x="143" y="61"/>
                      <a:pt x="142" y="62"/>
                    </a:cubicBezTo>
                    <a:cubicBezTo>
                      <a:pt x="141" y="62"/>
                      <a:pt x="140" y="64"/>
                      <a:pt x="140" y="65"/>
                    </a:cubicBezTo>
                    <a:cubicBezTo>
                      <a:pt x="140" y="66"/>
                      <a:pt x="141" y="67"/>
                      <a:pt x="141" y="67"/>
                    </a:cubicBezTo>
                    <a:cubicBezTo>
                      <a:pt x="140" y="68"/>
                      <a:pt x="138" y="64"/>
                      <a:pt x="138" y="63"/>
                    </a:cubicBezTo>
                    <a:cubicBezTo>
                      <a:pt x="138" y="61"/>
                      <a:pt x="139" y="60"/>
                      <a:pt x="141" y="59"/>
                    </a:cubicBezTo>
                    <a:cubicBezTo>
                      <a:pt x="143" y="58"/>
                      <a:pt x="145" y="57"/>
                      <a:pt x="147" y="57"/>
                    </a:cubicBezTo>
                    <a:cubicBezTo>
                      <a:pt x="147" y="57"/>
                      <a:pt x="152" y="58"/>
                      <a:pt x="152" y="58"/>
                    </a:cubicBezTo>
                    <a:cubicBezTo>
                      <a:pt x="151" y="59"/>
                      <a:pt x="148" y="58"/>
                      <a:pt x="148" y="58"/>
                    </a:cubicBezTo>
                    <a:cubicBezTo>
                      <a:pt x="146" y="58"/>
                      <a:pt x="149" y="58"/>
                      <a:pt x="148" y="58"/>
                    </a:cubicBezTo>
                    <a:close/>
                    <a:moveTo>
                      <a:pt x="165" y="59"/>
                    </a:moveTo>
                    <a:cubicBezTo>
                      <a:pt x="164" y="61"/>
                      <a:pt x="157" y="60"/>
                      <a:pt x="156" y="58"/>
                    </a:cubicBezTo>
                    <a:cubicBezTo>
                      <a:pt x="156" y="58"/>
                      <a:pt x="160" y="58"/>
                      <a:pt x="160" y="58"/>
                    </a:cubicBezTo>
                    <a:cubicBezTo>
                      <a:pt x="162" y="58"/>
                      <a:pt x="163" y="58"/>
                      <a:pt x="165" y="57"/>
                    </a:cubicBezTo>
                    <a:cubicBezTo>
                      <a:pt x="165" y="57"/>
                      <a:pt x="165" y="59"/>
                      <a:pt x="165" y="59"/>
                    </a:cubicBezTo>
                    <a:cubicBezTo>
                      <a:pt x="164" y="60"/>
                      <a:pt x="165" y="58"/>
                      <a:pt x="165" y="5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9" name="Freeform 701">
                <a:extLst>
                  <a:ext uri="{FF2B5EF4-FFF2-40B4-BE49-F238E27FC236}">
                    <a16:creationId xmlns:a16="http://schemas.microsoft.com/office/drawing/2014/main" id="{0A1540E8-A3AF-4485-9838-31C3CF87C1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6875" y="3642101"/>
                <a:ext cx="654630" cy="697634"/>
              </a:xfrm>
              <a:custGeom>
                <a:avLst/>
                <a:gdLst>
                  <a:gd name="T0" fmla="*/ 121 w 140"/>
                  <a:gd name="T1" fmla="*/ 66 h 149"/>
                  <a:gd name="T2" fmla="*/ 129 w 140"/>
                  <a:gd name="T3" fmla="*/ 54 h 149"/>
                  <a:gd name="T4" fmla="*/ 137 w 140"/>
                  <a:gd name="T5" fmla="*/ 46 h 149"/>
                  <a:gd name="T6" fmla="*/ 135 w 140"/>
                  <a:gd name="T7" fmla="*/ 41 h 149"/>
                  <a:gd name="T8" fmla="*/ 127 w 140"/>
                  <a:gd name="T9" fmla="*/ 37 h 149"/>
                  <a:gd name="T10" fmla="*/ 119 w 140"/>
                  <a:gd name="T11" fmla="*/ 43 h 149"/>
                  <a:gd name="T12" fmla="*/ 106 w 140"/>
                  <a:gd name="T13" fmla="*/ 51 h 149"/>
                  <a:gd name="T14" fmla="*/ 100 w 140"/>
                  <a:gd name="T15" fmla="*/ 45 h 149"/>
                  <a:gd name="T16" fmla="*/ 92 w 140"/>
                  <a:gd name="T17" fmla="*/ 52 h 149"/>
                  <a:gd name="T18" fmla="*/ 77 w 140"/>
                  <a:gd name="T19" fmla="*/ 47 h 149"/>
                  <a:gd name="T20" fmla="*/ 62 w 140"/>
                  <a:gd name="T21" fmla="*/ 41 h 149"/>
                  <a:gd name="T22" fmla="*/ 63 w 140"/>
                  <a:gd name="T23" fmla="*/ 32 h 149"/>
                  <a:gd name="T24" fmla="*/ 52 w 140"/>
                  <a:gd name="T25" fmla="*/ 22 h 149"/>
                  <a:gd name="T26" fmla="*/ 55 w 140"/>
                  <a:gd name="T27" fmla="*/ 12 h 149"/>
                  <a:gd name="T28" fmla="*/ 50 w 140"/>
                  <a:gd name="T29" fmla="*/ 2 h 149"/>
                  <a:gd name="T30" fmla="*/ 40 w 140"/>
                  <a:gd name="T31" fmla="*/ 8 h 149"/>
                  <a:gd name="T32" fmla="*/ 30 w 140"/>
                  <a:gd name="T33" fmla="*/ 12 h 149"/>
                  <a:gd name="T34" fmla="*/ 33 w 140"/>
                  <a:gd name="T35" fmla="*/ 22 h 149"/>
                  <a:gd name="T36" fmla="*/ 29 w 140"/>
                  <a:gd name="T37" fmla="*/ 33 h 149"/>
                  <a:gd name="T38" fmla="*/ 19 w 140"/>
                  <a:gd name="T39" fmla="*/ 44 h 149"/>
                  <a:gd name="T40" fmla="*/ 7 w 140"/>
                  <a:gd name="T41" fmla="*/ 50 h 149"/>
                  <a:gd name="T42" fmla="*/ 14 w 140"/>
                  <a:gd name="T43" fmla="*/ 64 h 149"/>
                  <a:gd name="T44" fmla="*/ 5 w 140"/>
                  <a:gd name="T45" fmla="*/ 64 h 149"/>
                  <a:gd name="T46" fmla="*/ 11 w 140"/>
                  <a:gd name="T47" fmla="*/ 72 h 149"/>
                  <a:gd name="T48" fmla="*/ 11 w 140"/>
                  <a:gd name="T49" fmla="*/ 82 h 149"/>
                  <a:gd name="T50" fmla="*/ 19 w 140"/>
                  <a:gd name="T51" fmla="*/ 78 h 149"/>
                  <a:gd name="T52" fmla="*/ 23 w 140"/>
                  <a:gd name="T53" fmla="*/ 75 h 149"/>
                  <a:gd name="T54" fmla="*/ 22 w 140"/>
                  <a:gd name="T55" fmla="*/ 78 h 149"/>
                  <a:gd name="T56" fmla="*/ 24 w 140"/>
                  <a:gd name="T57" fmla="*/ 82 h 149"/>
                  <a:gd name="T58" fmla="*/ 24 w 140"/>
                  <a:gd name="T59" fmla="*/ 95 h 149"/>
                  <a:gd name="T60" fmla="*/ 26 w 140"/>
                  <a:gd name="T61" fmla="*/ 107 h 149"/>
                  <a:gd name="T62" fmla="*/ 39 w 140"/>
                  <a:gd name="T63" fmla="*/ 134 h 149"/>
                  <a:gd name="T64" fmla="*/ 50 w 140"/>
                  <a:gd name="T65" fmla="*/ 143 h 149"/>
                  <a:gd name="T66" fmla="*/ 57 w 140"/>
                  <a:gd name="T67" fmla="*/ 132 h 149"/>
                  <a:gd name="T68" fmla="*/ 65 w 140"/>
                  <a:gd name="T69" fmla="*/ 107 h 149"/>
                  <a:gd name="T70" fmla="*/ 81 w 140"/>
                  <a:gd name="T71" fmla="*/ 93 h 149"/>
                  <a:gd name="T72" fmla="*/ 91 w 140"/>
                  <a:gd name="T73" fmla="*/ 84 h 149"/>
                  <a:gd name="T74" fmla="*/ 98 w 140"/>
                  <a:gd name="T75" fmla="*/ 74 h 149"/>
                  <a:gd name="T76" fmla="*/ 101 w 140"/>
                  <a:gd name="T77" fmla="*/ 78 h 149"/>
                  <a:gd name="T78" fmla="*/ 100 w 140"/>
                  <a:gd name="T79" fmla="*/ 58 h 149"/>
                  <a:gd name="T80" fmla="*/ 104 w 140"/>
                  <a:gd name="T81" fmla="*/ 57 h 149"/>
                  <a:gd name="T82" fmla="*/ 114 w 140"/>
                  <a:gd name="T83" fmla="*/ 60 h 149"/>
                  <a:gd name="T84" fmla="*/ 115 w 140"/>
                  <a:gd name="T85" fmla="*/ 6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0" h="149">
                    <a:moveTo>
                      <a:pt x="117" y="76"/>
                    </a:moveTo>
                    <a:cubicBezTo>
                      <a:pt x="121" y="77"/>
                      <a:pt x="119" y="73"/>
                      <a:pt x="120" y="71"/>
                    </a:cubicBezTo>
                    <a:cubicBezTo>
                      <a:pt x="120" y="69"/>
                      <a:pt x="121" y="67"/>
                      <a:pt x="121" y="66"/>
                    </a:cubicBezTo>
                    <a:cubicBezTo>
                      <a:pt x="122" y="65"/>
                      <a:pt x="124" y="67"/>
                      <a:pt x="125" y="65"/>
                    </a:cubicBezTo>
                    <a:cubicBezTo>
                      <a:pt x="126" y="63"/>
                      <a:pt x="126" y="61"/>
                      <a:pt x="126" y="59"/>
                    </a:cubicBezTo>
                    <a:cubicBezTo>
                      <a:pt x="127" y="57"/>
                      <a:pt x="129" y="56"/>
                      <a:pt x="129" y="54"/>
                    </a:cubicBezTo>
                    <a:cubicBezTo>
                      <a:pt x="129" y="52"/>
                      <a:pt x="132" y="50"/>
                      <a:pt x="133" y="49"/>
                    </a:cubicBezTo>
                    <a:cubicBezTo>
                      <a:pt x="136" y="46"/>
                      <a:pt x="135" y="49"/>
                      <a:pt x="137" y="50"/>
                    </a:cubicBezTo>
                    <a:cubicBezTo>
                      <a:pt x="137" y="50"/>
                      <a:pt x="137" y="46"/>
                      <a:pt x="137" y="46"/>
                    </a:cubicBezTo>
                    <a:cubicBezTo>
                      <a:pt x="137" y="45"/>
                      <a:pt x="140" y="45"/>
                      <a:pt x="138" y="43"/>
                    </a:cubicBezTo>
                    <a:cubicBezTo>
                      <a:pt x="137" y="43"/>
                      <a:pt x="135" y="43"/>
                      <a:pt x="134" y="43"/>
                    </a:cubicBezTo>
                    <a:cubicBezTo>
                      <a:pt x="134" y="42"/>
                      <a:pt x="135" y="41"/>
                      <a:pt x="135" y="41"/>
                    </a:cubicBezTo>
                    <a:cubicBezTo>
                      <a:pt x="136" y="40"/>
                      <a:pt x="135" y="39"/>
                      <a:pt x="134" y="38"/>
                    </a:cubicBezTo>
                    <a:cubicBezTo>
                      <a:pt x="133" y="37"/>
                      <a:pt x="133" y="37"/>
                      <a:pt x="132" y="38"/>
                    </a:cubicBezTo>
                    <a:cubicBezTo>
                      <a:pt x="130" y="39"/>
                      <a:pt x="129" y="38"/>
                      <a:pt x="127" y="37"/>
                    </a:cubicBezTo>
                    <a:cubicBezTo>
                      <a:pt x="126" y="37"/>
                      <a:pt x="124" y="39"/>
                      <a:pt x="124" y="40"/>
                    </a:cubicBezTo>
                    <a:cubicBezTo>
                      <a:pt x="123" y="41"/>
                      <a:pt x="122" y="40"/>
                      <a:pt x="121" y="41"/>
                    </a:cubicBezTo>
                    <a:cubicBezTo>
                      <a:pt x="120" y="41"/>
                      <a:pt x="119" y="42"/>
                      <a:pt x="119" y="43"/>
                    </a:cubicBezTo>
                    <a:cubicBezTo>
                      <a:pt x="117" y="45"/>
                      <a:pt x="116" y="46"/>
                      <a:pt x="114" y="45"/>
                    </a:cubicBezTo>
                    <a:cubicBezTo>
                      <a:pt x="113" y="46"/>
                      <a:pt x="114" y="48"/>
                      <a:pt x="115" y="49"/>
                    </a:cubicBezTo>
                    <a:cubicBezTo>
                      <a:pt x="117" y="53"/>
                      <a:pt x="108" y="50"/>
                      <a:pt x="106" y="51"/>
                    </a:cubicBezTo>
                    <a:cubicBezTo>
                      <a:pt x="105" y="52"/>
                      <a:pt x="102" y="51"/>
                      <a:pt x="101" y="50"/>
                    </a:cubicBezTo>
                    <a:cubicBezTo>
                      <a:pt x="100" y="49"/>
                      <a:pt x="101" y="47"/>
                      <a:pt x="101" y="47"/>
                    </a:cubicBezTo>
                    <a:cubicBezTo>
                      <a:pt x="101" y="47"/>
                      <a:pt x="101" y="44"/>
                      <a:pt x="100" y="45"/>
                    </a:cubicBezTo>
                    <a:cubicBezTo>
                      <a:pt x="98" y="45"/>
                      <a:pt x="96" y="45"/>
                      <a:pt x="96" y="48"/>
                    </a:cubicBezTo>
                    <a:cubicBezTo>
                      <a:pt x="97" y="49"/>
                      <a:pt x="98" y="52"/>
                      <a:pt x="97" y="52"/>
                    </a:cubicBezTo>
                    <a:cubicBezTo>
                      <a:pt x="95" y="52"/>
                      <a:pt x="94" y="54"/>
                      <a:pt x="92" y="52"/>
                    </a:cubicBezTo>
                    <a:cubicBezTo>
                      <a:pt x="91" y="50"/>
                      <a:pt x="90" y="53"/>
                      <a:pt x="89" y="52"/>
                    </a:cubicBezTo>
                    <a:cubicBezTo>
                      <a:pt x="86" y="51"/>
                      <a:pt x="85" y="51"/>
                      <a:pt x="82" y="50"/>
                    </a:cubicBezTo>
                    <a:cubicBezTo>
                      <a:pt x="80" y="49"/>
                      <a:pt x="79" y="47"/>
                      <a:pt x="77" y="47"/>
                    </a:cubicBezTo>
                    <a:cubicBezTo>
                      <a:pt x="74" y="48"/>
                      <a:pt x="74" y="47"/>
                      <a:pt x="72" y="46"/>
                    </a:cubicBezTo>
                    <a:cubicBezTo>
                      <a:pt x="70" y="45"/>
                      <a:pt x="68" y="46"/>
                      <a:pt x="67" y="45"/>
                    </a:cubicBezTo>
                    <a:cubicBezTo>
                      <a:pt x="65" y="43"/>
                      <a:pt x="63" y="42"/>
                      <a:pt x="62" y="41"/>
                    </a:cubicBezTo>
                    <a:cubicBezTo>
                      <a:pt x="60" y="40"/>
                      <a:pt x="59" y="40"/>
                      <a:pt x="60" y="38"/>
                    </a:cubicBezTo>
                    <a:cubicBezTo>
                      <a:pt x="61" y="37"/>
                      <a:pt x="60" y="35"/>
                      <a:pt x="62" y="34"/>
                    </a:cubicBezTo>
                    <a:cubicBezTo>
                      <a:pt x="64" y="33"/>
                      <a:pt x="65" y="34"/>
                      <a:pt x="63" y="32"/>
                    </a:cubicBezTo>
                    <a:cubicBezTo>
                      <a:pt x="61" y="31"/>
                      <a:pt x="59" y="29"/>
                      <a:pt x="57" y="28"/>
                    </a:cubicBezTo>
                    <a:cubicBezTo>
                      <a:pt x="56" y="28"/>
                      <a:pt x="55" y="26"/>
                      <a:pt x="53" y="26"/>
                    </a:cubicBezTo>
                    <a:cubicBezTo>
                      <a:pt x="53" y="26"/>
                      <a:pt x="53" y="23"/>
                      <a:pt x="52" y="22"/>
                    </a:cubicBezTo>
                    <a:cubicBezTo>
                      <a:pt x="47" y="17"/>
                      <a:pt x="57" y="23"/>
                      <a:pt x="57" y="19"/>
                    </a:cubicBezTo>
                    <a:cubicBezTo>
                      <a:pt x="57" y="17"/>
                      <a:pt x="56" y="17"/>
                      <a:pt x="54" y="15"/>
                    </a:cubicBezTo>
                    <a:cubicBezTo>
                      <a:pt x="53" y="14"/>
                      <a:pt x="53" y="13"/>
                      <a:pt x="55" y="12"/>
                    </a:cubicBezTo>
                    <a:cubicBezTo>
                      <a:pt x="57" y="12"/>
                      <a:pt x="56" y="9"/>
                      <a:pt x="58" y="8"/>
                    </a:cubicBezTo>
                    <a:cubicBezTo>
                      <a:pt x="59" y="7"/>
                      <a:pt x="61" y="6"/>
                      <a:pt x="60" y="4"/>
                    </a:cubicBezTo>
                    <a:cubicBezTo>
                      <a:pt x="58" y="1"/>
                      <a:pt x="53" y="0"/>
                      <a:pt x="50" y="2"/>
                    </a:cubicBezTo>
                    <a:cubicBezTo>
                      <a:pt x="49" y="3"/>
                      <a:pt x="49" y="3"/>
                      <a:pt x="47" y="4"/>
                    </a:cubicBezTo>
                    <a:cubicBezTo>
                      <a:pt x="46" y="4"/>
                      <a:pt x="46" y="6"/>
                      <a:pt x="45" y="7"/>
                    </a:cubicBezTo>
                    <a:cubicBezTo>
                      <a:pt x="43" y="8"/>
                      <a:pt x="41" y="7"/>
                      <a:pt x="40" y="8"/>
                    </a:cubicBezTo>
                    <a:cubicBezTo>
                      <a:pt x="39" y="9"/>
                      <a:pt x="37" y="9"/>
                      <a:pt x="35" y="8"/>
                    </a:cubicBezTo>
                    <a:cubicBezTo>
                      <a:pt x="33" y="8"/>
                      <a:pt x="32" y="7"/>
                      <a:pt x="30" y="8"/>
                    </a:cubicBezTo>
                    <a:cubicBezTo>
                      <a:pt x="28" y="8"/>
                      <a:pt x="29" y="11"/>
                      <a:pt x="30" y="12"/>
                    </a:cubicBezTo>
                    <a:cubicBezTo>
                      <a:pt x="30" y="14"/>
                      <a:pt x="30" y="16"/>
                      <a:pt x="30" y="17"/>
                    </a:cubicBezTo>
                    <a:cubicBezTo>
                      <a:pt x="31" y="19"/>
                      <a:pt x="33" y="19"/>
                      <a:pt x="35" y="20"/>
                    </a:cubicBezTo>
                    <a:cubicBezTo>
                      <a:pt x="36" y="22"/>
                      <a:pt x="34" y="22"/>
                      <a:pt x="33" y="22"/>
                    </a:cubicBezTo>
                    <a:cubicBezTo>
                      <a:pt x="32" y="24"/>
                      <a:pt x="33" y="26"/>
                      <a:pt x="33" y="28"/>
                    </a:cubicBezTo>
                    <a:cubicBezTo>
                      <a:pt x="33" y="29"/>
                      <a:pt x="31" y="29"/>
                      <a:pt x="31" y="29"/>
                    </a:cubicBezTo>
                    <a:cubicBezTo>
                      <a:pt x="29" y="30"/>
                      <a:pt x="31" y="33"/>
                      <a:pt x="29" y="33"/>
                    </a:cubicBezTo>
                    <a:cubicBezTo>
                      <a:pt x="27" y="34"/>
                      <a:pt x="26" y="35"/>
                      <a:pt x="26" y="36"/>
                    </a:cubicBezTo>
                    <a:cubicBezTo>
                      <a:pt x="25" y="38"/>
                      <a:pt x="24" y="38"/>
                      <a:pt x="22" y="39"/>
                    </a:cubicBezTo>
                    <a:cubicBezTo>
                      <a:pt x="20" y="40"/>
                      <a:pt x="20" y="43"/>
                      <a:pt x="19" y="44"/>
                    </a:cubicBezTo>
                    <a:cubicBezTo>
                      <a:pt x="18" y="46"/>
                      <a:pt x="16" y="45"/>
                      <a:pt x="15" y="47"/>
                    </a:cubicBezTo>
                    <a:cubicBezTo>
                      <a:pt x="13" y="48"/>
                      <a:pt x="12" y="44"/>
                      <a:pt x="11" y="46"/>
                    </a:cubicBezTo>
                    <a:cubicBezTo>
                      <a:pt x="10" y="47"/>
                      <a:pt x="6" y="49"/>
                      <a:pt x="7" y="50"/>
                    </a:cubicBezTo>
                    <a:cubicBezTo>
                      <a:pt x="7" y="52"/>
                      <a:pt x="10" y="52"/>
                      <a:pt x="10" y="54"/>
                    </a:cubicBezTo>
                    <a:cubicBezTo>
                      <a:pt x="9" y="57"/>
                      <a:pt x="11" y="57"/>
                      <a:pt x="13" y="58"/>
                    </a:cubicBezTo>
                    <a:cubicBezTo>
                      <a:pt x="13" y="60"/>
                      <a:pt x="14" y="62"/>
                      <a:pt x="14" y="64"/>
                    </a:cubicBezTo>
                    <a:cubicBezTo>
                      <a:pt x="14" y="64"/>
                      <a:pt x="11" y="64"/>
                      <a:pt x="10" y="64"/>
                    </a:cubicBezTo>
                    <a:cubicBezTo>
                      <a:pt x="9" y="64"/>
                      <a:pt x="8" y="65"/>
                      <a:pt x="7" y="65"/>
                    </a:cubicBezTo>
                    <a:cubicBezTo>
                      <a:pt x="7" y="65"/>
                      <a:pt x="6" y="64"/>
                      <a:pt x="5" y="64"/>
                    </a:cubicBezTo>
                    <a:cubicBezTo>
                      <a:pt x="4" y="64"/>
                      <a:pt x="0" y="66"/>
                      <a:pt x="0" y="67"/>
                    </a:cubicBezTo>
                    <a:cubicBezTo>
                      <a:pt x="2" y="69"/>
                      <a:pt x="3" y="70"/>
                      <a:pt x="5" y="72"/>
                    </a:cubicBezTo>
                    <a:cubicBezTo>
                      <a:pt x="5" y="72"/>
                      <a:pt x="11" y="72"/>
                      <a:pt x="11" y="72"/>
                    </a:cubicBezTo>
                    <a:cubicBezTo>
                      <a:pt x="11" y="73"/>
                      <a:pt x="9" y="74"/>
                      <a:pt x="8" y="74"/>
                    </a:cubicBezTo>
                    <a:cubicBezTo>
                      <a:pt x="7" y="75"/>
                      <a:pt x="4" y="73"/>
                      <a:pt x="4" y="75"/>
                    </a:cubicBezTo>
                    <a:cubicBezTo>
                      <a:pt x="4" y="77"/>
                      <a:pt x="9" y="80"/>
                      <a:pt x="11" y="82"/>
                    </a:cubicBezTo>
                    <a:cubicBezTo>
                      <a:pt x="12" y="83"/>
                      <a:pt x="13" y="83"/>
                      <a:pt x="15" y="83"/>
                    </a:cubicBezTo>
                    <a:cubicBezTo>
                      <a:pt x="17" y="82"/>
                      <a:pt x="20" y="81"/>
                      <a:pt x="21" y="79"/>
                    </a:cubicBezTo>
                    <a:cubicBezTo>
                      <a:pt x="21" y="79"/>
                      <a:pt x="20" y="78"/>
                      <a:pt x="19" y="78"/>
                    </a:cubicBezTo>
                    <a:cubicBezTo>
                      <a:pt x="19" y="77"/>
                      <a:pt x="20" y="77"/>
                      <a:pt x="20" y="77"/>
                    </a:cubicBezTo>
                    <a:cubicBezTo>
                      <a:pt x="21" y="76"/>
                      <a:pt x="20" y="75"/>
                      <a:pt x="21" y="75"/>
                    </a:cubicBezTo>
                    <a:cubicBezTo>
                      <a:pt x="21" y="75"/>
                      <a:pt x="23" y="75"/>
                      <a:pt x="23" y="75"/>
                    </a:cubicBezTo>
                    <a:cubicBezTo>
                      <a:pt x="23" y="76"/>
                      <a:pt x="21" y="76"/>
                      <a:pt x="22" y="77"/>
                    </a:cubicBezTo>
                    <a:cubicBezTo>
                      <a:pt x="22" y="77"/>
                      <a:pt x="23" y="77"/>
                      <a:pt x="23" y="77"/>
                    </a:cubicBezTo>
                    <a:cubicBezTo>
                      <a:pt x="23" y="78"/>
                      <a:pt x="22" y="78"/>
                      <a:pt x="22" y="78"/>
                    </a:cubicBezTo>
                    <a:cubicBezTo>
                      <a:pt x="21" y="78"/>
                      <a:pt x="23" y="78"/>
                      <a:pt x="23" y="78"/>
                    </a:cubicBezTo>
                    <a:cubicBezTo>
                      <a:pt x="23" y="79"/>
                      <a:pt x="22" y="79"/>
                      <a:pt x="22" y="80"/>
                    </a:cubicBezTo>
                    <a:cubicBezTo>
                      <a:pt x="21" y="80"/>
                      <a:pt x="23" y="81"/>
                      <a:pt x="24" y="82"/>
                    </a:cubicBezTo>
                    <a:cubicBezTo>
                      <a:pt x="25" y="83"/>
                      <a:pt x="23" y="85"/>
                      <a:pt x="22" y="87"/>
                    </a:cubicBezTo>
                    <a:cubicBezTo>
                      <a:pt x="22" y="88"/>
                      <a:pt x="23" y="89"/>
                      <a:pt x="24" y="90"/>
                    </a:cubicBezTo>
                    <a:cubicBezTo>
                      <a:pt x="24" y="92"/>
                      <a:pt x="24" y="93"/>
                      <a:pt x="24" y="95"/>
                    </a:cubicBezTo>
                    <a:cubicBezTo>
                      <a:pt x="24" y="97"/>
                      <a:pt x="23" y="100"/>
                      <a:pt x="23" y="101"/>
                    </a:cubicBezTo>
                    <a:cubicBezTo>
                      <a:pt x="23" y="101"/>
                      <a:pt x="24" y="99"/>
                      <a:pt x="24" y="99"/>
                    </a:cubicBezTo>
                    <a:cubicBezTo>
                      <a:pt x="25" y="100"/>
                      <a:pt x="26" y="106"/>
                      <a:pt x="26" y="107"/>
                    </a:cubicBezTo>
                    <a:cubicBezTo>
                      <a:pt x="27" y="109"/>
                      <a:pt x="29" y="112"/>
                      <a:pt x="30" y="115"/>
                    </a:cubicBezTo>
                    <a:cubicBezTo>
                      <a:pt x="31" y="118"/>
                      <a:pt x="31" y="121"/>
                      <a:pt x="32" y="124"/>
                    </a:cubicBezTo>
                    <a:cubicBezTo>
                      <a:pt x="34" y="128"/>
                      <a:pt x="37" y="131"/>
                      <a:pt x="39" y="134"/>
                    </a:cubicBezTo>
                    <a:cubicBezTo>
                      <a:pt x="40" y="137"/>
                      <a:pt x="40" y="140"/>
                      <a:pt x="41" y="143"/>
                    </a:cubicBezTo>
                    <a:cubicBezTo>
                      <a:pt x="43" y="146"/>
                      <a:pt x="45" y="149"/>
                      <a:pt x="48" y="146"/>
                    </a:cubicBezTo>
                    <a:cubicBezTo>
                      <a:pt x="50" y="145"/>
                      <a:pt x="50" y="144"/>
                      <a:pt x="50" y="143"/>
                    </a:cubicBezTo>
                    <a:cubicBezTo>
                      <a:pt x="50" y="141"/>
                      <a:pt x="52" y="140"/>
                      <a:pt x="53" y="139"/>
                    </a:cubicBezTo>
                    <a:cubicBezTo>
                      <a:pt x="54" y="138"/>
                      <a:pt x="56" y="138"/>
                      <a:pt x="57" y="137"/>
                    </a:cubicBezTo>
                    <a:cubicBezTo>
                      <a:pt x="58" y="136"/>
                      <a:pt x="57" y="133"/>
                      <a:pt x="57" y="132"/>
                    </a:cubicBezTo>
                    <a:cubicBezTo>
                      <a:pt x="56" y="128"/>
                      <a:pt x="61" y="125"/>
                      <a:pt x="60" y="122"/>
                    </a:cubicBezTo>
                    <a:cubicBezTo>
                      <a:pt x="59" y="119"/>
                      <a:pt x="58" y="116"/>
                      <a:pt x="58" y="113"/>
                    </a:cubicBezTo>
                    <a:cubicBezTo>
                      <a:pt x="58" y="109"/>
                      <a:pt x="62" y="108"/>
                      <a:pt x="65" y="107"/>
                    </a:cubicBezTo>
                    <a:cubicBezTo>
                      <a:pt x="66" y="106"/>
                      <a:pt x="69" y="106"/>
                      <a:pt x="69" y="105"/>
                    </a:cubicBezTo>
                    <a:cubicBezTo>
                      <a:pt x="70" y="103"/>
                      <a:pt x="71" y="102"/>
                      <a:pt x="72" y="101"/>
                    </a:cubicBezTo>
                    <a:cubicBezTo>
                      <a:pt x="75" y="98"/>
                      <a:pt x="78" y="95"/>
                      <a:pt x="81" y="93"/>
                    </a:cubicBezTo>
                    <a:cubicBezTo>
                      <a:pt x="82" y="92"/>
                      <a:pt x="83" y="90"/>
                      <a:pt x="84" y="89"/>
                    </a:cubicBezTo>
                    <a:cubicBezTo>
                      <a:pt x="85" y="88"/>
                      <a:pt x="87" y="88"/>
                      <a:pt x="88" y="87"/>
                    </a:cubicBezTo>
                    <a:cubicBezTo>
                      <a:pt x="89" y="86"/>
                      <a:pt x="90" y="85"/>
                      <a:pt x="91" y="84"/>
                    </a:cubicBezTo>
                    <a:cubicBezTo>
                      <a:pt x="92" y="83"/>
                      <a:pt x="90" y="82"/>
                      <a:pt x="90" y="81"/>
                    </a:cubicBezTo>
                    <a:cubicBezTo>
                      <a:pt x="91" y="79"/>
                      <a:pt x="94" y="79"/>
                      <a:pt x="95" y="78"/>
                    </a:cubicBezTo>
                    <a:cubicBezTo>
                      <a:pt x="96" y="78"/>
                      <a:pt x="98" y="75"/>
                      <a:pt x="98" y="74"/>
                    </a:cubicBezTo>
                    <a:cubicBezTo>
                      <a:pt x="98" y="76"/>
                      <a:pt x="96" y="76"/>
                      <a:pt x="97" y="78"/>
                    </a:cubicBezTo>
                    <a:cubicBezTo>
                      <a:pt x="99" y="79"/>
                      <a:pt x="100" y="76"/>
                      <a:pt x="100" y="76"/>
                    </a:cubicBezTo>
                    <a:cubicBezTo>
                      <a:pt x="101" y="77"/>
                      <a:pt x="100" y="78"/>
                      <a:pt x="101" y="78"/>
                    </a:cubicBezTo>
                    <a:cubicBezTo>
                      <a:pt x="102" y="75"/>
                      <a:pt x="101" y="72"/>
                      <a:pt x="99" y="69"/>
                    </a:cubicBezTo>
                    <a:cubicBezTo>
                      <a:pt x="98" y="67"/>
                      <a:pt x="96" y="65"/>
                      <a:pt x="97" y="62"/>
                    </a:cubicBezTo>
                    <a:cubicBezTo>
                      <a:pt x="98" y="59"/>
                      <a:pt x="103" y="61"/>
                      <a:pt x="100" y="58"/>
                    </a:cubicBezTo>
                    <a:cubicBezTo>
                      <a:pt x="99" y="57"/>
                      <a:pt x="97" y="56"/>
                      <a:pt x="98" y="54"/>
                    </a:cubicBezTo>
                    <a:cubicBezTo>
                      <a:pt x="99" y="53"/>
                      <a:pt x="100" y="54"/>
                      <a:pt x="102" y="55"/>
                    </a:cubicBezTo>
                    <a:cubicBezTo>
                      <a:pt x="103" y="56"/>
                      <a:pt x="104" y="55"/>
                      <a:pt x="104" y="57"/>
                    </a:cubicBezTo>
                    <a:cubicBezTo>
                      <a:pt x="104" y="58"/>
                      <a:pt x="104" y="59"/>
                      <a:pt x="106" y="60"/>
                    </a:cubicBezTo>
                    <a:cubicBezTo>
                      <a:pt x="107" y="60"/>
                      <a:pt x="109" y="60"/>
                      <a:pt x="110" y="60"/>
                    </a:cubicBezTo>
                    <a:cubicBezTo>
                      <a:pt x="111" y="60"/>
                      <a:pt x="113" y="61"/>
                      <a:pt x="114" y="60"/>
                    </a:cubicBezTo>
                    <a:cubicBezTo>
                      <a:pt x="119" y="59"/>
                      <a:pt x="115" y="65"/>
                      <a:pt x="113" y="66"/>
                    </a:cubicBezTo>
                    <a:cubicBezTo>
                      <a:pt x="110" y="66"/>
                      <a:pt x="112" y="70"/>
                      <a:pt x="112" y="71"/>
                    </a:cubicBezTo>
                    <a:cubicBezTo>
                      <a:pt x="113" y="71"/>
                      <a:pt x="115" y="67"/>
                      <a:pt x="115" y="68"/>
                    </a:cubicBezTo>
                    <a:cubicBezTo>
                      <a:pt x="115" y="71"/>
                      <a:pt x="117" y="74"/>
                      <a:pt x="117" y="7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0" name="Freeform 702">
                <a:extLst>
                  <a:ext uri="{FF2B5EF4-FFF2-40B4-BE49-F238E27FC236}">
                    <a16:creationId xmlns:a16="http://schemas.microsoft.com/office/drawing/2014/main" id="{C2A00494-1BE9-4279-9303-33F1AD302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5232" y="3834827"/>
                <a:ext cx="191132" cy="458718"/>
              </a:xfrm>
              <a:custGeom>
                <a:avLst/>
                <a:gdLst>
                  <a:gd name="T0" fmla="*/ 37 w 41"/>
                  <a:gd name="T1" fmla="*/ 37 h 98"/>
                  <a:gd name="T2" fmla="*/ 34 w 41"/>
                  <a:gd name="T3" fmla="*/ 35 h 98"/>
                  <a:gd name="T4" fmla="*/ 31 w 41"/>
                  <a:gd name="T5" fmla="*/ 29 h 98"/>
                  <a:gd name="T6" fmla="*/ 32 w 41"/>
                  <a:gd name="T7" fmla="*/ 25 h 98"/>
                  <a:gd name="T8" fmla="*/ 25 w 41"/>
                  <a:gd name="T9" fmla="*/ 22 h 98"/>
                  <a:gd name="T10" fmla="*/ 30 w 41"/>
                  <a:gd name="T11" fmla="*/ 10 h 98"/>
                  <a:gd name="T12" fmla="*/ 28 w 41"/>
                  <a:gd name="T13" fmla="*/ 6 h 98"/>
                  <a:gd name="T14" fmla="*/ 23 w 41"/>
                  <a:gd name="T15" fmla="*/ 2 h 98"/>
                  <a:gd name="T16" fmla="*/ 22 w 41"/>
                  <a:gd name="T17" fmla="*/ 9 h 98"/>
                  <a:gd name="T18" fmla="*/ 18 w 41"/>
                  <a:gd name="T19" fmla="*/ 9 h 98"/>
                  <a:gd name="T20" fmla="*/ 13 w 41"/>
                  <a:gd name="T21" fmla="*/ 15 h 98"/>
                  <a:gd name="T22" fmla="*/ 11 w 41"/>
                  <a:gd name="T23" fmla="*/ 21 h 98"/>
                  <a:gd name="T24" fmla="*/ 6 w 41"/>
                  <a:gd name="T25" fmla="*/ 25 h 98"/>
                  <a:gd name="T26" fmla="*/ 2 w 41"/>
                  <a:gd name="T27" fmla="*/ 35 h 98"/>
                  <a:gd name="T28" fmla="*/ 0 w 41"/>
                  <a:gd name="T29" fmla="*/ 40 h 98"/>
                  <a:gd name="T30" fmla="*/ 4 w 41"/>
                  <a:gd name="T31" fmla="*/ 44 h 98"/>
                  <a:gd name="T32" fmla="*/ 7 w 41"/>
                  <a:gd name="T33" fmla="*/ 52 h 98"/>
                  <a:gd name="T34" fmla="*/ 11 w 41"/>
                  <a:gd name="T35" fmla="*/ 58 h 98"/>
                  <a:gd name="T36" fmla="*/ 11 w 41"/>
                  <a:gd name="T37" fmla="*/ 64 h 98"/>
                  <a:gd name="T38" fmla="*/ 12 w 41"/>
                  <a:gd name="T39" fmla="*/ 66 h 98"/>
                  <a:gd name="T40" fmla="*/ 14 w 41"/>
                  <a:gd name="T41" fmla="*/ 66 h 98"/>
                  <a:gd name="T42" fmla="*/ 17 w 41"/>
                  <a:gd name="T43" fmla="*/ 65 h 98"/>
                  <a:gd name="T44" fmla="*/ 22 w 41"/>
                  <a:gd name="T45" fmla="*/ 64 h 98"/>
                  <a:gd name="T46" fmla="*/ 25 w 41"/>
                  <a:gd name="T47" fmla="*/ 72 h 98"/>
                  <a:gd name="T48" fmla="*/ 29 w 41"/>
                  <a:gd name="T49" fmla="*/ 80 h 98"/>
                  <a:gd name="T50" fmla="*/ 30 w 41"/>
                  <a:gd name="T51" fmla="*/ 85 h 98"/>
                  <a:gd name="T52" fmla="*/ 29 w 41"/>
                  <a:gd name="T53" fmla="*/ 88 h 98"/>
                  <a:gd name="T54" fmla="*/ 29 w 41"/>
                  <a:gd name="T55" fmla="*/ 98 h 98"/>
                  <a:gd name="T56" fmla="*/ 34 w 41"/>
                  <a:gd name="T57" fmla="*/ 85 h 98"/>
                  <a:gd name="T58" fmla="*/ 28 w 41"/>
                  <a:gd name="T59" fmla="*/ 71 h 98"/>
                  <a:gd name="T60" fmla="*/ 30 w 41"/>
                  <a:gd name="T61" fmla="*/ 65 h 98"/>
                  <a:gd name="T62" fmla="*/ 26 w 41"/>
                  <a:gd name="T63" fmla="*/ 49 h 98"/>
                  <a:gd name="T64" fmla="*/ 34 w 41"/>
                  <a:gd name="T65" fmla="*/ 44 h 98"/>
                  <a:gd name="T66" fmla="*/ 41 w 41"/>
                  <a:gd name="T67" fmla="*/ 3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1" h="98">
                    <a:moveTo>
                      <a:pt x="39" y="38"/>
                    </a:moveTo>
                    <a:cubicBezTo>
                      <a:pt x="38" y="38"/>
                      <a:pt x="37" y="39"/>
                      <a:pt x="37" y="37"/>
                    </a:cubicBezTo>
                    <a:cubicBezTo>
                      <a:pt x="37" y="37"/>
                      <a:pt x="37" y="36"/>
                      <a:pt x="37" y="36"/>
                    </a:cubicBezTo>
                    <a:cubicBezTo>
                      <a:pt x="37" y="35"/>
                      <a:pt x="34" y="35"/>
                      <a:pt x="34" y="35"/>
                    </a:cubicBezTo>
                    <a:cubicBezTo>
                      <a:pt x="33" y="34"/>
                      <a:pt x="34" y="32"/>
                      <a:pt x="34" y="31"/>
                    </a:cubicBezTo>
                    <a:cubicBezTo>
                      <a:pt x="35" y="29"/>
                      <a:pt x="32" y="30"/>
                      <a:pt x="31" y="29"/>
                    </a:cubicBezTo>
                    <a:cubicBezTo>
                      <a:pt x="31" y="28"/>
                      <a:pt x="30" y="28"/>
                      <a:pt x="30" y="27"/>
                    </a:cubicBezTo>
                    <a:cubicBezTo>
                      <a:pt x="30" y="26"/>
                      <a:pt x="32" y="25"/>
                      <a:pt x="32" y="25"/>
                    </a:cubicBezTo>
                    <a:cubicBezTo>
                      <a:pt x="31" y="23"/>
                      <a:pt x="25" y="26"/>
                      <a:pt x="24" y="25"/>
                    </a:cubicBezTo>
                    <a:cubicBezTo>
                      <a:pt x="24" y="25"/>
                      <a:pt x="25" y="23"/>
                      <a:pt x="25" y="22"/>
                    </a:cubicBezTo>
                    <a:cubicBezTo>
                      <a:pt x="24" y="21"/>
                      <a:pt x="27" y="19"/>
                      <a:pt x="27" y="18"/>
                    </a:cubicBezTo>
                    <a:cubicBezTo>
                      <a:pt x="29" y="15"/>
                      <a:pt x="31" y="13"/>
                      <a:pt x="30" y="10"/>
                    </a:cubicBezTo>
                    <a:cubicBezTo>
                      <a:pt x="30" y="9"/>
                      <a:pt x="31" y="8"/>
                      <a:pt x="31" y="7"/>
                    </a:cubicBezTo>
                    <a:cubicBezTo>
                      <a:pt x="31" y="5"/>
                      <a:pt x="29" y="7"/>
                      <a:pt x="28" y="6"/>
                    </a:cubicBezTo>
                    <a:cubicBezTo>
                      <a:pt x="28" y="4"/>
                      <a:pt x="27" y="3"/>
                      <a:pt x="27" y="2"/>
                    </a:cubicBezTo>
                    <a:cubicBezTo>
                      <a:pt x="25" y="0"/>
                      <a:pt x="25" y="3"/>
                      <a:pt x="23" y="2"/>
                    </a:cubicBezTo>
                    <a:cubicBezTo>
                      <a:pt x="24" y="4"/>
                      <a:pt x="22" y="4"/>
                      <a:pt x="22" y="5"/>
                    </a:cubicBezTo>
                    <a:cubicBezTo>
                      <a:pt x="22" y="5"/>
                      <a:pt x="22" y="9"/>
                      <a:pt x="22" y="9"/>
                    </a:cubicBezTo>
                    <a:cubicBezTo>
                      <a:pt x="21" y="9"/>
                      <a:pt x="21" y="7"/>
                      <a:pt x="21" y="7"/>
                    </a:cubicBezTo>
                    <a:cubicBezTo>
                      <a:pt x="19" y="7"/>
                      <a:pt x="18" y="8"/>
                      <a:pt x="18" y="9"/>
                    </a:cubicBezTo>
                    <a:cubicBezTo>
                      <a:pt x="17" y="10"/>
                      <a:pt x="15" y="10"/>
                      <a:pt x="14" y="11"/>
                    </a:cubicBezTo>
                    <a:cubicBezTo>
                      <a:pt x="13" y="12"/>
                      <a:pt x="14" y="14"/>
                      <a:pt x="13" y="15"/>
                    </a:cubicBezTo>
                    <a:cubicBezTo>
                      <a:pt x="13" y="16"/>
                      <a:pt x="12" y="17"/>
                      <a:pt x="11" y="18"/>
                    </a:cubicBezTo>
                    <a:cubicBezTo>
                      <a:pt x="11" y="19"/>
                      <a:pt x="11" y="20"/>
                      <a:pt x="11" y="21"/>
                    </a:cubicBezTo>
                    <a:cubicBezTo>
                      <a:pt x="11" y="23"/>
                      <a:pt x="10" y="25"/>
                      <a:pt x="9" y="25"/>
                    </a:cubicBezTo>
                    <a:cubicBezTo>
                      <a:pt x="8" y="25"/>
                      <a:pt x="7" y="25"/>
                      <a:pt x="6" y="25"/>
                    </a:cubicBezTo>
                    <a:cubicBezTo>
                      <a:pt x="5" y="27"/>
                      <a:pt x="6" y="35"/>
                      <a:pt x="4" y="35"/>
                    </a:cubicBezTo>
                    <a:cubicBezTo>
                      <a:pt x="4" y="35"/>
                      <a:pt x="2" y="35"/>
                      <a:pt x="2" y="35"/>
                    </a:cubicBezTo>
                    <a:cubicBezTo>
                      <a:pt x="2" y="36"/>
                      <a:pt x="2" y="37"/>
                      <a:pt x="2" y="37"/>
                    </a:cubicBezTo>
                    <a:cubicBezTo>
                      <a:pt x="2" y="38"/>
                      <a:pt x="1" y="39"/>
                      <a:pt x="0" y="40"/>
                    </a:cubicBezTo>
                    <a:cubicBezTo>
                      <a:pt x="0" y="41"/>
                      <a:pt x="4" y="46"/>
                      <a:pt x="5" y="47"/>
                    </a:cubicBezTo>
                    <a:cubicBezTo>
                      <a:pt x="5" y="47"/>
                      <a:pt x="4" y="44"/>
                      <a:pt x="4" y="44"/>
                    </a:cubicBezTo>
                    <a:cubicBezTo>
                      <a:pt x="4" y="44"/>
                      <a:pt x="7" y="48"/>
                      <a:pt x="7" y="48"/>
                    </a:cubicBezTo>
                    <a:cubicBezTo>
                      <a:pt x="8" y="50"/>
                      <a:pt x="6" y="50"/>
                      <a:pt x="7" y="52"/>
                    </a:cubicBezTo>
                    <a:cubicBezTo>
                      <a:pt x="6" y="51"/>
                      <a:pt x="8" y="51"/>
                      <a:pt x="9" y="52"/>
                    </a:cubicBezTo>
                    <a:cubicBezTo>
                      <a:pt x="10" y="54"/>
                      <a:pt x="11" y="56"/>
                      <a:pt x="11" y="58"/>
                    </a:cubicBezTo>
                    <a:cubicBezTo>
                      <a:pt x="11" y="58"/>
                      <a:pt x="10" y="67"/>
                      <a:pt x="10" y="67"/>
                    </a:cubicBezTo>
                    <a:cubicBezTo>
                      <a:pt x="11" y="67"/>
                      <a:pt x="11" y="64"/>
                      <a:pt x="11" y="64"/>
                    </a:cubicBezTo>
                    <a:cubicBezTo>
                      <a:pt x="11" y="64"/>
                      <a:pt x="11" y="67"/>
                      <a:pt x="11" y="67"/>
                    </a:cubicBezTo>
                    <a:cubicBezTo>
                      <a:pt x="11" y="67"/>
                      <a:pt x="12" y="66"/>
                      <a:pt x="12" y="66"/>
                    </a:cubicBezTo>
                    <a:cubicBezTo>
                      <a:pt x="12" y="66"/>
                      <a:pt x="12" y="68"/>
                      <a:pt x="12" y="68"/>
                    </a:cubicBezTo>
                    <a:cubicBezTo>
                      <a:pt x="13" y="68"/>
                      <a:pt x="13" y="66"/>
                      <a:pt x="14" y="66"/>
                    </a:cubicBezTo>
                    <a:cubicBezTo>
                      <a:pt x="14" y="66"/>
                      <a:pt x="14" y="67"/>
                      <a:pt x="14" y="67"/>
                    </a:cubicBezTo>
                    <a:cubicBezTo>
                      <a:pt x="14" y="67"/>
                      <a:pt x="17" y="66"/>
                      <a:pt x="17" y="65"/>
                    </a:cubicBezTo>
                    <a:cubicBezTo>
                      <a:pt x="18" y="65"/>
                      <a:pt x="23" y="62"/>
                      <a:pt x="21" y="61"/>
                    </a:cubicBezTo>
                    <a:cubicBezTo>
                      <a:pt x="22" y="61"/>
                      <a:pt x="21" y="63"/>
                      <a:pt x="22" y="64"/>
                    </a:cubicBezTo>
                    <a:cubicBezTo>
                      <a:pt x="23" y="64"/>
                      <a:pt x="24" y="64"/>
                      <a:pt x="24" y="65"/>
                    </a:cubicBezTo>
                    <a:cubicBezTo>
                      <a:pt x="25" y="67"/>
                      <a:pt x="25" y="70"/>
                      <a:pt x="25" y="72"/>
                    </a:cubicBezTo>
                    <a:cubicBezTo>
                      <a:pt x="26" y="75"/>
                      <a:pt x="26" y="77"/>
                      <a:pt x="28" y="79"/>
                    </a:cubicBezTo>
                    <a:cubicBezTo>
                      <a:pt x="28" y="79"/>
                      <a:pt x="29" y="80"/>
                      <a:pt x="29" y="80"/>
                    </a:cubicBezTo>
                    <a:cubicBezTo>
                      <a:pt x="29" y="82"/>
                      <a:pt x="30" y="82"/>
                      <a:pt x="30" y="82"/>
                    </a:cubicBezTo>
                    <a:cubicBezTo>
                      <a:pt x="31" y="83"/>
                      <a:pt x="29" y="85"/>
                      <a:pt x="30" y="85"/>
                    </a:cubicBezTo>
                    <a:cubicBezTo>
                      <a:pt x="30" y="85"/>
                      <a:pt x="30" y="85"/>
                      <a:pt x="31" y="85"/>
                    </a:cubicBezTo>
                    <a:cubicBezTo>
                      <a:pt x="31" y="86"/>
                      <a:pt x="29" y="87"/>
                      <a:pt x="29" y="88"/>
                    </a:cubicBezTo>
                    <a:cubicBezTo>
                      <a:pt x="29" y="90"/>
                      <a:pt x="30" y="88"/>
                      <a:pt x="31" y="89"/>
                    </a:cubicBezTo>
                    <a:cubicBezTo>
                      <a:pt x="31" y="89"/>
                      <a:pt x="29" y="97"/>
                      <a:pt x="29" y="98"/>
                    </a:cubicBezTo>
                    <a:cubicBezTo>
                      <a:pt x="31" y="96"/>
                      <a:pt x="32" y="92"/>
                      <a:pt x="33" y="90"/>
                    </a:cubicBezTo>
                    <a:cubicBezTo>
                      <a:pt x="34" y="88"/>
                      <a:pt x="35" y="87"/>
                      <a:pt x="34" y="85"/>
                    </a:cubicBezTo>
                    <a:cubicBezTo>
                      <a:pt x="33" y="83"/>
                      <a:pt x="33" y="82"/>
                      <a:pt x="33" y="80"/>
                    </a:cubicBezTo>
                    <a:cubicBezTo>
                      <a:pt x="32" y="78"/>
                      <a:pt x="27" y="74"/>
                      <a:pt x="28" y="71"/>
                    </a:cubicBezTo>
                    <a:cubicBezTo>
                      <a:pt x="28" y="71"/>
                      <a:pt x="30" y="70"/>
                      <a:pt x="30" y="69"/>
                    </a:cubicBezTo>
                    <a:cubicBezTo>
                      <a:pt x="29" y="67"/>
                      <a:pt x="30" y="67"/>
                      <a:pt x="30" y="65"/>
                    </a:cubicBezTo>
                    <a:cubicBezTo>
                      <a:pt x="31" y="62"/>
                      <a:pt x="27" y="60"/>
                      <a:pt x="26" y="58"/>
                    </a:cubicBezTo>
                    <a:cubicBezTo>
                      <a:pt x="23" y="56"/>
                      <a:pt x="25" y="52"/>
                      <a:pt x="26" y="49"/>
                    </a:cubicBezTo>
                    <a:cubicBezTo>
                      <a:pt x="26" y="47"/>
                      <a:pt x="27" y="47"/>
                      <a:pt x="29" y="47"/>
                    </a:cubicBezTo>
                    <a:cubicBezTo>
                      <a:pt x="31" y="47"/>
                      <a:pt x="33" y="45"/>
                      <a:pt x="34" y="44"/>
                    </a:cubicBezTo>
                    <a:cubicBezTo>
                      <a:pt x="36" y="43"/>
                      <a:pt x="37" y="44"/>
                      <a:pt x="39" y="42"/>
                    </a:cubicBezTo>
                    <a:cubicBezTo>
                      <a:pt x="40" y="40"/>
                      <a:pt x="41" y="39"/>
                      <a:pt x="41" y="38"/>
                    </a:cubicBezTo>
                    <a:cubicBezTo>
                      <a:pt x="41" y="38"/>
                      <a:pt x="40" y="38"/>
                      <a:pt x="39" y="3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1" name="Freeform 703">
                <a:extLst>
                  <a:ext uri="{FF2B5EF4-FFF2-40B4-BE49-F238E27FC236}">
                    <a16:creationId xmlns:a16="http://schemas.microsoft.com/office/drawing/2014/main" id="{37C63FE8-156B-44DA-8235-925922625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6036" y="3890573"/>
                <a:ext cx="106717" cy="130608"/>
              </a:xfrm>
              <a:custGeom>
                <a:avLst/>
                <a:gdLst>
                  <a:gd name="T0" fmla="*/ 21 w 23"/>
                  <a:gd name="T1" fmla="*/ 26 h 28"/>
                  <a:gd name="T2" fmla="*/ 20 w 23"/>
                  <a:gd name="T3" fmla="*/ 17 h 28"/>
                  <a:gd name="T4" fmla="*/ 18 w 23"/>
                  <a:gd name="T5" fmla="*/ 16 h 28"/>
                  <a:gd name="T6" fmla="*/ 16 w 23"/>
                  <a:gd name="T7" fmla="*/ 18 h 28"/>
                  <a:gd name="T8" fmla="*/ 17 w 23"/>
                  <a:gd name="T9" fmla="*/ 13 h 28"/>
                  <a:gd name="T10" fmla="*/ 18 w 23"/>
                  <a:gd name="T11" fmla="*/ 7 h 28"/>
                  <a:gd name="T12" fmla="*/ 14 w 23"/>
                  <a:gd name="T13" fmla="*/ 7 h 28"/>
                  <a:gd name="T14" fmla="*/ 10 w 23"/>
                  <a:gd name="T15" fmla="*/ 7 h 28"/>
                  <a:gd name="T16" fmla="*/ 8 w 23"/>
                  <a:gd name="T17" fmla="*/ 4 h 28"/>
                  <a:gd name="T18" fmla="*/ 6 w 23"/>
                  <a:gd name="T19" fmla="*/ 2 h 28"/>
                  <a:gd name="T20" fmla="*/ 2 w 23"/>
                  <a:gd name="T21" fmla="*/ 1 h 28"/>
                  <a:gd name="T22" fmla="*/ 4 w 23"/>
                  <a:gd name="T23" fmla="*/ 5 h 28"/>
                  <a:gd name="T24" fmla="*/ 1 w 23"/>
                  <a:gd name="T25" fmla="*/ 9 h 28"/>
                  <a:gd name="T26" fmla="*/ 3 w 23"/>
                  <a:gd name="T27" fmla="*/ 16 h 28"/>
                  <a:gd name="T28" fmla="*/ 5 w 23"/>
                  <a:gd name="T29" fmla="*/ 25 h 28"/>
                  <a:gd name="T30" fmla="*/ 6 w 23"/>
                  <a:gd name="T31" fmla="*/ 22 h 28"/>
                  <a:gd name="T32" fmla="*/ 7 w 23"/>
                  <a:gd name="T33" fmla="*/ 24 h 28"/>
                  <a:gd name="T34" fmla="*/ 7 w 23"/>
                  <a:gd name="T35" fmla="*/ 23 h 28"/>
                  <a:gd name="T36" fmla="*/ 8 w 23"/>
                  <a:gd name="T37" fmla="*/ 21 h 28"/>
                  <a:gd name="T38" fmla="*/ 13 w 23"/>
                  <a:gd name="T39" fmla="*/ 22 h 28"/>
                  <a:gd name="T40" fmla="*/ 11 w 23"/>
                  <a:gd name="T41" fmla="*/ 16 h 28"/>
                  <a:gd name="T42" fmla="*/ 13 w 23"/>
                  <a:gd name="T43" fmla="*/ 19 h 28"/>
                  <a:gd name="T44" fmla="*/ 17 w 23"/>
                  <a:gd name="T45" fmla="*/ 20 h 28"/>
                  <a:gd name="T46" fmla="*/ 18 w 23"/>
                  <a:gd name="T47" fmla="*/ 22 h 28"/>
                  <a:gd name="T48" fmla="*/ 19 w 23"/>
                  <a:gd name="T49" fmla="*/ 28 h 28"/>
                  <a:gd name="T50" fmla="*/ 21 w 23"/>
                  <a:gd name="T51" fmla="*/ 26 h 28"/>
                  <a:gd name="T52" fmla="*/ 21 w 23"/>
                  <a:gd name="T53" fmla="*/ 2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" h="28">
                    <a:moveTo>
                      <a:pt x="21" y="26"/>
                    </a:moveTo>
                    <a:cubicBezTo>
                      <a:pt x="22" y="24"/>
                      <a:pt x="20" y="19"/>
                      <a:pt x="20" y="17"/>
                    </a:cubicBezTo>
                    <a:cubicBezTo>
                      <a:pt x="20" y="17"/>
                      <a:pt x="19" y="13"/>
                      <a:pt x="18" y="16"/>
                    </a:cubicBezTo>
                    <a:cubicBezTo>
                      <a:pt x="18" y="16"/>
                      <a:pt x="17" y="17"/>
                      <a:pt x="16" y="18"/>
                    </a:cubicBezTo>
                    <a:cubicBezTo>
                      <a:pt x="16" y="17"/>
                      <a:pt x="14" y="13"/>
                      <a:pt x="17" y="13"/>
                    </a:cubicBezTo>
                    <a:cubicBezTo>
                      <a:pt x="19" y="12"/>
                      <a:pt x="23" y="6"/>
                      <a:pt x="18" y="7"/>
                    </a:cubicBezTo>
                    <a:cubicBezTo>
                      <a:pt x="17" y="8"/>
                      <a:pt x="15" y="7"/>
                      <a:pt x="14" y="7"/>
                    </a:cubicBezTo>
                    <a:cubicBezTo>
                      <a:pt x="13" y="7"/>
                      <a:pt x="11" y="7"/>
                      <a:pt x="10" y="7"/>
                    </a:cubicBezTo>
                    <a:cubicBezTo>
                      <a:pt x="8" y="6"/>
                      <a:pt x="8" y="5"/>
                      <a:pt x="8" y="4"/>
                    </a:cubicBezTo>
                    <a:cubicBezTo>
                      <a:pt x="8" y="2"/>
                      <a:pt x="7" y="3"/>
                      <a:pt x="6" y="2"/>
                    </a:cubicBezTo>
                    <a:cubicBezTo>
                      <a:pt x="4" y="1"/>
                      <a:pt x="3" y="0"/>
                      <a:pt x="2" y="1"/>
                    </a:cubicBezTo>
                    <a:cubicBezTo>
                      <a:pt x="1" y="3"/>
                      <a:pt x="3" y="4"/>
                      <a:pt x="4" y="5"/>
                    </a:cubicBezTo>
                    <a:cubicBezTo>
                      <a:pt x="7" y="8"/>
                      <a:pt x="2" y="6"/>
                      <a:pt x="1" y="9"/>
                    </a:cubicBezTo>
                    <a:cubicBezTo>
                      <a:pt x="0" y="12"/>
                      <a:pt x="2" y="14"/>
                      <a:pt x="3" y="16"/>
                    </a:cubicBezTo>
                    <a:cubicBezTo>
                      <a:pt x="5" y="19"/>
                      <a:pt x="6" y="22"/>
                      <a:pt x="5" y="25"/>
                    </a:cubicBezTo>
                    <a:cubicBezTo>
                      <a:pt x="6" y="26"/>
                      <a:pt x="6" y="23"/>
                      <a:pt x="6" y="22"/>
                    </a:cubicBezTo>
                    <a:cubicBezTo>
                      <a:pt x="6" y="23"/>
                      <a:pt x="6" y="24"/>
                      <a:pt x="7" y="24"/>
                    </a:cubicBezTo>
                    <a:cubicBezTo>
                      <a:pt x="7" y="24"/>
                      <a:pt x="7" y="23"/>
                      <a:pt x="7" y="23"/>
                    </a:cubicBezTo>
                    <a:cubicBezTo>
                      <a:pt x="8" y="26"/>
                      <a:pt x="8" y="23"/>
                      <a:pt x="8" y="21"/>
                    </a:cubicBezTo>
                    <a:cubicBezTo>
                      <a:pt x="8" y="22"/>
                      <a:pt x="12" y="25"/>
                      <a:pt x="13" y="22"/>
                    </a:cubicBezTo>
                    <a:cubicBezTo>
                      <a:pt x="13" y="21"/>
                      <a:pt x="12" y="16"/>
                      <a:pt x="11" y="16"/>
                    </a:cubicBezTo>
                    <a:cubicBezTo>
                      <a:pt x="12" y="16"/>
                      <a:pt x="13" y="18"/>
                      <a:pt x="13" y="19"/>
                    </a:cubicBezTo>
                    <a:cubicBezTo>
                      <a:pt x="14" y="20"/>
                      <a:pt x="17" y="18"/>
                      <a:pt x="17" y="20"/>
                    </a:cubicBezTo>
                    <a:cubicBezTo>
                      <a:pt x="17" y="21"/>
                      <a:pt x="18" y="20"/>
                      <a:pt x="18" y="22"/>
                    </a:cubicBezTo>
                    <a:cubicBezTo>
                      <a:pt x="18" y="24"/>
                      <a:pt x="18" y="26"/>
                      <a:pt x="19" y="28"/>
                    </a:cubicBezTo>
                    <a:cubicBezTo>
                      <a:pt x="20" y="27"/>
                      <a:pt x="20" y="27"/>
                      <a:pt x="21" y="26"/>
                    </a:cubicBezTo>
                    <a:cubicBezTo>
                      <a:pt x="22" y="25"/>
                      <a:pt x="20" y="27"/>
                      <a:pt x="21" y="2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2" name="Freeform 704">
                <a:extLst>
                  <a:ext uri="{FF2B5EF4-FFF2-40B4-BE49-F238E27FC236}">
                    <a16:creationId xmlns:a16="http://schemas.microsoft.com/office/drawing/2014/main" id="{3A9A9380-C222-43D3-B771-1E93BC94CD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6725" y="4035516"/>
                <a:ext cx="195911" cy="359967"/>
              </a:xfrm>
              <a:custGeom>
                <a:avLst/>
                <a:gdLst>
                  <a:gd name="T0" fmla="*/ 40 w 42"/>
                  <a:gd name="T1" fmla="*/ 30 h 77"/>
                  <a:gd name="T2" fmla="*/ 41 w 42"/>
                  <a:gd name="T3" fmla="*/ 27 h 77"/>
                  <a:gd name="T4" fmla="*/ 39 w 42"/>
                  <a:gd name="T5" fmla="*/ 24 h 77"/>
                  <a:gd name="T6" fmla="*/ 36 w 42"/>
                  <a:gd name="T7" fmla="*/ 20 h 77"/>
                  <a:gd name="T8" fmla="*/ 35 w 42"/>
                  <a:gd name="T9" fmla="*/ 15 h 77"/>
                  <a:gd name="T10" fmla="*/ 30 w 42"/>
                  <a:gd name="T11" fmla="*/ 12 h 77"/>
                  <a:gd name="T12" fmla="*/ 25 w 42"/>
                  <a:gd name="T13" fmla="*/ 14 h 77"/>
                  <a:gd name="T14" fmla="*/ 21 w 42"/>
                  <a:gd name="T15" fmla="*/ 14 h 77"/>
                  <a:gd name="T16" fmla="*/ 17 w 42"/>
                  <a:gd name="T17" fmla="*/ 16 h 77"/>
                  <a:gd name="T18" fmla="*/ 19 w 42"/>
                  <a:gd name="T19" fmla="*/ 12 h 77"/>
                  <a:gd name="T20" fmla="*/ 19 w 42"/>
                  <a:gd name="T21" fmla="*/ 9 h 77"/>
                  <a:gd name="T22" fmla="*/ 18 w 42"/>
                  <a:gd name="T23" fmla="*/ 5 h 77"/>
                  <a:gd name="T24" fmla="*/ 15 w 42"/>
                  <a:gd name="T25" fmla="*/ 4 h 77"/>
                  <a:gd name="T26" fmla="*/ 9 w 42"/>
                  <a:gd name="T27" fmla="*/ 1 h 77"/>
                  <a:gd name="T28" fmla="*/ 4 w 42"/>
                  <a:gd name="T29" fmla="*/ 4 h 77"/>
                  <a:gd name="T30" fmla="*/ 1 w 42"/>
                  <a:gd name="T31" fmla="*/ 8 h 77"/>
                  <a:gd name="T32" fmla="*/ 0 w 42"/>
                  <a:gd name="T33" fmla="*/ 13 h 77"/>
                  <a:gd name="T34" fmla="*/ 3 w 42"/>
                  <a:gd name="T35" fmla="*/ 16 h 77"/>
                  <a:gd name="T36" fmla="*/ 6 w 42"/>
                  <a:gd name="T37" fmla="*/ 20 h 77"/>
                  <a:gd name="T38" fmla="*/ 5 w 42"/>
                  <a:gd name="T39" fmla="*/ 24 h 77"/>
                  <a:gd name="T40" fmla="*/ 5 w 42"/>
                  <a:gd name="T41" fmla="*/ 27 h 77"/>
                  <a:gd name="T42" fmla="*/ 4 w 42"/>
                  <a:gd name="T43" fmla="*/ 28 h 77"/>
                  <a:gd name="T44" fmla="*/ 6 w 42"/>
                  <a:gd name="T45" fmla="*/ 33 h 77"/>
                  <a:gd name="T46" fmla="*/ 9 w 42"/>
                  <a:gd name="T47" fmla="*/ 37 h 77"/>
                  <a:gd name="T48" fmla="*/ 10 w 42"/>
                  <a:gd name="T49" fmla="*/ 42 h 77"/>
                  <a:gd name="T50" fmla="*/ 6 w 42"/>
                  <a:gd name="T51" fmla="*/ 52 h 77"/>
                  <a:gd name="T52" fmla="*/ 5 w 42"/>
                  <a:gd name="T53" fmla="*/ 55 h 77"/>
                  <a:gd name="T54" fmla="*/ 4 w 42"/>
                  <a:gd name="T55" fmla="*/ 58 h 77"/>
                  <a:gd name="T56" fmla="*/ 5 w 42"/>
                  <a:gd name="T57" fmla="*/ 62 h 77"/>
                  <a:gd name="T58" fmla="*/ 11 w 42"/>
                  <a:gd name="T59" fmla="*/ 69 h 77"/>
                  <a:gd name="T60" fmla="*/ 13 w 42"/>
                  <a:gd name="T61" fmla="*/ 72 h 77"/>
                  <a:gd name="T62" fmla="*/ 16 w 42"/>
                  <a:gd name="T63" fmla="*/ 72 h 77"/>
                  <a:gd name="T64" fmla="*/ 18 w 42"/>
                  <a:gd name="T65" fmla="*/ 74 h 77"/>
                  <a:gd name="T66" fmla="*/ 19 w 42"/>
                  <a:gd name="T67" fmla="*/ 76 h 77"/>
                  <a:gd name="T68" fmla="*/ 21 w 42"/>
                  <a:gd name="T69" fmla="*/ 76 h 77"/>
                  <a:gd name="T70" fmla="*/ 23 w 42"/>
                  <a:gd name="T71" fmla="*/ 74 h 77"/>
                  <a:gd name="T72" fmla="*/ 16 w 42"/>
                  <a:gd name="T73" fmla="*/ 69 h 77"/>
                  <a:gd name="T74" fmla="*/ 13 w 42"/>
                  <a:gd name="T75" fmla="*/ 67 h 77"/>
                  <a:gd name="T76" fmla="*/ 15 w 42"/>
                  <a:gd name="T77" fmla="*/ 67 h 77"/>
                  <a:gd name="T78" fmla="*/ 12 w 42"/>
                  <a:gd name="T79" fmla="*/ 60 h 77"/>
                  <a:gd name="T80" fmla="*/ 11 w 42"/>
                  <a:gd name="T81" fmla="*/ 58 h 77"/>
                  <a:gd name="T82" fmla="*/ 9 w 42"/>
                  <a:gd name="T83" fmla="*/ 56 h 77"/>
                  <a:gd name="T84" fmla="*/ 11 w 42"/>
                  <a:gd name="T85" fmla="*/ 48 h 77"/>
                  <a:gd name="T86" fmla="*/ 13 w 42"/>
                  <a:gd name="T87" fmla="*/ 43 h 77"/>
                  <a:gd name="T88" fmla="*/ 14 w 42"/>
                  <a:gd name="T89" fmla="*/ 36 h 77"/>
                  <a:gd name="T90" fmla="*/ 17 w 42"/>
                  <a:gd name="T91" fmla="*/ 40 h 77"/>
                  <a:gd name="T92" fmla="*/ 22 w 42"/>
                  <a:gd name="T93" fmla="*/ 41 h 77"/>
                  <a:gd name="T94" fmla="*/ 27 w 42"/>
                  <a:gd name="T95" fmla="*/ 44 h 77"/>
                  <a:gd name="T96" fmla="*/ 24 w 42"/>
                  <a:gd name="T97" fmla="*/ 38 h 77"/>
                  <a:gd name="T98" fmla="*/ 28 w 42"/>
                  <a:gd name="T99" fmla="*/ 33 h 77"/>
                  <a:gd name="T100" fmla="*/ 34 w 42"/>
                  <a:gd name="T101" fmla="*/ 32 h 77"/>
                  <a:gd name="T102" fmla="*/ 38 w 42"/>
                  <a:gd name="T103" fmla="*/ 33 h 77"/>
                  <a:gd name="T104" fmla="*/ 40 w 42"/>
                  <a:gd name="T105" fmla="*/ 30 h 77"/>
                  <a:gd name="T106" fmla="*/ 40 w 42"/>
                  <a:gd name="T107" fmla="*/ 3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77">
                    <a:moveTo>
                      <a:pt x="40" y="30"/>
                    </a:moveTo>
                    <a:cubicBezTo>
                      <a:pt x="41" y="30"/>
                      <a:pt x="40" y="28"/>
                      <a:pt x="41" y="27"/>
                    </a:cubicBezTo>
                    <a:cubicBezTo>
                      <a:pt x="42" y="26"/>
                      <a:pt x="40" y="24"/>
                      <a:pt x="39" y="24"/>
                    </a:cubicBezTo>
                    <a:cubicBezTo>
                      <a:pt x="38" y="23"/>
                      <a:pt x="36" y="22"/>
                      <a:pt x="36" y="20"/>
                    </a:cubicBezTo>
                    <a:cubicBezTo>
                      <a:pt x="36" y="18"/>
                      <a:pt x="37" y="17"/>
                      <a:pt x="35" y="15"/>
                    </a:cubicBezTo>
                    <a:cubicBezTo>
                      <a:pt x="34" y="14"/>
                      <a:pt x="32" y="12"/>
                      <a:pt x="30" y="12"/>
                    </a:cubicBezTo>
                    <a:cubicBezTo>
                      <a:pt x="28" y="12"/>
                      <a:pt x="27" y="14"/>
                      <a:pt x="25" y="14"/>
                    </a:cubicBezTo>
                    <a:cubicBezTo>
                      <a:pt x="23" y="13"/>
                      <a:pt x="23" y="13"/>
                      <a:pt x="21" y="14"/>
                    </a:cubicBezTo>
                    <a:cubicBezTo>
                      <a:pt x="21" y="14"/>
                      <a:pt x="18" y="17"/>
                      <a:pt x="17" y="16"/>
                    </a:cubicBezTo>
                    <a:cubicBezTo>
                      <a:pt x="17" y="15"/>
                      <a:pt x="20" y="13"/>
                      <a:pt x="19" y="12"/>
                    </a:cubicBezTo>
                    <a:cubicBezTo>
                      <a:pt x="17" y="11"/>
                      <a:pt x="19" y="10"/>
                      <a:pt x="19" y="9"/>
                    </a:cubicBezTo>
                    <a:cubicBezTo>
                      <a:pt x="19" y="8"/>
                      <a:pt x="19" y="5"/>
                      <a:pt x="18" y="5"/>
                    </a:cubicBezTo>
                    <a:cubicBezTo>
                      <a:pt x="16" y="6"/>
                      <a:pt x="14" y="6"/>
                      <a:pt x="15" y="4"/>
                    </a:cubicBezTo>
                    <a:cubicBezTo>
                      <a:pt x="16" y="0"/>
                      <a:pt x="11" y="0"/>
                      <a:pt x="9" y="1"/>
                    </a:cubicBezTo>
                    <a:cubicBezTo>
                      <a:pt x="8" y="3"/>
                      <a:pt x="6" y="4"/>
                      <a:pt x="4" y="4"/>
                    </a:cubicBezTo>
                    <a:cubicBezTo>
                      <a:pt x="2" y="4"/>
                      <a:pt x="1" y="7"/>
                      <a:pt x="1" y="8"/>
                    </a:cubicBezTo>
                    <a:cubicBezTo>
                      <a:pt x="1" y="10"/>
                      <a:pt x="0" y="11"/>
                      <a:pt x="0" y="13"/>
                    </a:cubicBezTo>
                    <a:cubicBezTo>
                      <a:pt x="0" y="15"/>
                      <a:pt x="1" y="15"/>
                      <a:pt x="3" y="16"/>
                    </a:cubicBezTo>
                    <a:cubicBezTo>
                      <a:pt x="4" y="18"/>
                      <a:pt x="5" y="19"/>
                      <a:pt x="6" y="20"/>
                    </a:cubicBezTo>
                    <a:cubicBezTo>
                      <a:pt x="7" y="22"/>
                      <a:pt x="5" y="23"/>
                      <a:pt x="5" y="24"/>
                    </a:cubicBezTo>
                    <a:cubicBezTo>
                      <a:pt x="5" y="25"/>
                      <a:pt x="6" y="26"/>
                      <a:pt x="5" y="27"/>
                    </a:cubicBezTo>
                    <a:cubicBezTo>
                      <a:pt x="5" y="27"/>
                      <a:pt x="4" y="27"/>
                      <a:pt x="4" y="28"/>
                    </a:cubicBezTo>
                    <a:cubicBezTo>
                      <a:pt x="3" y="29"/>
                      <a:pt x="5" y="32"/>
                      <a:pt x="6" y="33"/>
                    </a:cubicBezTo>
                    <a:cubicBezTo>
                      <a:pt x="7" y="34"/>
                      <a:pt x="8" y="35"/>
                      <a:pt x="9" y="37"/>
                    </a:cubicBezTo>
                    <a:cubicBezTo>
                      <a:pt x="9" y="39"/>
                      <a:pt x="9" y="40"/>
                      <a:pt x="10" y="42"/>
                    </a:cubicBezTo>
                    <a:cubicBezTo>
                      <a:pt x="11" y="46"/>
                      <a:pt x="8" y="49"/>
                      <a:pt x="6" y="52"/>
                    </a:cubicBezTo>
                    <a:cubicBezTo>
                      <a:pt x="6" y="53"/>
                      <a:pt x="5" y="54"/>
                      <a:pt x="5" y="55"/>
                    </a:cubicBezTo>
                    <a:cubicBezTo>
                      <a:pt x="4" y="56"/>
                      <a:pt x="4" y="57"/>
                      <a:pt x="4" y="58"/>
                    </a:cubicBezTo>
                    <a:cubicBezTo>
                      <a:pt x="4" y="59"/>
                      <a:pt x="3" y="62"/>
                      <a:pt x="5" y="62"/>
                    </a:cubicBezTo>
                    <a:cubicBezTo>
                      <a:pt x="8" y="64"/>
                      <a:pt x="9" y="67"/>
                      <a:pt x="11" y="69"/>
                    </a:cubicBezTo>
                    <a:cubicBezTo>
                      <a:pt x="12" y="70"/>
                      <a:pt x="12" y="71"/>
                      <a:pt x="13" y="72"/>
                    </a:cubicBezTo>
                    <a:cubicBezTo>
                      <a:pt x="14" y="72"/>
                      <a:pt x="15" y="72"/>
                      <a:pt x="16" y="72"/>
                    </a:cubicBezTo>
                    <a:cubicBezTo>
                      <a:pt x="17" y="73"/>
                      <a:pt x="18" y="73"/>
                      <a:pt x="18" y="74"/>
                    </a:cubicBezTo>
                    <a:cubicBezTo>
                      <a:pt x="18" y="75"/>
                      <a:pt x="18" y="76"/>
                      <a:pt x="19" y="76"/>
                    </a:cubicBezTo>
                    <a:cubicBezTo>
                      <a:pt x="19" y="77"/>
                      <a:pt x="20" y="76"/>
                      <a:pt x="21" y="76"/>
                    </a:cubicBezTo>
                    <a:cubicBezTo>
                      <a:pt x="22" y="76"/>
                      <a:pt x="23" y="74"/>
                      <a:pt x="23" y="74"/>
                    </a:cubicBezTo>
                    <a:cubicBezTo>
                      <a:pt x="21" y="71"/>
                      <a:pt x="20" y="70"/>
                      <a:pt x="16" y="69"/>
                    </a:cubicBezTo>
                    <a:cubicBezTo>
                      <a:pt x="15" y="69"/>
                      <a:pt x="14" y="68"/>
                      <a:pt x="13" y="67"/>
                    </a:cubicBezTo>
                    <a:cubicBezTo>
                      <a:pt x="13" y="65"/>
                      <a:pt x="14" y="67"/>
                      <a:pt x="15" y="67"/>
                    </a:cubicBezTo>
                    <a:cubicBezTo>
                      <a:pt x="14" y="67"/>
                      <a:pt x="12" y="61"/>
                      <a:pt x="12" y="60"/>
                    </a:cubicBezTo>
                    <a:cubicBezTo>
                      <a:pt x="12" y="59"/>
                      <a:pt x="12" y="59"/>
                      <a:pt x="11" y="58"/>
                    </a:cubicBezTo>
                    <a:cubicBezTo>
                      <a:pt x="10" y="58"/>
                      <a:pt x="9" y="57"/>
                      <a:pt x="9" y="56"/>
                    </a:cubicBezTo>
                    <a:cubicBezTo>
                      <a:pt x="8" y="53"/>
                      <a:pt x="10" y="50"/>
                      <a:pt x="11" y="48"/>
                    </a:cubicBezTo>
                    <a:cubicBezTo>
                      <a:pt x="11" y="46"/>
                      <a:pt x="13" y="44"/>
                      <a:pt x="13" y="43"/>
                    </a:cubicBezTo>
                    <a:cubicBezTo>
                      <a:pt x="13" y="41"/>
                      <a:pt x="12" y="37"/>
                      <a:pt x="14" y="36"/>
                    </a:cubicBezTo>
                    <a:cubicBezTo>
                      <a:pt x="17" y="36"/>
                      <a:pt x="17" y="37"/>
                      <a:pt x="17" y="40"/>
                    </a:cubicBezTo>
                    <a:cubicBezTo>
                      <a:pt x="16" y="42"/>
                      <a:pt x="20" y="41"/>
                      <a:pt x="22" y="41"/>
                    </a:cubicBezTo>
                    <a:cubicBezTo>
                      <a:pt x="23" y="41"/>
                      <a:pt x="26" y="43"/>
                      <a:pt x="27" y="44"/>
                    </a:cubicBezTo>
                    <a:cubicBezTo>
                      <a:pt x="27" y="42"/>
                      <a:pt x="25" y="41"/>
                      <a:pt x="24" y="38"/>
                    </a:cubicBezTo>
                    <a:cubicBezTo>
                      <a:pt x="24" y="36"/>
                      <a:pt x="26" y="35"/>
                      <a:pt x="28" y="33"/>
                    </a:cubicBezTo>
                    <a:cubicBezTo>
                      <a:pt x="29" y="32"/>
                      <a:pt x="32" y="32"/>
                      <a:pt x="34" y="32"/>
                    </a:cubicBezTo>
                    <a:cubicBezTo>
                      <a:pt x="36" y="32"/>
                      <a:pt x="37" y="32"/>
                      <a:pt x="38" y="33"/>
                    </a:cubicBezTo>
                    <a:cubicBezTo>
                      <a:pt x="40" y="33"/>
                      <a:pt x="39" y="32"/>
                      <a:pt x="40" y="30"/>
                    </a:cubicBezTo>
                    <a:cubicBezTo>
                      <a:pt x="41" y="30"/>
                      <a:pt x="40" y="31"/>
                      <a:pt x="40" y="3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3" name="Freeform 705">
                <a:extLst>
                  <a:ext uri="{FF2B5EF4-FFF2-40B4-BE49-F238E27FC236}">
                    <a16:creationId xmlns:a16="http://schemas.microsoft.com/office/drawing/2014/main" id="{694C783B-E87B-403C-89FF-637D05B18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83442" y="3960656"/>
                <a:ext cx="178390" cy="364746"/>
              </a:xfrm>
              <a:custGeom>
                <a:avLst/>
                <a:gdLst>
                  <a:gd name="T0" fmla="*/ 37 w 38"/>
                  <a:gd name="T1" fmla="*/ 55 h 78"/>
                  <a:gd name="T2" fmla="*/ 36 w 38"/>
                  <a:gd name="T3" fmla="*/ 49 h 78"/>
                  <a:gd name="T4" fmla="*/ 32 w 38"/>
                  <a:gd name="T5" fmla="*/ 41 h 78"/>
                  <a:gd name="T6" fmla="*/ 28 w 38"/>
                  <a:gd name="T7" fmla="*/ 37 h 78"/>
                  <a:gd name="T8" fmla="*/ 22 w 38"/>
                  <a:gd name="T9" fmla="*/ 31 h 78"/>
                  <a:gd name="T10" fmla="*/ 18 w 38"/>
                  <a:gd name="T11" fmla="*/ 26 h 78"/>
                  <a:gd name="T12" fmla="*/ 19 w 38"/>
                  <a:gd name="T13" fmla="*/ 20 h 78"/>
                  <a:gd name="T14" fmla="*/ 23 w 38"/>
                  <a:gd name="T15" fmla="*/ 15 h 78"/>
                  <a:gd name="T16" fmla="*/ 29 w 38"/>
                  <a:gd name="T17" fmla="*/ 11 h 78"/>
                  <a:gd name="T18" fmla="*/ 23 w 38"/>
                  <a:gd name="T19" fmla="*/ 7 h 78"/>
                  <a:gd name="T20" fmla="*/ 24 w 38"/>
                  <a:gd name="T21" fmla="*/ 4 h 78"/>
                  <a:gd name="T22" fmla="*/ 19 w 38"/>
                  <a:gd name="T23" fmla="*/ 3 h 78"/>
                  <a:gd name="T24" fmla="*/ 14 w 38"/>
                  <a:gd name="T25" fmla="*/ 3 h 78"/>
                  <a:gd name="T26" fmla="*/ 11 w 38"/>
                  <a:gd name="T27" fmla="*/ 5 h 78"/>
                  <a:gd name="T28" fmla="*/ 8 w 38"/>
                  <a:gd name="T29" fmla="*/ 5 h 78"/>
                  <a:gd name="T30" fmla="*/ 5 w 38"/>
                  <a:gd name="T31" fmla="*/ 5 h 78"/>
                  <a:gd name="T32" fmla="*/ 3 w 38"/>
                  <a:gd name="T33" fmla="*/ 5 h 78"/>
                  <a:gd name="T34" fmla="*/ 0 w 38"/>
                  <a:gd name="T35" fmla="*/ 6 h 78"/>
                  <a:gd name="T36" fmla="*/ 4 w 38"/>
                  <a:gd name="T37" fmla="*/ 9 h 78"/>
                  <a:gd name="T38" fmla="*/ 5 w 38"/>
                  <a:gd name="T39" fmla="*/ 13 h 78"/>
                  <a:gd name="T40" fmla="*/ 9 w 38"/>
                  <a:gd name="T41" fmla="*/ 14 h 78"/>
                  <a:gd name="T42" fmla="*/ 12 w 38"/>
                  <a:gd name="T43" fmla="*/ 17 h 78"/>
                  <a:gd name="T44" fmla="*/ 13 w 38"/>
                  <a:gd name="T45" fmla="*/ 21 h 78"/>
                  <a:gd name="T46" fmla="*/ 10 w 38"/>
                  <a:gd name="T47" fmla="*/ 22 h 78"/>
                  <a:gd name="T48" fmla="*/ 14 w 38"/>
                  <a:gd name="T49" fmla="*/ 25 h 78"/>
                  <a:gd name="T50" fmla="*/ 19 w 38"/>
                  <a:gd name="T51" fmla="*/ 31 h 78"/>
                  <a:gd name="T52" fmla="*/ 23 w 38"/>
                  <a:gd name="T53" fmla="*/ 35 h 78"/>
                  <a:gd name="T54" fmla="*/ 26 w 38"/>
                  <a:gd name="T55" fmla="*/ 39 h 78"/>
                  <a:gd name="T56" fmla="*/ 28 w 38"/>
                  <a:gd name="T57" fmla="*/ 43 h 78"/>
                  <a:gd name="T58" fmla="*/ 27 w 38"/>
                  <a:gd name="T59" fmla="*/ 48 h 78"/>
                  <a:gd name="T60" fmla="*/ 28 w 38"/>
                  <a:gd name="T61" fmla="*/ 52 h 78"/>
                  <a:gd name="T62" fmla="*/ 28 w 38"/>
                  <a:gd name="T63" fmla="*/ 57 h 78"/>
                  <a:gd name="T64" fmla="*/ 23 w 38"/>
                  <a:gd name="T65" fmla="*/ 60 h 78"/>
                  <a:gd name="T66" fmla="*/ 20 w 38"/>
                  <a:gd name="T67" fmla="*/ 62 h 78"/>
                  <a:gd name="T68" fmla="*/ 20 w 38"/>
                  <a:gd name="T69" fmla="*/ 65 h 78"/>
                  <a:gd name="T70" fmla="*/ 18 w 38"/>
                  <a:gd name="T71" fmla="*/ 66 h 78"/>
                  <a:gd name="T72" fmla="*/ 14 w 38"/>
                  <a:gd name="T73" fmla="*/ 67 h 78"/>
                  <a:gd name="T74" fmla="*/ 15 w 38"/>
                  <a:gd name="T75" fmla="*/ 70 h 78"/>
                  <a:gd name="T76" fmla="*/ 14 w 38"/>
                  <a:gd name="T77" fmla="*/ 74 h 78"/>
                  <a:gd name="T78" fmla="*/ 14 w 38"/>
                  <a:gd name="T79" fmla="*/ 77 h 78"/>
                  <a:gd name="T80" fmla="*/ 18 w 38"/>
                  <a:gd name="T81" fmla="*/ 75 h 78"/>
                  <a:gd name="T82" fmla="*/ 19 w 38"/>
                  <a:gd name="T83" fmla="*/ 71 h 78"/>
                  <a:gd name="T84" fmla="*/ 22 w 38"/>
                  <a:gd name="T85" fmla="*/ 72 h 78"/>
                  <a:gd name="T86" fmla="*/ 21 w 38"/>
                  <a:gd name="T87" fmla="*/ 70 h 78"/>
                  <a:gd name="T88" fmla="*/ 23 w 38"/>
                  <a:gd name="T89" fmla="*/ 71 h 78"/>
                  <a:gd name="T90" fmla="*/ 24 w 38"/>
                  <a:gd name="T91" fmla="*/ 67 h 78"/>
                  <a:gd name="T92" fmla="*/ 26 w 38"/>
                  <a:gd name="T93" fmla="*/ 68 h 78"/>
                  <a:gd name="T94" fmla="*/ 30 w 38"/>
                  <a:gd name="T95" fmla="*/ 66 h 78"/>
                  <a:gd name="T96" fmla="*/ 36 w 38"/>
                  <a:gd name="T97" fmla="*/ 61 h 78"/>
                  <a:gd name="T98" fmla="*/ 36 w 38"/>
                  <a:gd name="T99" fmla="*/ 57 h 78"/>
                  <a:gd name="T100" fmla="*/ 37 w 38"/>
                  <a:gd name="T101" fmla="*/ 55 h 78"/>
                  <a:gd name="T102" fmla="*/ 37 w 38"/>
                  <a:gd name="T103" fmla="*/ 5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8" h="78">
                    <a:moveTo>
                      <a:pt x="37" y="55"/>
                    </a:moveTo>
                    <a:cubicBezTo>
                      <a:pt x="36" y="54"/>
                      <a:pt x="36" y="52"/>
                      <a:pt x="36" y="49"/>
                    </a:cubicBezTo>
                    <a:cubicBezTo>
                      <a:pt x="35" y="46"/>
                      <a:pt x="34" y="44"/>
                      <a:pt x="32" y="41"/>
                    </a:cubicBezTo>
                    <a:cubicBezTo>
                      <a:pt x="31" y="39"/>
                      <a:pt x="30" y="38"/>
                      <a:pt x="28" y="37"/>
                    </a:cubicBezTo>
                    <a:cubicBezTo>
                      <a:pt x="26" y="35"/>
                      <a:pt x="23" y="34"/>
                      <a:pt x="22" y="31"/>
                    </a:cubicBezTo>
                    <a:cubicBezTo>
                      <a:pt x="22" y="29"/>
                      <a:pt x="20" y="28"/>
                      <a:pt x="18" y="26"/>
                    </a:cubicBezTo>
                    <a:cubicBezTo>
                      <a:pt x="17" y="25"/>
                      <a:pt x="18" y="21"/>
                      <a:pt x="19" y="20"/>
                    </a:cubicBezTo>
                    <a:cubicBezTo>
                      <a:pt x="21" y="19"/>
                      <a:pt x="23" y="17"/>
                      <a:pt x="23" y="15"/>
                    </a:cubicBezTo>
                    <a:cubicBezTo>
                      <a:pt x="24" y="14"/>
                      <a:pt x="28" y="12"/>
                      <a:pt x="29" y="11"/>
                    </a:cubicBezTo>
                    <a:cubicBezTo>
                      <a:pt x="27" y="10"/>
                      <a:pt x="25" y="9"/>
                      <a:pt x="23" y="7"/>
                    </a:cubicBezTo>
                    <a:cubicBezTo>
                      <a:pt x="21" y="6"/>
                      <a:pt x="24" y="6"/>
                      <a:pt x="24" y="4"/>
                    </a:cubicBezTo>
                    <a:cubicBezTo>
                      <a:pt x="24" y="4"/>
                      <a:pt x="19" y="3"/>
                      <a:pt x="19" y="3"/>
                    </a:cubicBezTo>
                    <a:cubicBezTo>
                      <a:pt x="17" y="2"/>
                      <a:pt x="15" y="0"/>
                      <a:pt x="14" y="3"/>
                    </a:cubicBezTo>
                    <a:cubicBezTo>
                      <a:pt x="13" y="4"/>
                      <a:pt x="12" y="4"/>
                      <a:pt x="11" y="5"/>
                    </a:cubicBezTo>
                    <a:cubicBezTo>
                      <a:pt x="9" y="8"/>
                      <a:pt x="9" y="4"/>
                      <a:pt x="8" y="5"/>
                    </a:cubicBezTo>
                    <a:cubicBezTo>
                      <a:pt x="6" y="6"/>
                      <a:pt x="6" y="5"/>
                      <a:pt x="5" y="5"/>
                    </a:cubicBezTo>
                    <a:cubicBezTo>
                      <a:pt x="4" y="6"/>
                      <a:pt x="3" y="6"/>
                      <a:pt x="3" y="5"/>
                    </a:cubicBezTo>
                    <a:cubicBezTo>
                      <a:pt x="3" y="4"/>
                      <a:pt x="1" y="6"/>
                      <a:pt x="0" y="6"/>
                    </a:cubicBezTo>
                    <a:cubicBezTo>
                      <a:pt x="0" y="7"/>
                      <a:pt x="3" y="9"/>
                      <a:pt x="4" y="9"/>
                    </a:cubicBezTo>
                    <a:cubicBezTo>
                      <a:pt x="5" y="11"/>
                      <a:pt x="4" y="12"/>
                      <a:pt x="5" y="13"/>
                    </a:cubicBezTo>
                    <a:cubicBezTo>
                      <a:pt x="5" y="15"/>
                      <a:pt x="8" y="15"/>
                      <a:pt x="9" y="14"/>
                    </a:cubicBezTo>
                    <a:cubicBezTo>
                      <a:pt x="11" y="13"/>
                      <a:pt x="12" y="16"/>
                      <a:pt x="12" y="17"/>
                    </a:cubicBezTo>
                    <a:cubicBezTo>
                      <a:pt x="13" y="19"/>
                      <a:pt x="15" y="19"/>
                      <a:pt x="13" y="21"/>
                    </a:cubicBezTo>
                    <a:cubicBezTo>
                      <a:pt x="11" y="22"/>
                      <a:pt x="10" y="19"/>
                      <a:pt x="10" y="22"/>
                    </a:cubicBezTo>
                    <a:cubicBezTo>
                      <a:pt x="10" y="24"/>
                      <a:pt x="13" y="24"/>
                      <a:pt x="14" y="25"/>
                    </a:cubicBezTo>
                    <a:cubicBezTo>
                      <a:pt x="16" y="27"/>
                      <a:pt x="17" y="29"/>
                      <a:pt x="19" y="31"/>
                    </a:cubicBezTo>
                    <a:cubicBezTo>
                      <a:pt x="20" y="33"/>
                      <a:pt x="22" y="33"/>
                      <a:pt x="23" y="35"/>
                    </a:cubicBezTo>
                    <a:cubicBezTo>
                      <a:pt x="24" y="37"/>
                      <a:pt x="24" y="38"/>
                      <a:pt x="26" y="39"/>
                    </a:cubicBezTo>
                    <a:cubicBezTo>
                      <a:pt x="27" y="40"/>
                      <a:pt x="26" y="42"/>
                      <a:pt x="28" y="43"/>
                    </a:cubicBezTo>
                    <a:cubicBezTo>
                      <a:pt x="29" y="44"/>
                      <a:pt x="28" y="47"/>
                      <a:pt x="27" y="48"/>
                    </a:cubicBezTo>
                    <a:cubicBezTo>
                      <a:pt x="26" y="49"/>
                      <a:pt x="27" y="51"/>
                      <a:pt x="28" y="52"/>
                    </a:cubicBezTo>
                    <a:cubicBezTo>
                      <a:pt x="28" y="54"/>
                      <a:pt x="28" y="55"/>
                      <a:pt x="28" y="57"/>
                    </a:cubicBezTo>
                    <a:cubicBezTo>
                      <a:pt x="26" y="59"/>
                      <a:pt x="26" y="59"/>
                      <a:pt x="23" y="60"/>
                    </a:cubicBezTo>
                    <a:cubicBezTo>
                      <a:pt x="21" y="60"/>
                      <a:pt x="24" y="63"/>
                      <a:pt x="20" y="62"/>
                    </a:cubicBezTo>
                    <a:cubicBezTo>
                      <a:pt x="18" y="62"/>
                      <a:pt x="20" y="64"/>
                      <a:pt x="20" y="65"/>
                    </a:cubicBezTo>
                    <a:cubicBezTo>
                      <a:pt x="21" y="67"/>
                      <a:pt x="19" y="66"/>
                      <a:pt x="18" y="66"/>
                    </a:cubicBezTo>
                    <a:cubicBezTo>
                      <a:pt x="16" y="66"/>
                      <a:pt x="15" y="66"/>
                      <a:pt x="14" y="67"/>
                    </a:cubicBezTo>
                    <a:cubicBezTo>
                      <a:pt x="11" y="69"/>
                      <a:pt x="13" y="69"/>
                      <a:pt x="15" y="70"/>
                    </a:cubicBezTo>
                    <a:cubicBezTo>
                      <a:pt x="16" y="70"/>
                      <a:pt x="14" y="73"/>
                      <a:pt x="14" y="74"/>
                    </a:cubicBezTo>
                    <a:cubicBezTo>
                      <a:pt x="13" y="74"/>
                      <a:pt x="13" y="78"/>
                      <a:pt x="14" y="77"/>
                    </a:cubicBezTo>
                    <a:cubicBezTo>
                      <a:pt x="16" y="76"/>
                      <a:pt x="17" y="75"/>
                      <a:pt x="18" y="75"/>
                    </a:cubicBezTo>
                    <a:cubicBezTo>
                      <a:pt x="22" y="74"/>
                      <a:pt x="20" y="73"/>
                      <a:pt x="19" y="71"/>
                    </a:cubicBezTo>
                    <a:cubicBezTo>
                      <a:pt x="20" y="71"/>
                      <a:pt x="21" y="73"/>
                      <a:pt x="22" y="72"/>
                    </a:cubicBezTo>
                    <a:cubicBezTo>
                      <a:pt x="23" y="71"/>
                      <a:pt x="21" y="70"/>
                      <a:pt x="21" y="70"/>
                    </a:cubicBezTo>
                    <a:cubicBezTo>
                      <a:pt x="21" y="69"/>
                      <a:pt x="23" y="71"/>
                      <a:pt x="23" y="71"/>
                    </a:cubicBezTo>
                    <a:cubicBezTo>
                      <a:pt x="22" y="71"/>
                      <a:pt x="23" y="67"/>
                      <a:pt x="24" y="67"/>
                    </a:cubicBezTo>
                    <a:cubicBezTo>
                      <a:pt x="24" y="66"/>
                      <a:pt x="26" y="68"/>
                      <a:pt x="26" y="68"/>
                    </a:cubicBezTo>
                    <a:cubicBezTo>
                      <a:pt x="28" y="68"/>
                      <a:pt x="29" y="67"/>
                      <a:pt x="30" y="66"/>
                    </a:cubicBezTo>
                    <a:cubicBezTo>
                      <a:pt x="31" y="65"/>
                      <a:pt x="36" y="63"/>
                      <a:pt x="36" y="61"/>
                    </a:cubicBezTo>
                    <a:cubicBezTo>
                      <a:pt x="36" y="60"/>
                      <a:pt x="35" y="59"/>
                      <a:pt x="36" y="57"/>
                    </a:cubicBezTo>
                    <a:cubicBezTo>
                      <a:pt x="36" y="56"/>
                      <a:pt x="38" y="57"/>
                      <a:pt x="37" y="55"/>
                    </a:cubicBezTo>
                    <a:cubicBezTo>
                      <a:pt x="36" y="54"/>
                      <a:pt x="38" y="56"/>
                      <a:pt x="37" y="5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4" name="Freeform 706">
                <a:extLst>
                  <a:ext uri="{FF2B5EF4-FFF2-40B4-BE49-F238E27FC236}">
                    <a16:creationId xmlns:a16="http://schemas.microsoft.com/office/drawing/2014/main" id="{8C9D93D8-0FAA-43EA-A2A7-36FFB59118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2030" y="3989326"/>
                <a:ext cx="172020" cy="210246"/>
              </a:xfrm>
              <a:custGeom>
                <a:avLst/>
                <a:gdLst>
                  <a:gd name="T0" fmla="*/ 37 w 37"/>
                  <a:gd name="T1" fmla="*/ 38 h 45"/>
                  <a:gd name="T2" fmla="*/ 35 w 37"/>
                  <a:gd name="T3" fmla="*/ 35 h 45"/>
                  <a:gd name="T4" fmla="*/ 33 w 37"/>
                  <a:gd name="T5" fmla="*/ 32 h 45"/>
                  <a:gd name="T6" fmla="*/ 30 w 37"/>
                  <a:gd name="T7" fmla="*/ 28 h 45"/>
                  <a:gd name="T8" fmla="*/ 26 w 37"/>
                  <a:gd name="T9" fmla="*/ 22 h 45"/>
                  <a:gd name="T10" fmla="*/ 22 w 37"/>
                  <a:gd name="T11" fmla="*/ 18 h 45"/>
                  <a:gd name="T12" fmla="*/ 19 w 37"/>
                  <a:gd name="T13" fmla="*/ 15 h 45"/>
                  <a:gd name="T14" fmla="*/ 22 w 37"/>
                  <a:gd name="T15" fmla="*/ 14 h 45"/>
                  <a:gd name="T16" fmla="*/ 21 w 37"/>
                  <a:gd name="T17" fmla="*/ 10 h 45"/>
                  <a:gd name="T18" fmla="*/ 14 w 37"/>
                  <a:gd name="T19" fmla="*/ 8 h 45"/>
                  <a:gd name="T20" fmla="*/ 13 w 37"/>
                  <a:gd name="T21" fmla="*/ 4 h 45"/>
                  <a:gd name="T22" fmla="*/ 9 w 37"/>
                  <a:gd name="T23" fmla="*/ 0 h 45"/>
                  <a:gd name="T24" fmla="*/ 7 w 37"/>
                  <a:gd name="T25" fmla="*/ 0 h 45"/>
                  <a:gd name="T26" fmla="*/ 8 w 37"/>
                  <a:gd name="T27" fmla="*/ 4 h 45"/>
                  <a:gd name="T28" fmla="*/ 8 w 37"/>
                  <a:gd name="T29" fmla="*/ 7 h 45"/>
                  <a:gd name="T30" fmla="*/ 4 w 37"/>
                  <a:gd name="T31" fmla="*/ 5 h 45"/>
                  <a:gd name="T32" fmla="*/ 0 w 37"/>
                  <a:gd name="T33" fmla="*/ 10 h 45"/>
                  <a:gd name="T34" fmla="*/ 4 w 37"/>
                  <a:gd name="T35" fmla="*/ 15 h 45"/>
                  <a:gd name="T36" fmla="*/ 4 w 37"/>
                  <a:gd name="T37" fmla="*/ 22 h 45"/>
                  <a:gd name="T38" fmla="*/ 3 w 37"/>
                  <a:gd name="T39" fmla="*/ 26 h 45"/>
                  <a:gd name="T40" fmla="*/ 7 w 37"/>
                  <a:gd name="T41" fmla="*/ 25 h 45"/>
                  <a:gd name="T42" fmla="*/ 10 w 37"/>
                  <a:gd name="T43" fmla="*/ 23 h 45"/>
                  <a:gd name="T44" fmla="*/ 15 w 37"/>
                  <a:gd name="T45" fmla="*/ 22 h 45"/>
                  <a:gd name="T46" fmla="*/ 23 w 37"/>
                  <a:gd name="T47" fmla="*/ 28 h 45"/>
                  <a:gd name="T48" fmla="*/ 27 w 37"/>
                  <a:gd name="T49" fmla="*/ 36 h 45"/>
                  <a:gd name="T50" fmla="*/ 27 w 37"/>
                  <a:gd name="T51" fmla="*/ 39 h 45"/>
                  <a:gd name="T52" fmla="*/ 25 w 37"/>
                  <a:gd name="T53" fmla="*/ 43 h 45"/>
                  <a:gd name="T54" fmla="*/ 29 w 37"/>
                  <a:gd name="T55" fmla="*/ 43 h 45"/>
                  <a:gd name="T56" fmla="*/ 32 w 37"/>
                  <a:gd name="T57" fmla="*/ 42 h 45"/>
                  <a:gd name="T58" fmla="*/ 35 w 37"/>
                  <a:gd name="T59" fmla="*/ 42 h 45"/>
                  <a:gd name="T60" fmla="*/ 37 w 37"/>
                  <a:gd name="T61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7" h="45">
                    <a:moveTo>
                      <a:pt x="37" y="38"/>
                    </a:moveTo>
                    <a:cubicBezTo>
                      <a:pt x="37" y="37"/>
                      <a:pt x="36" y="37"/>
                      <a:pt x="35" y="35"/>
                    </a:cubicBezTo>
                    <a:cubicBezTo>
                      <a:pt x="35" y="33"/>
                      <a:pt x="34" y="34"/>
                      <a:pt x="33" y="32"/>
                    </a:cubicBezTo>
                    <a:cubicBezTo>
                      <a:pt x="32" y="30"/>
                      <a:pt x="32" y="29"/>
                      <a:pt x="30" y="28"/>
                    </a:cubicBezTo>
                    <a:cubicBezTo>
                      <a:pt x="28" y="26"/>
                      <a:pt x="27" y="24"/>
                      <a:pt x="26" y="22"/>
                    </a:cubicBezTo>
                    <a:cubicBezTo>
                      <a:pt x="25" y="21"/>
                      <a:pt x="23" y="19"/>
                      <a:pt x="22" y="18"/>
                    </a:cubicBezTo>
                    <a:cubicBezTo>
                      <a:pt x="20" y="17"/>
                      <a:pt x="19" y="18"/>
                      <a:pt x="19" y="15"/>
                    </a:cubicBezTo>
                    <a:cubicBezTo>
                      <a:pt x="19" y="14"/>
                      <a:pt x="21" y="16"/>
                      <a:pt x="22" y="14"/>
                    </a:cubicBezTo>
                    <a:cubicBezTo>
                      <a:pt x="24" y="13"/>
                      <a:pt x="22" y="12"/>
                      <a:pt x="21" y="10"/>
                    </a:cubicBezTo>
                    <a:cubicBezTo>
                      <a:pt x="19" y="5"/>
                      <a:pt x="16" y="11"/>
                      <a:pt x="14" y="8"/>
                    </a:cubicBezTo>
                    <a:cubicBezTo>
                      <a:pt x="13" y="7"/>
                      <a:pt x="14" y="5"/>
                      <a:pt x="13" y="4"/>
                    </a:cubicBezTo>
                    <a:cubicBezTo>
                      <a:pt x="12" y="3"/>
                      <a:pt x="10" y="2"/>
                      <a:pt x="9" y="0"/>
                    </a:cubicBezTo>
                    <a:cubicBezTo>
                      <a:pt x="9" y="0"/>
                      <a:pt x="7" y="0"/>
                      <a:pt x="7" y="0"/>
                    </a:cubicBezTo>
                    <a:cubicBezTo>
                      <a:pt x="6" y="1"/>
                      <a:pt x="8" y="3"/>
                      <a:pt x="8" y="4"/>
                    </a:cubicBezTo>
                    <a:cubicBezTo>
                      <a:pt x="8" y="5"/>
                      <a:pt x="9" y="7"/>
                      <a:pt x="8" y="7"/>
                    </a:cubicBezTo>
                    <a:cubicBezTo>
                      <a:pt x="6" y="7"/>
                      <a:pt x="6" y="5"/>
                      <a:pt x="4" y="5"/>
                    </a:cubicBezTo>
                    <a:cubicBezTo>
                      <a:pt x="3" y="4"/>
                      <a:pt x="0" y="10"/>
                      <a:pt x="0" y="10"/>
                    </a:cubicBezTo>
                    <a:cubicBezTo>
                      <a:pt x="1" y="13"/>
                      <a:pt x="0" y="17"/>
                      <a:pt x="4" y="15"/>
                    </a:cubicBezTo>
                    <a:cubicBezTo>
                      <a:pt x="6" y="14"/>
                      <a:pt x="4" y="22"/>
                      <a:pt x="4" y="22"/>
                    </a:cubicBezTo>
                    <a:cubicBezTo>
                      <a:pt x="6" y="23"/>
                      <a:pt x="4" y="24"/>
                      <a:pt x="3" y="26"/>
                    </a:cubicBezTo>
                    <a:cubicBezTo>
                      <a:pt x="3" y="27"/>
                      <a:pt x="6" y="25"/>
                      <a:pt x="7" y="25"/>
                    </a:cubicBezTo>
                    <a:cubicBezTo>
                      <a:pt x="7" y="24"/>
                      <a:pt x="9" y="23"/>
                      <a:pt x="10" y="23"/>
                    </a:cubicBezTo>
                    <a:cubicBezTo>
                      <a:pt x="12" y="24"/>
                      <a:pt x="13" y="24"/>
                      <a:pt x="15" y="22"/>
                    </a:cubicBezTo>
                    <a:cubicBezTo>
                      <a:pt x="17" y="21"/>
                      <a:pt x="24" y="25"/>
                      <a:pt x="23" y="28"/>
                    </a:cubicBezTo>
                    <a:cubicBezTo>
                      <a:pt x="21" y="32"/>
                      <a:pt x="25" y="33"/>
                      <a:pt x="27" y="36"/>
                    </a:cubicBezTo>
                    <a:cubicBezTo>
                      <a:pt x="27" y="37"/>
                      <a:pt x="27" y="38"/>
                      <a:pt x="27" y="39"/>
                    </a:cubicBezTo>
                    <a:cubicBezTo>
                      <a:pt x="27" y="40"/>
                      <a:pt x="26" y="42"/>
                      <a:pt x="25" y="43"/>
                    </a:cubicBezTo>
                    <a:cubicBezTo>
                      <a:pt x="26" y="43"/>
                      <a:pt x="29" y="45"/>
                      <a:pt x="29" y="43"/>
                    </a:cubicBezTo>
                    <a:cubicBezTo>
                      <a:pt x="29" y="42"/>
                      <a:pt x="31" y="41"/>
                      <a:pt x="32" y="42"/>
                    </a:cubicBezTo>
                    <a:cubicBezTo>
                      <a:pt x="33" y="43"/>
                      <a:pt x="34" y="43"/>
                      <a:pt x="35" y="42"/>
                    </a:cubicBezTo>
                    <a:cubicBezTo>
                      <a:pt x="37" y="42"/>
                      <a:pt x="37" y="40"/>
                      <a:pt x="37" y="3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5" name="Freeform 707">
                <a:extLst>
                  <a:ext uri="{FF2B5EF4-FFF2-40B4-BE49-F238E27FC236}">
                    <a16:creationId xmlns:a16="http://schemas.microsoft.com/office/drawing/2014/main" id="{350D3E2D-0089-4F5C-8BDD-A113484B73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9482" y="4559538"/>
                <a:ext cx="210246" cy="178390"/>
              </a:xfrm>
              <a:custGeom>
                <a:avLst/>
                <a:gdLst>
                  <a:gd name="T0" fmla="*/ 45 w 45"/>
                  <a:gd name="T1" fmla="*/ 29 h 38"/>
                  <a:gd name="T2" fmla="*/ 45 w 45"/>
                  <a:gd name="T3" fmla="*/ 26 h 38"/>
                  <a:gd name="T4" fmla="*/ 45 w 45"/>
                  <a:gd name="T5" fmla="*/ 24 h 38"/>
                  <a:gd name="T6" fmla="*/ 45 w 45"/>
                  <a:gd name="T7" fmla="*/ 15 h 38"/>
                  <a:gd name="T8" fmla="*/ 45 w 45"/>
                  <a:gd name="T9" fmla="*/ 6 h 38"/>
                  <a:gd name="T10" fmla="*/ 35 w 45"/>
                  <a:gd name="T11" fmla="*/ 3 h 38"/>
                  <a:gd name="T12" fmla="*/ 30 w 45"/>
                  <a:gd name="T13" fmla="*/ 0 h 38"/>
                  <a:gd name="T14" fmla="*/ 26 w 45"/>
                  <a:gd name="T15" fmla="*/ 3 h 38"/>
                  <a:gd name="T16" fmla="*/ 22 w 45"/>
                  <a:gd name="T17" fmla="*/ 5 h 38"/>
                  <a:gd name="T18" fmla="*/ 18 w 45"/>
                  <a:gd name="T19" fmla="*/ 10 h 38"/>
                  <a:gd name="T20" fmla="*/ 14 w 45"/>
                  <a:gd name="T21" fmla="*/ 8 h 38"/>
                  <a:gd name="T22" fmla="*/ 11 w 45"/>
                  <a:gd name="T23" fmla="*/ 5 h 38"/>
                  <a:gd name="T24" fmla="*/ 9 w 45"/>
                  <a:gd name="T25" fmla="*/ 6 h 38"/>
                  <a:gd name="T26" fmla="*/ 7 w 45"/>
                  <a:gd name="T27" fmla="*/ 5 h 38"/>
                  <a:gd name="T28" fmla="*/ 4 w 45"/>
                  <a:gd name="T29" fmla="*/ 6 h 38"/>
                  <a:gd name="T30" fmla="*/ 0 w 45"/>
                  <a:gd name="T31" fmla="*/ 7 h 38"/>
                  <a:gd name="T32" fmla="*/ 3 w 45"/>
                  <a:gd name="T33" fmla="*/ 8 h 38"/>
                  <a:gd name="T34" fmla="*/ 4 w 45"/>
                  <a:gd name="T35" fmla="*/ 11 h 38"/>
                  <a:gd name="T36" fmla="*/ 7 w 45"/>
                  <a:gd name="T37" fmla="*/ 14 h 38"/>
                  <a:gd name="T38" fmla="*/ 9 w 45"/>
                  <a:gd name="T39" fmla="*/ 8 h 38"/>
                  <a:gd name="T40" fmla="*/ 10 w 45"/>
                  <a:gd name="T41" fmla="*/ 12 h 38"/>
                  <a:gd name="T42" fmla="*/ 15 w 45"/>
                  <a:gd name="T43" fmla="*/ 12 h 38"/>
                  <a:gd name="T44" fmla="*/ 18 w 45"/>
                  <a:gd name="T45" fmla="*/ 15 h 38"/>
                  <a:gd name="T46" fmla="*/ 27 w 45"/>
                  <a:gd name="T47" fmla="*/ 19 h 38"/>
                  <a:gd name="T48" fmla="*/ 32 w 45"/>
                  <a:gd name="T49" fmla="*/ 22 h 38"/>
                  <a:gd name="T50" fmla="*/ 34 w 45"/>
                  <a:gd name="T51" fmla="*/ 26 h 38"/>
                  <a:gd name="T52" fmla="*/ 36 w 45"/>
                  <a:gd name="T53" fmla="*/ 27 h 38"/>
                  <a:gd name="T54" fmla="*/ 34 w 45"/>
                  <a:gd name="T55" fmla="*/ 28 h 38"/>
                  <a:gd name="T56" fmla="*/ 36 w 45"/>
                  <a:gd name="T57" fmla="*/ 29 h 38"/>
                  <a:gd name="T58" fmla="*/ 35 w 45"/>
                  <a:gd name="T59" fmla="*/ 30 h 38"/>
                  <a:gd name="T60" fmla="*/ 32 w 45"/>
                  <a:gd name="T61" fmla="*/ 31 h 38"/>
                  <a:gd name="T62" fmla="*/ 29 w 45"/>
                  <a:gd name="T63" fmla="*/ 34 h 38"/>
                  <a:gd name="T64" fmla="*/ 34 w 45"/>
                  <a:gd name="T65" fmla="*/ 35 h 38"/>
                  <a:gd name="T66" fmla="*/ 36 w 45"/>
                  <a:gd name="T67" fmla="*/ 31 h 38"/>
                  <a:gd name="T68" fmla="*/ 36 w 45"/>
                  <a:gd name="T69" fmla="*/ 33 h 38"/>
                  <a:gd name="T70" fmla="*/ 40 w 45"/>
                  <a:gd name="T71" fmla="*/ 32 h 38"/>
                  <a:gd name="T72" fmla="*/ 45 w 45"/>
                  <a:gd name="T73" fmla="*/ 38 h 38"/>
                  <a:gd name="T74" fmla="*/ 45 w 45"/>
                  <a:gd name="T75" fmla="*/ 2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5" h="38">
                    <a:moveTo>
                      <a:pt x="45" y="29"/>
                    </a:moveTo>
                    <a:cubicBezTo>
                      <a:pt x="45" y="28"/>
                      <a:pt x="44" y="27"/>
                      <a:pt x="45" y="26"/>
                    </a:cubicBezTo>
                    <a:cubicBezTo>
                      <a:pt x="45" y="25"/>
                      <a:pt x="45" y="25"/>
                      <a:pt x="45" y="24"/>
                    </a:cubicBezTo>
                    <a:cubicBezTo>
                      <a:pt x="45" y="21"/>
                      <a:pt x="45" y="18"/>
                      <a:pt x="45" y="15"/>
                    </a:cubicBezTo>
                    <a:cubicBezTo>
                      <a:pt x="45" y="12"/>
                      <a:pt x="45" y="9"/>
                      <a:pt x="45" y="6"/>
                    </a:cubicBezTo>
                    <a:cubicBezTo>
                      <a:pt x="45" y="6"/>
                      <a:pt x="36" y="3"/>
                      <a:pt x="35" y="3"/>
                    </a:cubicBezTo>
                    <a:cubicBezTo>
                      <a:pt x="33" y="2"/>
                      <a:pt x="32" y="1"/>
                      <a:pt x="30" y="0"/>
                    </a:cubicBezTo>
                    <a:cubicBezTo>
                      <a:pt x="27" y="0"/>
                      <a:pt x="27" y="2"/>
                      <a:pt x="26" y="3"/>
                    </a:cubicBezTo>
                    <a:cubicBezTo>
                      <a:pt x="26" y="4"/>
                      <a:pt x="23" y="4"/>
                      <a:pt x="22" y="5"/>
                    </a:cubicBezTo>
                    <a:cubicBezTo>
                      <a:pt x="21" y="7"/>
                      <a:pt x="20" y="9"/>
                      <a:pt x="18" y="10"/>
                    </a:cubicBezTo>
                    <a:cubicBezTo>
                      <a:pt x="16" y="11"/>
                      <a:pt x="14" y="10"/>
                      <a:pt x="14" y="8"/>
                    </a:cubicBezTo>
                    <a:cubicBezTo>
                      <a:pt x="13" y="6"/>
                      <a:pt x="12" y="6"/>
                      <a:pt x="11" y="5"/>
                    </a:cubicBezTo>
                    <a:cubicBezTo>
                      <a:pt x="11" y="3"/>
                      <a:pt x="10" y="5"/>
                      <a:pt x="9" y="6"/>
                    </a:cubicBezTo>
                    <a:cubicBezTo>
                      <a:pt x="8" y="6"/>
                      <a:pt x="7" y="5"/>
                      <a:pt x="7" y="5"/>
                    </a:cubicBezTo>
                    <a:cubicBezTo>
                      <a:pt x="6" y="5"/>
                      <a:pt x="5" y="6"/>
                      <a:pt x="4" y="6"/>
                    </a:cubicBezTo>
                    <a:cubicBezTo>
                      <a:pt x="4" y="7"/>
                      <a:pt x="0" y="6"/>
                      <a:pt x="0" y="7"/>
                    </a:cubicBezTo>
                    <a:cubicBezTo>
                      <a:pt x="0" y="8"/>
                      <a:pt x="2" y="8"/>
                      <a:pt x="3" y="8"/>
                    </a:cubicBezTo>
                    <a:cubicBezTo>
                      <a:pt x="4" y="9"/>
                      <a:pt x="4" y="10"/>
                      <a:pt x="4" y="11"/>
                    </a:cubicBezTo>
                    <a:cubicBezTo>
                      <a:pt x="4" y="13"/>
                      <a:pt x="7" y="13"/>
                      <a:pt x="7" y="14"/>
                    </a:cubicBezTo>
                    <a:cubicBezTo>
                      <a:pt x="7" y="12"/>
                      <a:pt x="7" y="9"/>
                      <a:pt x="9" y="8"/>
                    </a:cubicBezTo>
                    <a:cubicBezTo>
                      <a:pt x="7" y="9"/>
                      <a:pt x="8" y="11"/>
                      <a:pt x="10" y="12"/>
                    </a:cubicBezTo>
                    <a:cubicBezTo>
                      <a:pt x="12" y="13"/>
                      <a:pt x="13" y="13"/>
                      <a:pt x="15" y="12"/>
                    </a:cubicBezTo>
                    <a:cubicBezTo>
                      <a:pt x="12" y="13"/>
                      <a:pt x="17" y="15"/>
                      <a:pt x="18" y="15"/>
                    </a:cubicBezTo>
                    <a:cubicBezTo>
                      <a:pt x="21" y="16"/>
                      <a:pt x="24" y="18"/>
                      <a:pt x="27" y="19"/>
                    </a:cubicBezTo>
                    <a:cubicBezTo>
                      <a:pt x="29" y="20"/>
                      <a:pt x="31" y="21"/>
                      <a:pt x="32" y="22"/>
                    </a:cubicBezTo>
                    <a:cubicBezTo>
                      <a:pt x="32" y="24"/>
                      <a:pt x="33" y="25"/>
                      <a:pt x="34" y="26"/>
                    </a:cubicBezTo>
                    <a:cubicBezTo>
                      <a:pt x="34" y="26"/>
                      <a:pt x="36" y="27"/>
                      <a:pt x="36" y="27"/>
                    </a:cubicBezTo>
                    <a:cubicBezTo>
                      <a:pt x="36" y="27"/>
                      <a:pt x="34" y="28"/>
                      <a:pt x="34" y="28"/>
                    </a:cubicBezTo>
                    <a:cubicBezTo>
                      <a:pt x="34" y="28"/>
                      <a:pt x="36" y="28"/>
                      <a:pt x="36" y="29"/>
                    </a:cubicBezTo>
                    <a:cubicBezTo>
                      <a:pt x="36" y="28"/>
                      <a:pt x="35" y="29"/>
                      <a:pt x="35" y="30"/>
                    </a:cubicBezTo>
                    <a:cubicBezTo>
                      <a:pt x="34" y="31"/>
                      <a:pt x="33" y="30"/>
                      <a:pt x="32" y="31"/>
                    </a:cubicBezTo>
                    <a:cubicBezTo>
                      <a:pt x="31" y="31"/>
                      <a:pt x="28" y="34"/>
                      <a:pt x="29" y="34"/>
                    </a:cubicBezTo>
                    <a:cubicBezTo>
                      <a:pt x="30" y="35"/>
                      <a:pt x="32" y="35"/>
                      <a:pt x="34" y="35"/>
                    </a:cubicBezTo>
                    <a:cubicBezTo>
                      <a:pt x="34" y="34"/>
                      <a:pt x="35" y="30"/>
                      <a:pt x="36" y="31"/>
                    </a:cubicBezTo>
                    <a:cubicBezTo>
                      <a:pt x="36" y="32"/>
                      <a:pt x="33" y="33"/>
                      <a:pt x="36" y="33"/>
                    </a:cubicBezTo>
                    <a:cubicBezTo>
                      <a:pt x="38" y="34"/>
                      <a:pt x="39" y="34"/>
                      <a:pt x="40" y="32"/>
                    </a:cubicBezTo>
                    <a:cubicBezTo>
                      <a:pt x="39" y="34"/>
                      <a:pt x="44" y="37"/>
                      <a:pt x="45" y="38"/>
                    </a:cubicBezTo>
                    <a:cubicBezTo>
                      <a:pt x="45" y="35"/>
                      <a:pt x="45" y="32"/>
                      <a:pt x="45" y="2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6" name="Freeform 708">
                <a:extLst>
                  <a:ext uri="{FF2B5EF4-FFF2-40B4-BE49-F238E27FC236}">
                    <a16:creationId xmlns:a16="http://schemas.microsoft.com/office/drawing/2014/main" id="{AF054945-405E-4B74-AEDA-F27885DC76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4951" y="4588209"/>
                <a:ext cx="238916" cy="191131"/>
              </a:xfrm>
              <a:custGeom>
                <a:avLst/>
                <a:gdLst>
                  <a:gd name="T0" fmla="*/ 50 w 51"/>
                  <a:gd name="T1" fmla="*/ 39 h 41"/>
                  <a:gd name="T2" fmla="*/ 45 w 51"/>
                  <a:gd name="T3" fmla="*/ 37 h 41"/>
                  <a:gd name="T4" fmla="*/ 47 w 51"/>
                  <a:gd name="T5" fmla="*/ 36 h 41"/>
                  <a:gd name="T6" fmla="*/ 42 w 51"/>
                  <a:gd name="T7" fmla="*/ 34 h 41"/>
                  <a:gd name="T8" fmla="*/ 38 w 51"/>
                  <a:gd name="T9" fmla="*/ 30 h 41"/>
                  <a:gd name="T10" fmla="*/ 37 w 51"/>
                  <a:gd name="T11" fmla="*/ 28 h 41"/>
                  <a:gd name="T12" fmla="*/ 34 w 51"/>
                  <a:gd name="T13" fmla="*/ 26 h 41"/>
                  <a:gd name="T14" fmla="*/ 29 w 51"/>
                  <a:gd name="T15" fmla="*/ 21 h 41"/>
                  <a:gd name="T16" fmla="*/ 34 w 51"/>
                  <a:gd name="T17" fmla="*/ 21 h 41"/>
                  <a:gd name="T18" fmla="*/ 34 w 51"/>
                  <a:gd name="T19" fmla="*/ 18 h 41"/>
                  <a:gd name="T20" fmla="*/ 31 w 51"/>
                  <a:gd name="T21" fmla="*/ 17 h 41"/>
                  <a:gd name="T22" fmla="*/ 25 w 51"/>
                  <a:gd name="T23" fmla="*/ 12 h 41"/>
                  <a:gd name="T24" fmla="*/ 19 w 51"/>
                  <a:gd name="T25" fmla="*/ 7 h 41"/>
                  <a:gd name="T26" fmla="*/ 16 w 51"/>
                  <a:gd name="T27" fmla="*/ 6 h 41"/>
                  <a:gd name="T28" fmla="*/ 13 w 51"/>
                  <a:gd name="T29" fmla="*/ 4 h 41"/>
                  <a:gd name="T30" fmla="*/ 8 w 51"/>
                  <a:gd name="T31" fmla="*/ 2 h 41"/>
                  <a:gd name="T32" fmla="*/ 1 w 51"/>
                  <a:gd name="T33" fmla="*/ 0 h 41"/>
                  <a:gd name="T34" fmla="*/ 1 w 51"/>
                  <a:gd name="T35" fmla="*/ 10 h 41"/>
                  <a:gd name="T36" fmla="*/ 1 w 51"/>
                  <a:gd name="T37" fmla="*/ 20 h 41"/>
                  <a:gd name="T38" fmla="*/ 1 w 51"/>
                  <a:gd name="T39" fmla="*/ 25 h 41"/>
                  <a:gd name="T40" fmla="*/ 1 w 51"/>
                  <a:gd name="T41" fmla="*/ 30 h 41"/>
                  <a:gd name="T42" fmla="*/ 4 w 51"/>
                  <a:gd name="T43" fmla="*/ 33 h 41"/>
                  <a:gd name="T44" fmla="*/ 13 w 51"/>
                  <a:gd name="T45" fmla="*/ 31 h 41"/>
                  <a:gd name="T46" fmla="*/ 9 w 51"/>
                  <a:gd name="T47" fmla="*/ 28 h 41"/>
                  <a:gd name="T48" fmla="*/ 14 w 51"/>
                  <a:gd name="T49" fmla="*/ 30 h 41"/>
                  <a:gd name="T50" fmla="*/ 13 w 51"/>
                  <a:gd name="T51" fmla="*/ 26 h 41"/>
                  <a:gd name="T52" fmla="*/ 15 w 51"/>
                  <a:gd name="T53" fmla="*/ 27 h 41"/>
                  <a:gd name="T54" fmla="*/ 18 w 51"/>
                  <a:gd name="T55" fmla="*/ 25 h 41"/>
                  <a:gd name="T56" fmla="*/ 26 w 51"/>
                  <a:gd name="T57" fmla="*/ 27 h 41"/>
                  <a:gd name="T58" fmla="*/ 31 w 51"/>
                  <a:gd name="T59" fmla="*/ 33 h 41"/>
                  <a:gd name="T60" fmla="*/ 36 w 51"/>
                  <a:gd name="T61" fmla="*/ 38 h 41"/>
                  <a:gd name="T62" fmla="*/ 45 w 51"/>
                  <a:gd name="T63" fmla="*/ 40 h 41"/>
                  <a:gd name="T64" fmla="*/ 48 w 51"/>
                  <a:gd name="T65" fmla="*/ 40 h 41"/>
                  <a:gd name="T66" fmla="*/ 50 w 51"/>
                  <a:gd name="T67" fmla="*/ 39 h 41"/>
                  <a:gd name="T68" fmla="*/ 50 w 51"/>
                  <a:gd name="T69" fmla="*/ 3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" h="41">
                    <a:moveTo>
                      <a:pt x="50" y="39"/>
                    </a:moveTo>
                    <a:cubicBezTo>
                      <a:pt x="48" y="38"/>
                      <a:pt x="46" y="38"/>
                      <a:pt x="45" y="37"/>
                    </a:cubicBezTo>
                    <a:cubicBezTo>
                      <a:pt x="44" y="36"/>
                      <a:pt x="46" y="35"/>
                      <a:pt x="47" y="36"/>
                    </a:cubicBezTo>
                    <a:cubicBezTo>
                      <a:pt x="45" y="35"/>
                      <a:pt x="42" y="36"/>
                      <a:pt x="42" y="34"/>
                    </a:cubicBezTo>
                    <a:cubicBezTo>
                      <a:pt x="42" y="32"/>
                      <a:pt x="39" y="32"/>
                      <a:pt x="38" y="30"/>
                    </a:cubicBezTo>
                    <a:cubicBezTo>
                      <a:pt x="37" y="29"/>
                      <a:pt x="38" y="29"/>
                      <a:pt x="37" y="28"/>
                    </a:cubicBezTo>
                    <a:cubicBezTo>
                      <a:pt x="36" y="27"/>
                      <a:pt x="35" y="27"/>
                      <a:pt x="34" y="26"/>
                    </a:cubicBezTo>
                    <a:cubicBezTo>
                      <a:pt x="34" y="26"/>
                      <a:pt x="30" y="21"/>
                      <a:pt x="29" y="21"/>
                    </a:cubicBezTo>
                    <a:cubicBezTo>
                      <a:pt x="30" y="20"/>
                      <a:pt x="33" y="21"/>
                      <a:pt x="34" y="21"/>
                    </a:cubicBezTo>
                    <a:cubicBezTo>
                      <a:pt x="36" y="21"/>
                      <a:pt x="35" y="20"/>
                      <a:pt x="34" y="18"/>
                    </a:cubicBezTo>
                    <a:cubicBezTo>
                      <a:pt x="34" y="17"/>
                      <a:pt x="32" y="17"/>
                      <a:pt x="31" y="17"/>
                    </a:cubicBezTo>
                    <a:cubicBezTo>
                      <a:pt x="28" y="15"/>
                      <a:pt x="26" y="14"/>
                      <a:pt x="25" y="12"/>
                    </a:cubicBezTo>
                    <a:cubicBezTo>
                      <a:pt x="24" y="10"/>
                      <a:pt x="21" y="8"/>
                      <a:pt x="19" y="7"/>
                    </a:cubicBezTo>
                    <a:cubicBezTo>
                      <a:pt x="18" y="6"/>
                      <a:pt x="17" y="6"/>
                      <a:pt x="16" y="6"/>
                    </a:cubicBezTo>
                    <a:cubicBezTo>
                      <a:pt x="15" y="6"/>
                      <a:pt x="14" y="4"/>
                      <a:pt x="13" y="4"/>
                    </a:cubicBezTo>
                    <a:cubicBezTo>
                      <a:pt x="12" y="3"/>
                      <a:pt x="10" y="3"/>
                      <a:pt x="8" y="2"/>
                    </a:cubicBezTo>
                    <a:cubicBezTo>
                      <a:pt x="6" y="2"/>
                      <a:pt x="4" y="0"/>
                      <a:pt x="1" y="0"/>
                    </a:cubicBezTo>
                    <a:cubicBezTo>
                      <a:pt x="1" y="3"/>
                      <a:pt x="1" y="7"/>
                      <a:pt x="1" y="10"/>
                    </a:cubicBezTo>
                    <a:cubicBezTo>
                      <a:pt x="1" y="13"/>
                      <a:pt x="2" y="17"/>
                      <a:pt x="1" y="20"/>
                    </a:cubicBezTo>
                    <a:cubicBezTo>
                      <a:pt x="0" y="21"/>
                      <a:pt x="1" y="23"/>
                      <a:pt x="1" y="25"/>
                    </a:cubicBezTo>
                    <a:cubicBezTo>
                      <a:pt x="1" y="27"/>
                      <a:pt x="1" y="28"/>
                      <a:pt x="1" y="30"/>
                    </a:cubicBezTo>
                    <a:cubicBezTo>
                      <a:pt x="1" y="33"/>
                      <a:pt x="2" y="33"/>
                      <a:pt x="4" y="33"/>
                    </a:cubicBezTo>
                    <a:cubicBezTo>
                      <a:pt x="7" y="33"/>
                      <a:pt x="10" y="33"/>
                      <a:pt x="13" y="31"/>
                    </a:cubicBezTo>
                    <a:cubicBezTo>
                      <a:pt x="14" y="31"/>
                      <a:pt x="9" y="28"/>
                      <a:pt x="9" y="28"/>
                    </a:cubicBezTo>
                    <a:cubicBezTo>
                      <a:pt x="10" y="28"/>
                      <a:pt x="14" y="31"/>
                      <a:pt x="14" y="30"/>
                    </a:cubicBezTo>
                    <a:cubicBezTo>
                      <a:pt x="14" y="29"/>
                      <a:pt x="13" y="28"/>
                      <a:pt x="13" y="26"/>
                    </a:cubicBezTo>
                    <a:cubicBezTo>
                      <a:pt x="13" y="26"/>
                      <a:pt x="16" y="28"/>
                      <a:pt x="15" y="27"/>
                    </a:cubicBezTo>
                    <a:cubicBezTo>
                      <a:pt x="15" y="25"/>
                      <a:pt x="17" y="25"/>
                      <a:pt x="18" y="25"/>
                    </a:cubicBezTo>
                    <a:cubicBezTo>
                      <a:pt x="19" y="25"/>
                      <a:pt x="26" y="28"/>
                      <a:pt x="26" y="27"/>
                    </a:cubicBezTo>
                    <a:cubicBezTo>
                      <a:pt x="26" y="29"/>
                      <a:pt x="30" y="31"/>
                      <a:pt x="31" y="33"/>
                    </a:cubicBezTo>
                    <a:cubicBezTo>
                      <a:pt x="32" y="35"/>
                      <a:pt x="34" y="38"/>
                      <a:pt x="36" y="38"/>
                    </a:cubicBezTo>
                    <a:cubicBezTo>
                      <a:pt x="39" y="38"/>
                      <a:pt x="42" y="39"/>
                      <a:pt x="45" y="40"/>
                    </a:cubicBezTo>
                    <a:cubicBezTo>
                      <a:pt x="46" y="40"/>
                      <a:pt x="48" y="41"/>
                      <a:pt x="48" y="40"/>
                    </a:cubicBezTo>
                    <a:cubicBezTo>
                      <a:pt x="48" y="39"/>
                      <a:pt x="51" y="39"/>
                      <a:pt x="50" y="39"/>
                    </a:cubicBezTo>
                    <a:cubicBezTo>
                      <a:pt x="49" y="38"/>
                      <a:pt x="51" y="39"/>
                      <a:pt x="50" y="3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7" name="Freeform 709">
                <a:extLst>
                  <a:ext uri="{FF2B5EF4-FFF2-40B4-BE49-F238E27FC236}">
                    <a16:creationId xmlns:a16="http://schemas.microsoft.com/office/drawing/2014/main" id="{ACEBE523-2FE4-4DF8-B74D-C526A1684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42718" y="4414597"/>
                <a:ext cx="238916" cy="210246"/>
              </a:xfrm>
              <a:custGeom>
                <a:avLst/>
                <a:gdLst>
                  <a:gd name="T0" fmla="*/ 33 w 51"/>
                  <a:gd name="T1" fmla="*/ 5 h 45"/>
                  <a:gd name="T2" fmla="*/ 29 w 51"/>
                  <a:gd name="T3" fmla="*/ 13 h 45"/>
                  <a:gd name="T4" fmla="*/ 20 w 51"/>
                  <a:gd name="T5" fmla="*/ 16 h 45"/>
                  <a:gd name="T6" fmla="*/ 15 w 51"/>
                  <a:gd name="T7" fmla="*/ 18 h 45"/>
                  <a:gd name="T8" fmla="*/ 10 w 51"/>
                  <a:gd name="T9" fmla="*/ 19 h 45"/>
                  <a:gd name="T10" fmla="*/ 7 w 51"/>
                  <a:gd name="T11" fmla="*/ 18 h 45"/>
                  <a:gd name="T12" fmla="*/ 3 w 51"/>
                  <a:gd name="T13" fmla="*/ 14 h 45"/>
                  <a:gd name="T14" fmla="*/ 0 w 51"/>
                  <a:gd name="T15" fmla="*/ 20 h 45"/>
                  <a:gd name="T16" fmla="*/ 4 w 51"/>
                  <a:gd name="T17" fmla="*/ 29 h 45"/>
                  <a:gd name="T18" fmla="*/ 8 w 51"/>
                  <a:gd name="T19" fmla="*/ 37 h 45"/>
                  <a:gd name="T20" fmla="*/ 13 w 51"/>
                  <a:gd name="T21" fmla="*/ 39 h 45"/>
                  <a:gd name="T22" fmla="*/ 14 w 51"/>
                  <a:gd name="T23" fmla="*/ 41 h 45"/>
                  <a:gd name="T24" fmla="*/ 19 w 51"/>
                  <a:gd name="T25" fmla="*/ 41 h 45"/>
                  <a:gd name="T26" fmla="*/ 21 w 51"/>
                  <a:gd name="T27" fmla="*/ 39 h 45"/>
                  <a:gd name="T28" fmla="*/ 25 w 51"/>
                  <a:gd name="T29" fmla="*/ 40 h 45"/>
                  <a:gd name="T30" fmla="*/ 28 w 51"/>
                  <a:gd name="T31" fmla="*/ 40 h 45"/>
                  <a:gd name="T32" fmla="*/ 31 w 51"/>
                  <a:gd name="T33" fmla="*/ 43 h 45"/>
                  <a:gd name="T34" fmla="*/ 34 w 51"/>
                  <a:gd name="T35" fmla="*/ 42 h 45"/>
                  <a:gd name="T36" fmla="*/ 36 w 51"/>
                  <a:gd name="T37" fmla="*/ 43 h 45"/>
                  <a:gd name="T38" fmla="*/ 37 w 51"/>
                  <a:gd name="T39" fmla="*/ 37 h 45"/>
                  <a:gd name="T40" fmla="*/ 37 w 51"/>
                  <a:gd name="T41" fmla="*/ 33 h 45"/>
                  <a:gd name="T42" fmla="*/ 39 w 51"/>
                  <a:gd name="T43" fmla="*/ 30 h 45"/>
                  <a:gd name="T44" fmla="*/ 42 w 51"/>
                  <a:gd name="T45" fmla="*/ 24 h 45"/>
                  <a:gd name="T46" fmla="*/ 47 w 51"/>
                  <a:gd name="T47" fmla="*/ 19 h 45"/>
                  <a:gd name="T48" fmla="*/ 49 w 51"/>
                  <a:gd name="T49" fmla="*/ 18 h 45"/>
                  <a:gd name="T50" fmla="*/ 45 w 51"/>
                  <a:gd name="T51" fmla="*/ 13 h 45"/>
                  <a:gd name="T52" fmla="*/ 42 w 51"/>
                  <a:gd name="T53" fmla="*/ 7 h 45"/>
                  <a:gd name="T54" fmla="*/ 44 w 51"/>
                  <a:gd name="T55" fmla="*/ 6 h 45"/>
                  <a:gd name="T56" fmla="*/ 44 w 51"/>
                  <a:gd name="T57" fmla="*/ 3 h 45"/>
                  <a:gd name="T58" fmla="*/ 33 w 51"/>
                  <a:gd name="T59" fmla="*/ 5 h 45"/>
                  <a:gd name="T60" fmla="*/ 33 w 51"/>
                  <a:gd name="T61" fmla="*/ 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1" h="45">
                    <a:moveTo>
                      <a:pt x="33" y="5"/>
                    </a:moveTo>
                    <a:cubicBezTo>
                      <a:pt x="32" y="8"/>
                      <a:pt x="31" y="10"/>
                      <a:pt x="29" y="13"/>
                    </a:cubicBezTo>
                    <a:cubicBezTo>
                      <a:pt x="28" y="17"/>
                      <a:pt x="23" y="17"/>
                      <a:pt x="20" y="16"/>
                    </a:cubicBezTo>
                    <a:cubicBezTo>
                      <a:pt x="18" y="15"/>
                      <a:pt x="16" y="17"/>
                      <a:pt x="15" y="18"/>
                    </a:cubicBezTo>
                    <a:cubicBezTo>
                      <a:pt x="14" y="19"/>
                      <a:pt x="11" y="18"/>
                      <a:pt x="10" y="19"/>
                    </a:cubicBezTo>
                    <a:cubicBezTo>
                      <a:pt x="8" y="20"/>
                      <a:pt x="8" y="20"/>
                      <a:pt x="7" y="18"/>
                    </a:cubicBezTo>
                    <a:cubicBezTo>
                      <a:pt x="5" y="17"/>
                      <a:pt x="4" y="16"/>
                      <a:pt x="3" y="14"/>
                    </a:cubicBezTo>
                    <a:cubicBezTo>
                      <a:pt x="2" y="13"/>
                      <a:pt x="0" y="19"/>
                      <a:pt x="0" y="20"/>
                    </a:cubicBezTo>
                    <a:cubicBezTo>
                      <a:pt x="0" y="23"/>
                      <a:pt x="3" y="26"/>
                      <a:pt x="4" y="29"/>
                    </a:cubicBezTo>
                    <a:cubicBezTo>
                      <a:pt x="6" y="32"/>
                      <a:pt x="5" y="35"/>
                      <a:pt x="8" y="37"/>
                    </a:cubicBezTo>
                    <a:cubicBezTo>
                      <a:pt x="10" y="38"/>
                      <a:pt x="12" y="39"/>
                      <a:pt x="13" y="39"/>
                    </a:cubicBezTo>
                    <a:cubicBezTo>
                      <a:pt x="16" y="38"/>
                      <a:pt x="13" y="40"/>
                      <a:pt x="14" y="41"/>
                    </a:cubicBezTo>
                    <a:cubicBezTo>
                      <a:pt x="15" y="41"/>
                      <a:pt x="18" y="41"/>
                      <a:pt x="19" y="41"/>
                    </a:cubicBezTo>
                    <a:cubicBezTo>
                      <a:pt x="20" y="40"/>
                      <a:pt x="20" y="38"/>
                      <a:pt x="21" y="39"/>
                    </a:cubicBezTo>
                    <a:cubicBezTo>
                      <a:pt x="22" y="40"/>
                      <a:pt x="24" y="41"/>
                      <a:pt x="25" y="40"/>
                    </a:cubicBezTo>
                    <a:cubicBezTo>
                      <a:pt x="26" y="40"/>
                      <a:pt x="28" y="39"/>
                      <a:pt x="28" y="40"/>
                    </a:cubicBezTo>
                    <a:cubicBezTo>
                      <a:pt x="29" y="43"/>
                      <a:pt x="27" y="45"/>
                      <a:pt x="31" y="43"/>
                    </a:cubicBezTo>
                    <a:cubicBezTo>
                      <a:pt x="32" y="43"/>
                      <a:pt x="33" y="42"/>
                      <a:pt x="34" y="42"/>
                    </a:cubicBezTo>
                    <a:cubicBezTo>
                      <a:pt x="35" y="42"/>
                      <a:pt x="36" y="43"/>
                      <a:pt x="36" y="43"/>
                    </a:cubicBezTo>
                    <a:cubicBezTo>
                      <a:pt x="37" y="41"/>
                      <a:pt x="35" y="39"/>
                      <a:pt x="37" y="37"/>
                    </a:cubicBezTo>
                    <a:cubicBezTo>
                      <a:pt x="38" y="36"/>
                      <a:pt x="37" y="35"/>
                      <a:pt x="37" y="33"/>
                    </a:cubicBezTo>
                    <a:cubicBezTo>
                      <a:pt x="37" y="32"/>
                      <a:pt x="38" y="31"/>
                      <a:pt x="39" y="30"/>
                    </a:cubicBezTo>
                    <a:cubicBezTo>
                      <a:pt x="41" y="28"/>
                      <a:pt x="43" y="27"/>
                      <a:pt x="42" y="24"/>
                    </a:cubicBezTo>
                    <a:cubicBezTo>
                      <a:pt x="42" y="22"/>
                      <a:pt x="45" y="18"/>
                      <a:pt x="47" y="19"/>
                    </a:cubicBezTo>
                    <a:cubicBezTo>
                      <a:pt x="48" y="20"/>
                      <a:pt x="51" y="19"/>
                      <a:pt x="49" y="18"/>
                    </a:cubicBezTo>
                    <a:cubicBezTo>
                      <a:pt x="48" y="16"/>
                      <a:pt x="45" y="15"/>
                      <a:pt x="45" y="13"/>
                    </a:cubicBezTo>
                    <a:cubicBezTo>
                      <a:pt x="45" y="11"/>
                      <a:pt x="43" y="9"/>
                      <a:pt x="42" y="7"/>
                    </a:cubicBezTo>
                    <a:cubicBezTo>
                      <a:pt x="41" y="4"/>
                      <a:pt x="44" y="7"/>
                      <a:pt x="44" y="6"/>
                    </a:cubicBezTo>
                    <a:cubicBezTo>
                      <a:pt x="45" y="5"/>
                      <a:pt x="41" y="4"/>
                      <a:pt x="44" y="3"/>
                    </a:cubicBezTo>
                    <a:cubicBezTo>
                      <a:pt x="40" y="2"/>
                      <a:pt x="34" y="0"/>
                      <a:pt x="33" y="5"/>
                    </a:cubicBezTo>
                    <a:cubicBezTo>
                      <a:pt x="32" y="7"/>
                      <a:pt x="34" y="3"/>
                      <a:pt x="33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8" name="Freeform 710">
                <a:extLst>
                  <a:ext uri="{FF2B5EF4-FFF2-40B4-BE49-F238E27FC236}">
                    <a16:creationId xmlns:a16="http://schemas.microsoft.com/office/drawing/2014/main" id="{F88C4F98-F19C-4F4B-89C1-EE346891DC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7053" y="4358849"/>
                <a:ext cx="229360" cy="149721"/>
              </a:xfrm>
              <a:custGeom>
                <a:avLst/>
                <a:gdLst>
                  <a:gd name="T0" fmla="*/ 45 w 49"/>
                  <a:gd name="T1" fmla="*/ 10 h 32"/>
                  <a:gd name="T2" fmla="*/ 47 w 49"/>
                  <a:gd name="T3" fmla="*/ 8 h 32"/>
                  <a:gd name="T4" fmla="*/ 43 w 49"/>
                  <a:gd name="T5" fmla="*/ 7 h 32"/>
                  <a:gd name="T6" fmla="*/ 42 w 49"/>
                  <a:gd name="T7" fmla="*/ 6 h 32"/>
                  <a:gd name="T8" fmla="*/ 41 w 49"/>
                  <a:gd name="T9" fmla="*/ 6 h 32"/>
                  <a:gd name="T10" fmla="*/ 41 w 49"/>
                  <a:gd name="T11" fmla="*/ 4 h 32"/>
                  <a:gd name="T12" fmla="*/ 39 w 49"/>
                  <a:gd name="T13" fmla="*/ 2 h 32"/>
                  <a:gd name="T14" fmla="*/ 37 w 49"/>
                  <a:gd name="T15" fmla="*/ 2 h 32"/>
                  <a:gd name="T16" fmla="*/ 36 w 49"/>
                  <a:gd name="T17" fmla="*/ 1 h 32"/>
                  <a:gd name="T18" fmla="*/ 32 w 49"/>
                  <a:gd name="T19" fmla="*/ 6 h 32"/>
                  <a:gd name="T20" fmla="*/ 30 w 49"/>
                  <a:gd name="T21" fmla="*/ 8 h 32"/>
                  <a:gd name="T22" fmla="*/ 29 w 49"/>
                  <a:gd name="T23" fmla="*/ 9 h 32"/>
                  <a:gd name="T24" fmla="*/ 29 w 49"/>
                  <a:gd name="T25" fmla="*/ 10 h 32"/>
                  <a:gd name="T26" fmla="*/ 25 w 49"/>
                  <a:gd name="T27" fmla="*/ 12 h 32"/>
                  <a:gd name="T28" fmla="*/ 25 w 49"/>
                  <a:gd name="T29" fmla="*/ 15 h 32"/>
                  <a:gd name="T30" fmla="*/ 27 w 49"/>
                  <a:gd name="T31" fmla="*/ 14 h 32"/>
                  <a:gd name="T32" fmla="*/ 29 w 49"/>
                  <a:gd name="T33" fmla="*/ 13 h 32"/>
                  <a:gd name="T34" fmla="*/ 28 w 49"/>
                  <a:gd name="T35" fmla="*/ 11 h 32"/>
                  <a:gd name="T36" fmla="*/ 29 w 49"/>
                  <a:gd name="T37" fmla="*/ 13 h 32"/>
                  <a:gd name="T38" fmla="*/ 26 w 49"/>
                  <a:gd name="T39" fmla="*/ 14 h 32"/>
                  <a:gd name="T40" fmla="*/ 23 w 49"/>
                  <a:gd name="T41" fmla="*/ 13 h 32"/>
                  <a:gd name="T42" fmla="*/ 14 w 49"/>
                  <a:gd name="T43" fmla="*/ 20 h 32"/>
                  <a:gd name="T44" fmla="*/ 9 w 49"/>
                  <a:gd name="T45" fmla="*/ 23 h 32"/>
                  <a:gd name="T46" fmla="*/ 7 w 49"/>
                  <a:gd name="T47" fmla="*/ 26 h 32"/>
                  <a:gd name="T48" fmla="*/ 9 w 49"/>
                  <a:gd name="T49" fmla="*/ 28 h 32"/>
                  <a:gd name="T50" fmla="*/ 0 w 49"/>
                  <a:gd name="T51" fmla="*/ 26 h 32"/>
                  <a:gd name="T52" fmla="*/ 5 w 49"/>
                  <a:gd name="T53" fmla="*/ 32 h 32"/>
                  <a:gd name="T54" fmla="*/ 7 w 49"/>
                  <a:gd name="T55" fmla="*/ 31 h 32"/>
                  <a:gd name="T56" fmla="*/ 12 w 49"/>
                  <a:gd name="T57" fmla="*/ 30 h 32"/>
                  <a:gd name="T58" fmla="*/ 20 w 49"/>
                  <a:gd name="T59" fmla="*/ 29 h 32"/>
                  <a:gd name="T60" fmla="*/ 27 w 49"/>
                  <a:gd name="T61" fmla="*/ 24 h 32"/>
                  <a:gd name="T62" fmla="*/ 30 w 49"/>
                  <a:gd name="T63" fmla="*/ 18 h 32"/>
                  <a:gd name="T64" fmla="*/ 34 w 49"/>
                  <a:gd name="T65" fmla="*/ 14 h 32"/>
                  <a:gd name="T66" fmla="*/ 43 w 49"/>
                  <a:gd name="T67" fmla="*/ 14 h 32"/>
                  <a:gd name="T68" fmla="*/ 45 w 49"/>
                  <a:gd name="T69" fmla="*/ 1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9" h="32">
                    <a:moveTo>
                      <a:pt x="45" y="10"/>
                    </a:moveTo>
                    <a:cubicBezTo>
                      <a:pt x="48" y="10"/>
                      <a:pt x="49" y="9"/>
                      <a:pt x="47" y="8"/>
                    </a:cubicBezTo>
                    <a:cubicBezTo>
                      <a:pt x="45" y="7"/>
                      <a:pt x="45" y="6"/>
                      <a:pt x="43" y="7"/>
                    </a:cubicBezTo>
                    <a:cubicBezTo>
                      <a:pt x="42" y="8"/>
                      <a:pt x="43" y="7"/>
                      <a:pt x="42" y="6"/>
                    </a:cubicBezTo>
                    <a:cubicBezTo>
                      <a:pt x="42" y="6"/>
                      <a:pt x="41" y="6"/>
                      <a:pt x="41" y="6"/>
                    </a:cubicBezTo>
                    <a:cubicBezTo>
                      <a:pt x="41" y="6"/>
                      <a:pt x="41" y="4"/>
                      <a:pt x="41" y="4"/>
                    </a:cubicBezTo>
                    <a:cubicBezTo>
                      <a:pt x="40" y="3"/>
                      <a:pt x="39" y="2"/>
                      <a:pt x="39" y="2"/>
                    </a:cubicBezTo>
                    <a:cubicBezTo>
                      <a:pt x="37" y="0"/>
                      <a:pt x="38" y="1"/>
                      <a:pt x="37" y="2"/>
                    </a:cubicBezTo>
                    <a:cubicBezTo>
                      <a:pt x="36" y="3"/>
                      <a:pt x="36" y="1"/>
                      <a:pt x="36" y="1"/>
                    </a:cubicBezTo>
                    <a:cubicBezTo>
                      <a:pt x="35" y="1"/>
                      <a:pt x="32" y="5"/>
                      <a:pt x="32" y="6"/>
                    </a:cubicBezTo>
                    <a:cubicBezTo>
                      <a:pt x="31" y="6"/>
                      <a:pt x="30" y="7"/>
                      <a:pt x="30" y="8"/>
                    </a:cubicBezTo>
                    <a:cubicBezTo>
                      <a:pt x="29" y="8"/>
                      <a:pt x="29" y="9"/>
                      <a:pt x="29" y="9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29" y="11"/>
                      <a:pt x="26" y="11"/>
                      <a:pt x="25" y="12"/>
                    </a:cubicBezTo>
                    <a:cubicBezTo>
                      <a:pt x="22" y="12"/>
                      <a:pt x="23" y="14"/>
                      <a:pt x="25" y="15"/>
                    </a:cubicBezTo>
                    <a:cubicBezTo>
                      <a:pt x="27" y="17"/>
                      <a:pt x="26" y="15"/>
                      <a:pt x="27" y="14"/>
                    </a:cubicBezTo>
                    <a:cubicBezTo>
                      <a:pt x="27" y="13"/>
                      <a:pt x="29" y="13"/>
                      <a:pt x="29" y="13"/>
                    </a:cubicBezTo>
                    <a:cubicBezTo>
                      <a:pt x="29" y="13"/>
                      <a:pt x="28" y="12"/>
                      <a:pt x="28" y="11"/>
                    </a:cubicBezTo>
                    <a:cubicBezTo>
                      <a:pt x="28" y="12"/>
                      <a:pt x="29" y="13"/>
                      <a:pt x="29" y="13"/>
                    </a:cubicBezTo>
                    <a:cubicBezTo>
                      <a:pt x="29" y="13"/>
                      <a:pt x="27" y="13"/>
                      <a:pt x="26" y="14"/>
                    </a:cubicBezTo>
                    <a:cubicBezTo>
                      <a:pt x="26" y="17"/>
                      <a:pt x="24" y="14"/>
                      <a:pt x="23" y="13"/>
                    </a:cubicBezTo>
                    <a:cubicBezTo>
                      <a:pt x="20" y="16"/>
                      <a:pt x="18" y="19"/>
                      <a:pt x="14" y="20"/>
                    </a:cubicBezTo>
                    <a:cubicBezTo>
                      <a:pt x="12" y="21"/>
                      <a:pt x="10" y="21"/>
                      <a:pt x="9" y="23"/>
                    </a:cubicBezTo>
                    <a:cubicBezTo>
                      <a:pt x="8" y="24"/>
                      <a:pt x="8" y="25"/>
                      <a:pt x="7" y="26"/>
                    </a:cubicBezTo>
                    <a:cubicBezTo>
                      <a:pt x="7" y="27"/>
                      <a:pt x="9" y="28"/>
                      <a:pt x="9" y="28"/>
                    </a:cubicBezTo>
                    <a:cubicBezTo>
                      <a:pt x="8" y="29"/>
                      <a:pt x="1" y="26"/>
                      <a:pt x="0" y="26"/>
                    </a:cubicBezTo>
                    <a:cubicBezTo>
                      <a:pt x="1" y="28"/>
                      <a:pt x="3" y="31"/>
                      <a:pt x="5" y="32"/>
                    </a:cubicBezTo>
                    <a:cubicBezTo>
                      <a:pt x="6" y="32"/>
                      <a:pt x="7" y="31"/>
                      <a:pt x="7" y="31"/>
                    </a:cubicBezTo>
                    <a:cubicBezTo>
                      <a:pt x="9" y="30"/>
                      <a:pt x="12" y="31"/>
                      <a:pt x="12" y="30"/>
                    </a:cubicBezTo>
                    <a:cubicBezTo>
                      <a:pt x="15" y="27"/>
                      <a:pt x="17" y="28"/>
                      <a:pt x="20" y="29"/>
                    </a:cubicBezTo>
                    <a:cubicBezTo>
                      <a:pt x="23" y="29"/>
                      <a:pt x="26" y="27"/>
                      <a:pt x="27" y="24"/>
                    </a:cubicBezTo>
                    <a:cubicBezTo>
                      <a:pt x="28" y="22"/>
                      <a:pt x="29" y="20"/>
                      <a:pt x="30" y="18"/>
                    </a:cubicBezTo>
                    <a:cubicBezTo>
                      <a:pt x="30" y="15"/>
                      <a:pt x="31" y="14"/>
                      <a:pt x="34" y="14"/>
                    </a:cubicBezTo>
                    <a:cubicBezTo>
                      <a:pt x="37" y="14"/>
                      <a:pt x="40" y="15"/>
                      <a:pt x="43" y="14"/>
                    </a:cubicBezTo>
                    <a:cubicBezTo>
                      <a:pt x="47" y="13"/>
                      <a:pt x="40" y="10"/>
                      <a:pt x="45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9" name="Freeform 711">
                <a:extLst>
                  <a:ext uri="{FF2B5EF4-FFF2-40B4-BE49-F238E27FC236}">
                    <a16:creationId xmlns:a16="http://schemas.microsoft.com/office/drawing/2014/main" id="{22639408-BF1E-433C-8CB8-CABCCD9992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0371" y="3839605"/>
                <a:ext cx="79638" cy="46190"/>
              </a:xfrm>
              <a:custGeom>
                <a:avLst/>
                <a:gdLst>
                  <a:gd name="T0" fmla="*/ 2 w 17"/>
                  <a:gd name="T1" fmla="*/ 8 h 10"/>
                  <a:gd name="T2" fmla="*/ 7 w 17"/>
                  <a:gd name="T3" fmla="*/ 9 h 10"/>
                  <a:gd name="T4" fmla="*/ 12 w 17"/>
                  <a:gd name="T5" fmla="*/ 9 h 10"/>
                  <a:gd name="T6" fmla="*/ 16 w 17"/>
                  <a:gd name="T7" fmla="*/ 8 h 10"/>
                  <a:gd name="T8" fmla="*/ 15 w 17"/>
                  <a:gd name="T9" fmla="*/ 3 h 10"/>
                  <a:gd name="T10" fmla="*/ 10 w 17"/>
                  <a:gd name="T11" fmla="*/ 3 h 10"/>
                  <a:gd name="T12" fmla="*/ 6 w 17"/>
                  <a:gd name="T13" fmla="*/ 1 h 10"/>
                  <a:gd name="T14" fmla="*/ 2 w 17"/>
                  <a:gd name="T15" fmla="*/ 8 h 10"/>
                  <a:gd name="T16" fmla="*/ 2 w 17"/>
                  <a:gd name="T1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0">
                    <a:moveTo>
                      <a:pt x="2" y="8"/>
                    </a:moveTo>
                    <a:cubicBezTo>
                      <a:pt x="3" y="9"/>
                      <a:pt x="6" y="10"/>
                      <a:pt x="7" y="9"/>
                    </a:cubicBezTo>
                    <a:cubicBezTo>
                      <a:pt x="9" y="8"/>
                      <a:pt x="10" y="10"/>
                      <a:pt x="12" y="9"/>
                    </a:cubicBezTo>
                    <a:cubicBezTo>
                      <a:pt x="13" y="9"/>
                      <a:pt x="17" y="9"/>
                      <a:pt x="16" y="8"/>
                    </a:cubicBezTo>
                    <a:cubicBezTo>
                      <a:pt x="15" y="6"/>
                      <a:pt x="14" y="5"/>
                      <a:pt x="15" y="3"/>
                    </a:cubicBezTo>
                    <a:cubicBezTo>
                      <a:pt x="13" y="2"/>
                      <a:pt x="11" y="4"/>
                      <a:pt x="10" y="3"/>
                    </a:cubicBezTo>
                    <a:cubicBezTo>
                      <a:pt x="9" y="2"/>
                      <a:pt x="7" y="0"/>
                      <a:pt x="6" y="1"/>
                    </a:cubicBezTo>
                    <a:cubicBezTo>
                      <a:pt x="4" y="3"/>
                      <a:pt x="0" y="6"/>
                      <a:pt x="2" y="8"/>
                    </a:cubicBezTo>
                    <a:cubicBezTo>
                      <a:pt x="3" y="9"/>
                      <a:pt x="1" y="7"/>
                      <a:pt x="2" y="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0" name="Freeform 712">
                <a:extLst>
                  <a:ext uri="{FF2B5EF4-FFF2-40B4-BE49-F238E27FC236}">
                    <a16:creationId xmlns:a16="http://schemas.microsoft.com/office/drawing/2014/main" id="{2387033F-15B6-4768-8930-79E94DB18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202" y="3787044"/>
                <a:ext cx="173611" cy="108308"/>
              </a:xfrm>
              <a:custGeom>
                <a:avLst/>
                <a:gdLst>
                  <a:gd name="T0" fmla="*/ 1 w 37"/>
                  <a:gd name="T1" fmla="*/ 3 h 23"/>
                  <a:gd name="T2" fmla="*/ 0 w 37"/>
                  <a:gd name="T3" fmla="*/ 9 h 23"/>
                  <a:gd name="T4" fmla="*/ 5 w 37"/>
                  <a:gd name="T5" fmla="*/ 13 h 23"/>
                  <a:gd name="T6" fmla="*/ 7 w 37"/>
                  <a:gd name="T7" fmla="*/ 14 h 23"/>
                  <a:gd name="T8" fmla="*/ 12 w 37"/>
                  <a:gd name="T9" fmla="*/ 15 h 23"/>
                  <a:gd name="T10" fmla="*/ 15 w 37"/>
                  <a:gd name="T11" fmla="*/ 16 h 23"/>
                  <a:gd name="T12" fmla="*/ 19 w 37"/>
                  <a:gd name="T13" fmla="*/ 16 h 23"/>
                  <a:gd name="T14" fmla="*/ 22 w 37"/>
                  <a:gd name="T15" fmla="*/ 19 h 23"/>
                  <a:gd name="T16" fmla="*/ 26 w 37"/>
                  <a:gd name="T17" fmla="*/ 20 h 23"/>
                  <a:gd name="T18" fmla="*/ 29 w 37"/>
                  <a:gd name="T19" fmla="*/ 22 h 23"/>
                  <a:gd name="T20" fmla="*/ 32 w 37"/>
                  <a:gd name="T21" fmla="*/ 20 h 23"/>
                  <a:gd name="T22" fmla="*/ 35 w 37"/>
                  <a:gd name="T23" fmla="*/ 22 h 23"/>
                  <a:gd name="T24" fmla="*/ 37 w 37"/>
                  <a:gd name="T25" fmla="*/ 21 h 23"/>
                  <a:gd name="T26" fmla="*/ 37 w 37"/>
                  <a:gd name="T27" fmla="*/ 18 h 23"/>
                  <a:gd name="T28" fmla="*/ 37 w 37"/>
                  <a:gd name="T29" fmla="*/ 14 h 23"/>
                  <a:gd name="T30" fmla="*/ 32 w 37"/>
                  <a:gd name="T31" fmla="*/ 14 h 23"/>
                  <a:gd name="T32" fmla="*/ 31 w 37"/>
                  <a:gd name="T33" fmla="*/ 13 h 23"/>
                  <a:gd name="T34" fmla="*/ 28 w 37"/>
                  <a:gd name="T35" fmla="*/ 13 h 23"/>
                  <a:gd name="T36" fmla="*/ 26 w 37"/>
                  <a:gd name="T37" fmla="*/ 12 h 23"/>
                  <a:gd name="T38" fmla="*/ 24 w 37"/>
                  <a:gd name="T39" fmla="*/ 12 h 23"/>
                  <a:gd name="T40" fmla="*/ 20 w 37"/>
                  <a:gd name="T41" fmla="*/ 10 h 23"/>
                  <a:gd name="T42" fmla="*/ 18 w 37"/>
                  <a:gd name="T43" fmla="*/ 8 h 23"/>
                  <a:gd name="T44" fmla="*/ 16 w 37"/>
                  <a:gd name="T45" fmla="*/ 7 h 23"/>
                  <a:gd name="T46" fmla="*/ 10 w 37"/>
                  <a:gd name="T47" fmla="*/ 2 h 23"/>
                  <a:gd name="T48" fmla="*/ 8 w 37"/>
                  <a:gd name="T49" fmla="*/ 0 h 23"/>
                  <a:gd name="T50" fmla="*/ 5 w 37"/>
                  <a:gd name="T51" fmla="*/ 2 h 23"/>
                  <a:gd name="T52" fmla="*/ 4 w 37"/>
                  <a:gd name="T53" fmla="*/ 2 h 23"/>
                  <a:gd name="T54" fmla="*/ 1 w 37"/>
                  <a:gd name="T55" fmla="*/ 3 h 23"/>
                  <a:gd name="T56" fmla="*/ 1 w 37"/>
                  <a:gd name="T57" fmla="*/ 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7" h="23">
                    <a:moveTo>
                      <a:pt x="1" y="3"/>
                    </a:moveTo>
                    <a:cubicBezTo>
                      <a:pt x="0" y="4"/>
                      <a:pt x="0" y="8"/>
                      <a:pt x="0" y="9"/>
                    </a:cubicBezTo>
                    <a:cubicBezTo>
                      <a:pt x="1" y="10"/>
                      <a:pt x="4" y="11"/>
                      <a:pt x="5" y="13"/>
                    </a:cubicBezTo>
                    <a:cubicBezTo>
                      <a:pt x="6" y="13"/>
                      <a:pt x="7" y="14"/>
                      <a:pt x="7" y="14"/>
                    </a:cubicBezTo>
                    <a:cubicBezTo>
                      <a:pt x="9" y="15"/>
                      <a:pt x="10" y="14"/>
                      <a:pt x="12" y="15"/>
                    </a:cubicBezTo>
                    <a:cubicBezTo>
                      <a:pt x="13" y="15"/>
                      <a:pt x="14" y="16"/>
                      <a:pt x="15" y="16"/>
                    </a:cubicBezTo>
                    <a:cubicBezTo>
                      <a:pt x="16" y="16"/>
                      <a:pt x="18" y="16"/>
                      <a:pt x="19" y="16"/>
                    </a:cubicBezTo>
                    <a:cubicBezTo>
                      <a:pt x="20" y="17"/>
                      <a:pt x="21" y="18"/>
                      <a:pt x="22" y="19"/>
                    </a:cubicBezTo>
                    <a:cubicBezTo>
                      <a:pt x="23" y="19"/>
                      <a:pt x="25" y="19"/>
                      <a:pt x="26" y="20"/>
                    </a:cubicBezTo>
                    <a:cubicBezTo>
                      <a:pt x="27" y="20"/>
                      <a:pt x="28" y="22"/>
                      <a:pt x="29" y="22"/>
                    </a:cubicBezTo>
                    <a:cubicBezTo>
                      <a:pt x="30" y="22"/>
                      <a:pt x="31" y="20"/>
                      <a:pt x="32" y="20"/>
                    </a:cubicBezTo>
                    <a:cubicBezTo>
                      <a:pt x="33" y="21"/>
                      <a:pt x="33" y="23"/>
                      <a:pt x="35" y="22"/>
                    </a:cubicBezTo>
                    <a:cubicBezTo>
                      <a:pt x="35" y="22"/>
                      <a:pt x="37" y="21"/>
                      <a:pt x="37" y="21"/>
                    </a:cubicBezTo>
                    <a:cubicBezTo>
                      <a:pt x="37" y="20"/>
                      <a:pt x="37" y="19"/>
                      <a:pt x="37" y="18"/>
                    </a:cubicBezTo>
                    <a:cubicBezTo>
                      <a:pt x="36" y="17"/>
                      <a:pt x="37" y="16"/>
                      <a:pt x="37" y="14"/>
                    </a:cubicBezTo>
                    <a:cubicBezTo>
                      <a:pt x="35" y="14"/>
                      <a:pt x="34" y="15"/>
                      <a:pt x="32" y="14"/>
                    </a:cubicBezTo>
                    <a:cubicBezTo>
                      <a:pt x="32" y="14"/>
                      <a:pt x="31" y="13"/>
                      <a:pt x="31" y="13"/>
                    </a:cubicBezTo>
                    <a:cubicBezTo>
                      <a:pt x="30" y="13"/>
                      <a:pt x="29" y="14"/>
                      <a:pt x="28" y="13"/>
                    </a:cubicBezTo>
                    <a:cubicBezTo>
                      <a:pt x="28" y="13"/>
                      <a:pt x="27" y="12"/>
                      <a:pt x="26" y="12"/>
                    </a:cubicBezTo>
                    <a:cubicBezTo>
                      <a:pt x="25" y="12"/>
                      <a:pt x="24" y="14"/>
                      <a:pt x="24" y="12"/>
                    </a:cubicBezTo>
                    <a:cubicBezTo>
                      <a:pt x="22" y="10"/>
                      <a:pt x="21" y="11"/>
                      <a:pt x="20" y="10"/>
                    </a:cubicBezTo>
                    <a:cubicBezTo>
                      <a:pt x="19" y="9"/>
                      <a:pt x="19" y="8"/>
                      <a:pt x="18" y="8"/>
                    </a:cubicBezTo>
                    <a:cubicBezTo>
                      <a:pt x="17" y="7"/>
                      <a:pt x="16" y="7"/>
                      <a:pt x="16" y="7"/>
                    </a:cubicBezTo>
                    <a:cubicBezTo>
                      <a:pt x="14" y="6"/>
                      <a:pt x="11" y="4"/>
                      <a:pt x="10" y="2"/>
                    </a:cubicBezTo>
                    <a:cubicBezTo>
                      <a:pt x="10" y="1"/>
                      <a:pt x="9" y="0"/>
                      <a:pt x="8" y="0"/>
                    </a:cubicBezTo>
                    <a:cubicBezTo>
                      <a:pt x="6" y="0"/>
                      <a:pt x="6" y="1"/>
                      <a:pt x="5" y="2"/>
                    </a:cubicBezTo>
                    <a:cubicBezTo>
                      <a:pt x="5" y="3"/>
                      <a:pt x="4" y="2"/>
                      <a:pt x="4" y="2"/>
                    </a:cubicBezTo>
                    <a:cubicBezTo>
                      <a:pt x="3" y="3"/>
                      <a:pt x="2" y="3"/>
                      <a:pt x="1" y="3"/>
                    </a:cubicBezTo>
                    <a:cubicBezTo>
                      <a:pt x="0" y="4"/>
                      <a:pt x="2" y="3"/>
                      <a:pt x="1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1" name="Freeform 713">
                <a:extLst>
                  <a:ext uri="{FF2B5EF4-FFF2-40B4-BE49-F238E27FC236}">
                    <a16:creationId xmlns:a16="http://schemas.microsoft.com/office/drawing/2014/main" id="{326ED9F3-5C61-4446-BB69-EB0053CF6C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88219" y="4180458"/>
                <a:ext cx="130606" cy="108308"/>
              </a:xfrm>
              <a:custGeom>
                <a:avLst/>
                <a:gdLst>
                  <a:gd name="T0" fmla="*/ 14 w 28"/>
                  <a:gd name="T1" fmla="*/ 19 h 23"/>
                  <a:gd name="T2" fmla="*/ 19 w 28"/>
                  <a:gd name="T3" fmla="*/ 18 h 23"/>
                  <a:gd name="T4" fmla="*/ 19 w 28"/>
                  <a:gd name="T5" fmla="*/ 15 h 23"/>
                  <a:gd name="T6" fmla="*/ 21 w 28"/>
                  <a:gd name="T7" fmla="*/ 14 h 23"/>
                  <a:gd name="T8" fmla="*/ 24 w 28"/>
                  <a:gd name="T9" fmla="*/ 12 h 23"/>
                  <a:gd name="T10" fmla="*/ 27 w 28"/>
                  <a:gd name="T11" fmla="*/ 9 h 23"/>
                  <a:gd name="T12" fmla="*/ 26 w 28"/>
                  <a:gd name="T13" fmla="*/ 1 h 23"/>
                  <a:gd name="T14" fmla="*/ 22 w 28"/>
                  <a:gd name="T15" fmla="*/ 1 h 23"/>
                  <a:gd name="T16" fmla="*/ 19 w 28"/>
                  <a:gd name="T17" fmla="*/ 2 h 23"/>
                  <a:gd name="T18" fmla="*/ 17 w 28"/>
                  <a:gd name="T19" fmla="*/ 2 h 23"/>
                  <a:gd name="T20" fmla="*/ 3 w 28"/>
                  <a:gd name="T21" fmla="*/ 3 h 23"/>
                  <a:gd name="T22" fmla="*/ 0 w 28"/>
                  <a:gd name="T23" fmla="*/ 7 h 23"/>
                  <a:gd name="T24" fmla="*/ 1 w 28"/>
                  <a:gd name="T25" fmla="*/ 10 h 23"/>
                  <a:gd name="T26" fmla="*/ 3 w 28"/>
                  <a:gd name="T27" fmla="*/ 14 h 23"/>
                  <a:gd name="T28" fmla="*/ 5 w 28"/>
                  <a:gd name="T29" fmla="*/ 18 h 23"/>
                  <a:gd name="T30" fmla="*/ 6 w 28"/>
                  <a:gd name="T31" fmla="*/ 19 h 23"/>
                  <a:gd name="T32" fmla="*/ 7 w 28"/>
                  <a:gd name="T33" fmla="*/ 21 h 23"/>
                  <a:gd name="T34" fmla="*/ 8 w 28"/>
                  <a:gd name="T35" fmla="*/ 23 h 23"/>
                  <a:gd name="T36" fmla="*/ 14 w 28"/>
                  <a:gd name="T37" fmla="*/ 19 h 23"/>
                  <a:gd name="T38" fmla="*/ 14 w 28"/>
                  <a:gd name="T39" fmla="*/ 1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" h="23">
                    <a:moveTo>
                      <a:pt x="14" y="19"/>
                    </a:moveTo>
                    <a:cubicBezTo>
                      <a:pt x="14" y="18"/>
                      <a:pt x="20" y="20"/>
                      <a:pt x="19" y="18"/>
                    </a:cubicBezTo>
                    <a:cubicBezTo>
                      <a:pt x="19" y="18"/>
                      <a:pt x="18" y="15"/>
                      <a:pt x="19" y="15"/>
                    </a:cubicBezTo>
                    <a:cubicBezTo>
                      <a:pt x="20" y="15"/>
                      <a:pt x="21" y="16"/>
                      <a:pt x="21" y="14"/>
                    </a:cubicBezTo>
                    <a:cubicBezTo>
                      <a:pt x="21" y="12"/>
                      <a:pt x="23" y="13"/>
                      <a:pt x="24" y="12"/>
                    </a:cubicBezTo>
                    <a:cubicBezTo>
                      <a:pt x="26" y="12"/>
                      <a:pt x="26" y="10"/>
                      <a:pt x="27" y="9"/>
                    </a:cubicBezTo>
                    <a:cubicBezTo>
                      <a:pt x="28" y="7"/>
                      <a:pt x="25" y="2"/>
                      <a:pt x="26" y="1"/>
                    </a:cubicBezTo>
                    <a:cubicBezTo>
                      <a:pt x="24" y="2"/>
                      <a:pt x="24" y="2"/>
                      <a:pt x="22" y="1"/>
                    </a:cubicBezTo>
                    <a:cubicBezTo>
                      <a:pt x="21" y="0"/>
                      <a:pt x="19" y="2"/>
                      <a:pt x="19" y="2"/>
                    </a:cubicBezTo>
                    <a:cubicBezTo>
                      <a:pt x="19" y="4"/>
                      <a:pt x="17" y="2"/>
                      <a:pt x="17" y="2"/>
                    </a:cubicBezTo>
                    <a:cubicBezTo>
                      <a:pt x="13" y="1"/>
                      <a:pt x="6" y="0"/>
                      <a:pt x="3" y="3"/>
                    </a:cubicBezTo>
                    <a:cubicBezTo>
                      <a:pt x="2" y="4"/>
                      <a:pt x="0" y="5"/>
                      <a:pt x="0" y="7"/>
                    </a:cubicBezTo>
                    <a:cubicBezTo>
                      <a:pt x="0" y="8"/>
                      <a:pt x="1" y="9"/>
                      <a:pt x="1" y="10"/>
                    </a:cubicBezTo>
                    <a:cubicBezTo>
                      <a:pt x="3" y="11"/>
                      <a:pt x="3" y="13"/>
                      <a:pt x="3" y="14"/>
                    </a:cubicBezTo>
                    <a:cubicBezTo>
                      <a:pt x="4" y="16"/>
                      <a:pt x="4" y="17"/>
                      <a:pt x="5" y="18"/>
                    </a:cubicBezTo>
                    <a:cubicBezTo>
                      <a:pt x="5" y="19"/>
                      <a:pt x="6" y="18"/>
                      <a:pt x="6" y="19"/>
                    </a:cubicBezTo>
                    <a:cubicBezTo>
                      <a:pt x="7" y="19"/>
                      <a:pt x="6" y="20"/>
                      <a:pt x="7" y="21"/>
                    </a:cubicBezTo>
                    <a:cubicBezTo>
                      <a:pt x="9" y="21"/>
                      <a:pt x="8" y="22"/>
                      <a:pt x="8" y="23"/>
                    </a:cubicBezTo>
                    <a:cubicBezTo>
                      <a:pt x="8" y="22"/>
                      <a:pt x="14" y="20"/>
                      <a:pt x="14" y="19"/>
                    </a:cubicBezTo>
                    <a:cubicBezTo>
                      <a:pt x="14" y="19"/>
                      <a:pt x="14" y="20"/>
                      <a:pt x="14" y="1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2" name="Freeform 714">
                <a:extLst>
                  <a:ext uri="{FF2B5EF4-FFF2-40B4-BE49-F238E27FC236}">
                    <a16:creationId xmlns:a16="http://schemas.microsoft.com/office/drawing/2014/main" id="{17CA870B-0E60-471C-BC1C-8D193872E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7251" y="4371591"/>
                <a:ext cx="103530" cy="122645"/>
              </a:xfrm>
              <a:custGeom>
                <a:avLst/>
                <a:gdLst>
                  <a:gd name="T0" fmla="*/ 10 w 22"/>
                  <a:gd name="T1" fmla="*/ 3 h 26"/>
                  <a:gd name="T2" fmla="*/ 7 w 22"/>
                  <a:gd name="T3" fmla="*/ 4 h 26"/>
                  <a:gd name="T4" fmla="*/ 6 w 22"/>
                  <a:gd name="T5" fmla="*/ 4 h 26"/>
                  <a:gd name="T6" fmla="*/ 5 w 22"/>
                  <a:gd name="T7" fmla="*/ 1 h 26"/>
                  <a:gd name="T8" fmla="*/ 0 w 22"/>
                  <a:gd name="T9" fmla="*/ 0 h 26"/>
                  <a:gd name="T10" fmla="*/ 1 w 22"/>
                  <a:gd name="T11" fmla="*/ 6 h 26"/>
                  <a:gd name="T12" fmla="*/ 4 w 22"/>
                  <a:gd name="T13" fmla="*/ 14 h 26"/>
                  <a:gd name="T14" fmla="*/ 9 w 22"/>
                  <a:gd name="T15" fmla="*/ 21 h 26"/>
                  <a:gd name="T16" fmla="*/ 19 w 22"/>
                  <a:gd name="T17" fmla="*/ 26 h 26"/>
                  <a:gd name="T18" fmla="*/ 20 w 22"/>
                  <a:gd name="T19" fmla="*/ 23 h 26"/>
                  <a:gd name="T20" fmla="*/ 16 w 22"/>
                  <a:gd name="T21" fmla="*/ 14 h 26"/>
                  <a:gd name="T22" fmla="*/ 16 w 22"/>
                  <a:gd name="T23" fmla="*/ 6 h 26"/>
                  <a:gd name="T24" fmla="*/ 10 w 22"/>
                  <a:gd name="T25" fmla="*/ 3 h 26"/>
                  <a:gd name="T26" fmla="*/ 10 w 22"/>
                  <a:gd name="T27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26">
                    <a:moveTo>
                      <a:pt x="10" y="3"/>
                    </a:moveTo>
                    <a:cubicBezTo>
                      <a:pt x="9" y="3"/>
                      <a:pt x="8" y="4"/>
                      <a:pt x="7" y="4"/>
                    </a:cubicBezTo>
                    <a:cubicBezTo>
                      <a:pt x="7" y="3"/>
                      <a:pt x="6" y="4"/>
                      <a:pt x="6" y="4"/>
                    </a:cubicBezTo>
                    <a:cubicBezTo>
                      <a:pt x="5" y="4"/>
                      <a:pt x="5" y="2"/>
                      <a:pt x="5" y="1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1" y="1"/>
                      <a:pt x="1" y="4"/>
                      <a:pt x="1" y="6"/>
                    </a:cubicBezTo>
                    <a:cubicBezTo>
                      <a:pt x="2" y="8"/>
                      <a:pt x="3" y="11"/>
                      <a:pt x="4" y="14"/>
                    </a:cubicBezTo>
                    <a:cubicBezTo>
                      <a:pt x="6" y="16"/>
                      <a:pt x="7" y="19"/>
                      <a:pt x="9" y="21"/>
                    </a:cubicBezTo>
                    <a:cubicBezTo>
                      <a:pt x="12" y="22"/>
                      <a:pt x="15" y="26"/>
                      <a:pt x="19" y="26"/>
                    </a:cubicBezTo>
                    <a:cubicBezTo>
                      <a:pt x="22" y="26"/>
                      <a:pt x="21" y="25"/>
                      <a:pt x="20" y="23"/>
                    </a:cubicBezTo>
                    <a:cubicBezTo>
                      <a:pt x="18" y="20"/>
                      <a:pt x="16" y="18"/>
                      <a:pt x="16" y="14"/>
                    </a:cubicBezTo>
                    <a:cubicBezTo>
                      <a:pt x="16" y="11"/>
                      <a:pt x="18" y="9"/>
                      <a:pt x="16" y="6"/>
                    </a:cubicBezTo>
                    <a:cubicBezTo>
                      <a:pt x="15" y="5"/>
                      <a:pt x="11" y="0"/>
                      <a:pt x="10" y="3"/>
                    </a:cubicBezTo>
                    <a:cubicBezTo>
                      <a:pt x="9" y="4"/>
                      <a:pt x="10" y="2"/>
                      <a:pt x="10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3" name="Freeform 715">
                <a:extLst>
                  <a:ext uri="{FF2B5EF4-FFF2-40B4-BE49-F238E27FC236}">
                    <a16:creationId xmlns:a16="http://schemas.microsoft.com/office/drawing/2014/main" id="{16F3428D-D63E-4D3E-8AD3-B0816979F7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54296" y="3132415"/>
                <a:ext cx="1400049" cy="912658"/>
              </a:xfrm>
              <a:custGeom>
                <a:avLst/>
                <a:gdLst>
                  <a:gd name="T0" fmla="*/ 279 w 300"/>
                  <a:gd name="T1" fmla="*/ 37 h 195"/>
                  <a:gd name="T2" fmla="*/ 244 w 300"/>
                  <a:gd name="T3" fmla="*/ 1 h 195"/>
                  <a:gd name="T4" fmla="*/ 223 w 300"/>
                  <a:gd name="T5" fmla="*/ 18 h 195"/>
                  <a:gd name="T6" fmla="*/ 214 w 300"/>
                  <a:gd name="T7" fmla="*/ 27 h 195"/>
                  <a:gd name="T8" fmla="*/ 205 w 300"/>
                  <a:gd name="T9" fmla="*/ 39 h 195"/>
                  <a:gd name="T10" fmla="*/ 224 w 300"/>
                  <a:gd name="T11" fmla="*/ 46 h 195"/>
                  <a:gd name="T12" fmla="*/ 197 w 300"/>
                  <a:gd name="T13" fmla="*/ 55 h 195"/>
                  <a:gd name="T14" fmla="*/ 180 w 300"/>
                  <a:gd name="T15" fmla="*/ 66 h 195"/>
                  <a:gd name="T16" fmla="*/ 146 w 300"/>
                  <a:gd name="T17" fmla="*/ 75 h 195"/>
                  <a:gd name="T18" fmla="*/ 121 w 300"/>
                  <a:gd name="T19" fmla="*/ 70 h 195"/>
                  <a:gd name="T20" fmla="*/ 94 w 300"/>
                  <a:gd name="T21" fmla="*/ 56 h 195"/>
                  <a:gd name="T22" fmla="*/ 66 w 300"/>
                  <a:gd name="T23" fmla="*/ 30 h 195"/>
                  <a:gd name="T24" fmla="*/ 56 w 300"/>
                  <a:gd name="T25" fmla="*/ 44 h 195"/>
                  <a:gd name="T26" fmla="*/ 44 w 300"/>
                  <a:gd name="T27" fmla="*/ 51 h 195"/>
                  <a:gd name="T28" fmla="*/ 34 w 300"/>
                  <a:gd name="T29" fmla="*/ 63 h 195"/>
                  <a:gd name="T30" fmla="*/ 28 w 300"/>
                  <a:gd name="T31" fmla="*/ 76 h 195"/>
                  <a:gd name="T32" fmla="*/ 11 w 300"/>
                  <a:gd name="T33" fmla="*/ 84 h 195"/>
                  <a:gd name="T34" fmla="*/ 1 w 300"/>
                  <a:gd name="T35" fmla="*/ 91 h 195"/>
                  <a:gd name="T36" fmla="*/ 7 w 300"/>
                  <a:gd name="T37" fmla="*/ 103 h 195"/>
                  <a:gd name="T38" fmla="*/ 23 w 300"/>
                  <a:gd name="T39" fmla="*/ 111 h 195"/>
                  <a:gd name="T40" fmla="*/ 27 w 300"/>
                  <a:gd name="T41" fmla="*/ 121 h 195"/>
                  <a:gd name="T42" fmla="*/ 27 w 300"/>
                  <a:gd name="T43" fmla="*/ 135 h 195"/>
                  <a:gd name="T44" fmla="*/ 40 w 300"/>
                  <a:gd name="T45" fmla="*/ 140 h 195"/>
                  <a:gd name="T46" fmla="*/ 62 w 300"/>
                  <a:gd name="T47" fmla="*/ 154 h 195"/>
                  <a:gd name="T48" fmla="*/ 74 w 300"/>
                  <a:gd name="T49" fmla="*/ 156 h 195"/>
                  <a:gd name="T50" fmla="*/ 92 w 300"/>
                  <a:gd name="T51" fmla="*/ 151 h 195"/>
                  <a:gd name="T52" fmla="*/ 106 w 300"/>
                  <a:gd name="T53" fmla="*/ 146 h 195"/>
                  <a:gd name="T54" fmla="*/ 116 w 300"/>
                  <a:gd name="T55" fmla="*/ 155 h 195"/>
                  <a:gd name="T56" fmla="*/ 117 w 300"/>
                  <a:gd name="T57" fmla="*/ 166 h 195"/>
                  <a:gd name="T58" fmla="*/ 119 w 300"/>
                  <a:gd name="T59" fmla="*/ 178 h 195"/>
                  <a:gd name="T60" fmla="*/ 125 w 300"/>
                  <a:gd name="T61" fmla="*/ 187 h 195"/>
                  <a:gd name="T62" fmla="*/ 134 w 300"/>
                  <a:gd name="T63" fmla="*/ 186 h 195"/>
                  <a:gd name="T64" fmla="*/ 143 w 300"/>
                  <a:gd name="T65" fmla="*/ 182 h 195"/>
                  <a:gd name="T66" fmla="*/ 155 w 300"/>
                  <a:gd name="T67" fmla="*/ 180 h 195"/>
                  <a:gd name="T68" fmla="*/ 168 w 300"/>
                  <a:gd name="T69" fmla="*/ 186 h 195"/>
                  <a:gd name="T70" fmla="*/ 175 w 300"/>
                  <a:gd name="T71" fmla="*/ 195 h 195"/>
                  <a:gd name="T72" fmla="*/ 189 w 300"/>
                  <a:gd name="T73" fmla="*/ 186 h 195"/>
                  <a:gd name="T74" fmla="*/ 202 w 300"/>
                  <a:gd name="T75" fmla="*/ 182 h 195"/>
                  <a:gd name="T76" fmla="*/ 215 w 300"/>
                  <a:gd name="T77" fmla="*/ 173 h 195"/>
                  <a:gd name="T78" fmla="*/ 221 w 300"/>
                  <a:gd name="T79" fmla="*/ 164 h 195"/>
                  <a:gd name="T80" fmla="*/ 228 w 300"/>
                  <a:gd name="T81" fmla="*/ 156 h 195"/>
                  <a:gd name="T82" fmla="*/ 232 w 300"/>
                  <a:gd name="T83" fmla="*/ 149 h 195"/>
                  <a:gd name="T84" fmla="*/ 236 w 300"/>
                  <a:gd name="T85" fmla="*/ 143 h 195"/>
                  <a:gd name="T86" fmla="*/ 231 w 300"/>
                  <a:gd name="T87" fmla="*/ 139 h 195"/>
                  <a:gd name="T88" fmla="*/ 229 w 300"/>
                  <a:gd name="T89" fmla="*/ 132 h 195"/>
                  <a:gd name="T90" fmla="*/ 221 w 300"/>
                  <a:gd name="T91" fmla="*/ 115 h 195"/>
                  <a:gd name="T92" fmla="*/ 229 w 300"/>
                  <a:gd name="T93" fmla="*/ 106 h 195"/>
                  <a:gd name="T94" fmla="*/ 238 w 300"/>
                  <a:gd name="T95" fmla="*/ 102 h 195"/>
                  <a:gd name="T96" fmla="*/ 220 w 300"/>
                  <a:gd name="T97" fmla="*/ 102 h 195"/>
                  <a:gd name="T98" fmla="*/ 221 w 300"/>
                  <a:gd name="T99" fmla="*/ 90 h 195"/>
                  <a:gd name="T100" fmla="*/ 234 w 300"/>
                  <a:gd name="T101" fmla="*/ 87 h 195"/>
                  <a:gd name="T102" fmla="*/ 238 w 300"/>
                  <a:gd name="T103" fmla="*/ 89 h 195"/>
                  <a:gd name="T104" fmla="*/ 259 w 300"/>
                  <a:gd name="T105" fmla="*/ 77 h 195"/>
                  <a:gd name="T106" fmla="*/ 271 w 300"/>
                  <a:gd name="T107" fmla="*/ 72 h 195"/>
                  <a:gd name="T108" fmla="*/ 281 w 300"/>
                  <a:gd name="T109" fmla="*/ 60 h 195"/>
                  <a:gd name="T110" fmla="*/ 295 w 300"/>
                  <a:gd name="T111" fmla="*/ 47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00" h="195">
                    <a:moveTo>
                      <a:pt x="298" y="37"/>
                    </a:moveTo>
                    <a:cubicBezTo>
                      <a:pt x="298" y="35"/>
                      <a:pt x="294" y="36"/>
                      <a:pt x="293" y="37"/>
                    </a:cubicBezTo>
                    <a:cubicBezTo>
                      <a:pt x="291" y="37"/>
                      <a:pt x="290" y="38"/>
                      <a:pt x="288" y="39"/>
                    </a:cubicBezTo>
                    <a:cubicBezTo>
                      <a:pt x="286" y="40"/>
                      <a:pt x="279" y="40"/>
                      <a:pt x="279" y="37"/>
                    </a:cubicBezTo>
                    <a:cubicBezTo>
                      <a:pt x="277" y="33"/>
                      <a:pt x="276" y="31"/>
                      <a:pt x="272" y="29"/>
                    </a:cubicBezTo>
                    <a:cubicBezTo>
                      <a:pt x="269" y="28"/>
                      <a:pt x="263" y="28"/>
                      <a:pt x="262" y="24"/>
                    </a:cubicBezTo>
                    <a:cubicBezTo>
                      <a:pt x="261" y="18"/>
                      <a:pt x="259" y="11"/>
                      <a:pt x="255" y="6"/>
                    </a:cubicBezTo>
                    <a:cubicBezTo>
                      <a:pt x="252" y="3"/>
                      <a:pt x="248" y="3"/>
                      <a:pt x="244" y="1"/>
                    </a:cubicBezTo>
                    <a:cubicBezTo>
                      <a:pt x="240" y="0"/>
                      <a:pt x="233" y="1"/>
                      <a:pt x="229" y="3"/>
                    </a:cubicBezTo>
                    <a:cubicBezTo>
                      <a:pt x="228" y="4"/>
                      <a:pt x="226" y="5"/>
                      <a:pt x="225" y="6"/>
                    </a:cubicBezTo>
                    <a:cubicBezTo>
                      <a:pt x="225" y="7"/>
                      <a:pt x="228" y="7"/>
                      <a:pt x="228" y="8"/>
                    </a:cubicBezTo>
                    <a:cubicBezTo>
                      <a:pt x="229" y="12"/>
                      <a:pt x="224" y="15"/>
                      <a:pt x="223" y="18"/>
                    </a:cubicBezTo>
                    <a:cubicBezTo>
                      <a:pt x="222" y="19"/>
                      <a:pt x="222" y="20"/>
                      <a:pt x="222" y="21"/>
                    </a:cubicBezTo>
                    <a:cubicBezTo>
                      <a:pt x="222" y="22"/>
                      <a:pt x="222" y="22"/>
                      <a:pt x="222" y="23"/>
                    </a:cubicBezTo>
                    <a:cubicBezTo>
                      <a:pt x="222" y="25"/>
                      <a:pt x="219" y="25"/>
                      <a:pt x="217" y="26"/>
                    </a:cubicBezTo>
                    <a:cubicBezTo>
                      <a:pt x="216" y="26"/>
                      <a:pt x="215" y="27"/>
                      <a:pt x="214" y="27"/>
                    </a:cubicBezTo>
                    <a:cubicBezTo>
                      <a:pt x="213" y="27"/>
                      <a:pt x="208" y="25"/>
                      <a:pt x="208" y="25"/>
                    </a:cubicBezTo>
                    <a:cubicBezTo>
                      <a:pt x="207" y="27"/>
                      <a:pt x="206" y="30"/>
                      <a:pt x="205" y="32"/>
                    </a:cubicBezTo>
                    <a:cubicBezTo>
                      <a:pt x="205" y="33"/>
                      <a:pt x="204" y="34"/>
                      <a:pt x="204" y="35"/>
                    </a:cubicBezTo>
                    <a:cubicBezTo>
                      <a:pt x="204" y="35"/>
                      <a:pt x="202" y="41"/>
                      <a:pt x="205" y="39"/>
                    </a:cubicBezTo>
                    <a:cubicBezTo>
                      <a:pt x="206" y="38"/>
                      <a:pt x="206" y="38"/>
                      <a:pt x="208" y="38"/>
                    </a:cubicBezTo>
                    <a:cubicBezTo>
                      <a:pt x="209" y="38"/>
                      <a:pt x="211" y="40"/>
                      <a:pt x="212" y="39"/>
                    </a:cubicBezTo>
                    <a:cubicBezTo>
                      <a:pt x="216" y="36"/>
                      <a:pt x="219" y="38"/>
                      <a:pt x="222" y="42"/>
                    </a:cubicBezTo>
                    <a:cubicBezTo>
                      <a:pt x="223" y="43"/>
                      <a:pt x="225" y="45"/>
                      <a:pt x="224" y="46"/>
                    </a:cubicBezTo>
                    <a:cubicBezTo>
                      <a:pt x="224" y="46"/>
                      <a:pt x="220" y="45"/>
                      <a:pt x="219" y="45"/>
                    </a:cubicBezTo>
                    <a:cubicBezTo>
                      <a:pt x="216" y="46"/>
                      <a:pt x="212" y="46"/>
                      <a:pt x="209" y="47"/>
                    </a:cubicBezTo>
                    <a:cubicBezTo>
                      <a:pt x="206" y="48"/>
                      <a:pt x="206" y="54"/>
                      <a:pt x="202" y="54"/>
                    </a:cubicBezTo>
                    <a:cubicBezTo>
                      <a:pt x="200" y="54"/>
                      <a:pt x="198" y="53"/>
                      <a:pt x="197" y="55"/>
                    </a:cubicBezTo>
                    <a:cubicBezTo>
                      <a:pt x="196" y="56"/>
                      <a:pt x="194" y="58"/>
                      <a:pt x="192" y="58"/>
                    </a:cubicBezTo>
                    <a:cubicBezTo>
                      <a:pt x="189" y="57"/>
                      <a:pt x="183" y="53"/>
                      <a:pt x="182" y="59"/>
                    </a:cubicBezTo>
                    <a:cubicBezTo>
                      <a:pt x="182" y="61"/>
                      <a:pt x="184" y="62"/>
                      <a:pt x="184" y="63"/>
                    </a:cubicBezTo>
                    <a:cubicBezTo>
                      <a:pt x="184" y="65"/>
                      <a:pt x="181" y="65"/>
                      <a:pt x="180" y="66"/>
                    </a:cubicBezTo>
                    <a:cubicBezTo>
                      <a:pt x="177" y="69"/>
                      <a:pt x="176" y="72"/>
                      <a:pt x="172" y="72"/>
                    </a:cubicBezTo>
                    <a:cubicBezTo>
                      <a:pt x="167" y="72"/>
                      <a:pt x="162" y="72"/>
                      <a:pt x="157" y="73"/>
                    </a:cubicBezTo>
                    <a:cubicBezTo>
                      <a:pt x="155" y="74"/>
                      <a:pt x="151" y="78"/>
                      <a:pt x="150" y="77"/>
                    </a:cubicBezTo>
                    <a:cubicBezTo>
                      <a:pt x="148" y="77"/>
                      <a:pt x="147" y="75"/>
                      <a:pt x="146" y="75"/>
                    </a:cubicBezTo>
                    <a:cubicBezTo>
                      <a:pt x="144" y="75"/>
                      <a:pt x="143" y="75"/>
                      <a:pt x="141" y="75"/>
                    </a:cubicBezTo>
                    <a:cubicBezTo>
                      <a:pt x="139" y="74"/>
                      <a:pt x="137" y="74"/>
                      <a:pt x="135" y="72"/>
                    </a:cubicBezTo>
                    <a:cubicBezTo>
                      <a:pt x="133" y="71"/>
                      <a:pt x="132" y="71"/>
                      <a:pt x="131" y="70"/>
                    </a:cubicBezTo>
                    <a:cubicBezTo>
                      <a:pt x="127" y="70"/>
                      <a:pt x="125" y="70"/>
                      <a:pt x="121" y="70"/>
                    </a:cubicBezTo>
                    <a:cubicBezTo>
                      <a:pt x="118" y="70"/>
                      <a:pt x="113" y="71"/>
                      <a:pt x="109" y="70"/>
                    </a:cubicBezTo>
                    <a:cubicBezTo>
                      <a:pt x="108" y="70"/>
                      <a:pt x="107" y="68"/>
                      <a:pt x="107" y="67"/>
                    </a:cubicBezTo>
                    <a:cubicBezTo>
                      <a:pt x="105" y="65"/>
                      <a:pt x="104" y="63"/>
                      <a:pt x="102" y="61"/>
                    </a:cubicBezTo>
                    <a:cubicBezTo>
                      <a:pt x="99" y="59"/>
                      <a:pt x="97" y="56"/>
                      <a:pt x="94" y="56"/>
                    </a:cubicBezTo>
                    <a:cubicBezTo>
                      <a:pt x="92" y="56"/>
                      <a:pt x="81" y="56"/>
                      <a:pt x="83" y="52"/>
                    </a:cubicBezTo>
                    <a:cubicBezTo>
                      <a:pt x="85" y="48"/>
                      <a:pt x="84" y="41"/>
                      <a:pt x="79" y="38"/>
                    </a:cubicBezTo>
                    <a:cubicBezTo>
                      <a:pt x="75" y="35"/>
                      <a:pt x="70" y="35"/>
                      <a:pt x="69" y="29"/>
                    </a:cubicBezTo>
                    <a:cubicBezTo>
                      <a:pt x="68" y="30"/>
                      <a:pt x="67" y="29"/>
                      <a:pt x="66" y="30"/>
                    </a:cubicBezTo>
                    <a:cubicBezTo>
                      <a:pt x="65" y="31"/>
                      <a:pt x="65" y="31"/>
                      <a:pt x="65" y="32"/>
                    </a:cubicBezTo>
                    <a:cubicBezTo>
                      <a:pt x="63" y="35"/>
                      <a:pt x="60" y="34"/>
                      <a:pt x="59" y="37"/>
                    </a:cubicBezTo>
                    <a:cubicBezTo>
                      <a:pt x="59" y="39"/>
                      <a:pt x="61" y="41"/>
                      <a:pt x="60" y="42"/>
                    </a:cubicBezTo>
                    <a:cubicBezTo>
                      <a:pt x="59" y="43"/>
                      <a:pt x="57" y="44"/>
                      <a:pt x="56" y="44"/>
                    </a:cubicBezTo>
                    <a:cubicBezTo>
                      <a:pt x="55" y="45"/>
                      <a:pt x="54" y="43"/>
                      <a:pt x="53" y="44"/>
                    </a:cubicBezTo>
                    <a:cubicBezTo>
                      <a:pt x="51" y="44"/>
                      <a:pt x="50" y="43"/>
                      <a:pt x="48" y="42"/>
                    </a:cubicBezTo>
                    <a:cubicBezTo>
                      <a:pt x="47" y="41"/>
                      <a:pt x="46" y="46"/>
                      <a:pt x="45" y="47"/>
                    </a:cubicBezTo>
                    <a:cubicBezTo>
                      <a:pt x="45" y="48"/>
                      <a:pt x="44" y="50"/>
                      <a:pt x="44" y="51"/>
                    </a:cubicBezTo>
                    <a:cubicBezTo>
                      <a:pt x="44" y="53"/>
                      <a:pt x="45" y="53"/>
                      <a:pt x="45" y="54"/>
                    </a:cubicBezTo>
                    <a:cubicBezTo>
                      <a:pt x="45" y="56"/>
                      <a:pt x="39" y="54"/>
                      <a:pt x="39" y="54"/>
                    </a:cubicBezTo>
                    <a:cubicBezTo>
                      <a:pt x="37" y="55"/>
                      <a:pt x="33" y="55"/>
                      <a:pt x="32" y="56"/>
                    </a:cubicBezTo>
                    <a:cubicBezTo>
                      <a:pt x="33" y="55"/>
                      <a:pt x="34" y="62"/>
                      <a:pt x="34" y="63"/>
                    </a:cubicBezTo>
                    <a:cubicBezTo>
                      <a:pt x="35" y="64"/>
                      <a:pt x="36" y="65"/>
                      <a:pt x="37" y="66"/>
                    </a:cubicBezTo>
                    <a:cubicBezTo>
                      <a:pt x="37" y="67"/>
                      <a:pt x="34" y="69"/>
                      <a:pt x="33" y="70"/>
                    </a:cubicBezTo>
                    <a:cubicBezTo>
                      <a:pt x="32" y="71"/>
                      <a:pt x="33" y="74"/>
                      <a:pt x="32" y="74"/>
                    </a:cubicBezTo>
                    <a:cubicBezTo>
                      <a:pt x="31" y="75"/>
                      <a:pt x="29" y="75"/>
                      <a:pt x="28" y="76"/>
                    </a:cubicBezTo>
                    <a:cubicBezTo>
                      <a:pt x="26" y="77"/>
                      <a:pt x="25" y="78"/>
                      <a:pt x="24" y="79"/>
                    </a:cubicBezTo>
                    <a:cubicBezTo>
                      <a:pt x="22" y="79"/>
                      <a:pt x="21" y="79"/>
                      <a:pt x="19" y="80"/>
                    </a:cubicBezTo>
                    <a:cubicBezTo>
                      <a:pt x="17" y="80"/>
                      <a:pt x="16" y="81"/>
                      <a:pt x="15" y="83"/>
                    </a:cubicBezTo>
                    <a:cubicBezTo>
                      <a:pt x="15" y="83"/>
                      <a:pt x="11" y="84"/>
                      <a:pt x="11" y="84"/>
                    </a:cubicBezTo>
                    <a:cubicBezTo>
                      <a:pt x="11" y="84"/>
                      <a:pt x="11" y="83"/>
                      <a:pt x="11" y="83"/>
                    </a:cubicBezTo>
                    <a:cubicBezTo>
                      <a:pt x="10" y="83"/>
                      <a:pt x="9" y="83"/>
                      <a:pt x="7" y="83"/>
                    </a:cubicBezTo>
                    <a:cubicBezTo>
                      <a:pt x="6" y="83"/>
                      <a:pt x="3" y="85"/>
                      <a:pt x="3" y="86"/>
                    </a:cubicBezTo>
                    <a:cubicBezTo>
                      <a:pt x="2" y="88"/>
                      <a:pt x="1" y="90"/>
                      <a:pt x="1" y="91"/>
                    </a:cubicBezTo>
                    <a:cubicBezTo>
                      <a:pt x="0" y="93"/>
                      <a:pt x="3" y="95"/>
                      <a:pt x="4" y="95"/>
                    </a:cubicBezTo>
                    <a:cubicBezTo>
                      <a:pt x="7" y="95"/>
                      <a:pt x="6" y="95"/>
                      <a:pt x="7" y="98"/>
                    </a:cubicBezTo>
                    <a:cubicBezTo>
                      <a:pt x="7" y="99"/>
                      <a:pt x="8" y="99"/>
                      <a:pt x="8" y="101"/>
                    </a:cubicBezTo>
                    <a:cubicBezTo>
                      <a:pt x="8" y="101"/>
                      <a:pt x="7" y="103"/>
                      <a:pt x="7" y="103"/>
                    </a:cubicBezTo>
                    <a:cubicBezTo>
                      <a:pt x="9" y="104"/>
                      <a:pt x="10" y="104"/>
                      <a:pt x="11" y="105"/>
                    </a:cubicBezTo>
                    <a:cubicBezTo>
                      <a:pt x="13" y="107"/>
                      <a:pt x="12" y="109"/>
                      <a:pt x="14" y="110"/>
                    </a:cubicBezTo>
                    <a:cubicBezTo>
                      <a:pt x="16" y="111"/>
                      <a:pt x="18" y="112"/>
                      <a:pt x="20" y="113"/>
                    </a:cubicBezTo>
                    <a:cubicBezTo>
                      <a:pt x="21" y="113"/>
                      <a:pt x="22" y="112"/>
                      <a:pt x="23" y="111"/>
                    </a:cubicBezTo>
                    <a:cubicBezTo>
                      <a:pt x="26" y="109"/>
                      <a:pt x="31" y="110"/>
                      <a:pt x="33" y="113"/>
                    </a:cubicBezTo>
                    <a:cubicBezTo>
                      <a:pt x="34" y="115"/>
                      <a:pt x="32" y="116"/>
                      <a:pt x="31" y="117"/>
                    </a:cubicBezTo>
                    <a:cubicBezTo>
                      <a:pt x="30" y="118"/>
                      <a:pt x="30" y="118"/>
                      <a:pt x="30" y="119"/>
                    </a:cubicBezTo>
                    <a:cubicBezTo>
                      <a:pt x="29" y="121"/>
                      <a:pt x="28" y="121"/>
                      <a:pt x="27" y="121"/>
                    </a:cubicBezTo>
                    <a:cubicBezTo>
                      <a:pt x="24" y="123"/>
                      <a:pt x="32" y="126"/>
                      <a:pt x="29" y="128"/>
                    </a:cubicBezTo>
                    <a:cubicBezTo>
                      <a:pt x="28" y="130"/>
                      <a:pt x="27" y="129"/>
                      <a:pt x="25" y="129"/>
                    </a:cubicBezTo>
                    <a:cubicBezTo>
                      <a:pt x="21" y="128"/>
                      <a:pt x="26" y="132"/>
                      <a:pt x="26" y="132"/>
                    </a:cubicBezTo>
                    <a:cubicBezTo>
                      <a:pt x="26" y="134"/>
                      <a:pt x="25" y="135"/>
                      <a:pt x="27" y="135"/>
                    </a:cubicBezTo>
                    <a:cubicBezTo>
                      <a:pt x="29" y="136"/>
                      <a:pt x="29" y="137"/>
                      <a:pt x="31" y="138"/>
                    </a:cubicBezTo>
                    <a:cubicBezTo>
                      <a:pt x="33" y="138"/>
                      <a:pt x="34" y="140"/>
                      <a:pt x="36" y="141"/>
                    </a:cubicBezTo>
                    <a:cubicBezTo>
                      <a:pt x="36" y="141"/>
                      <a:pt x="37" y="142"/>
                      <a:pt x="38" y="142"/>
                    </a:cubicBezTo>
                    <a:cubicBezTo>
                      <a:pt x="39" y="142"/>
                      <a:pt x="38" y="140"/>
                      <a:pt x="40" y="140"/>
                    </a:cubicBezTo>
                    <a:cubicBezTo>
                      <a:pt x="44" y="140"/>
                      <a:pt x="46" y="147"/>
                      <a:pt x="50" y="147"/>
                    </a:cubicBezTo>
                    <a:cubicBezTo>
                      <a:pt x="52" y="147"/>
                      <a:pt x="52" y="150"/>
                      <a:pt x="54" y="150"/>
                    </a:cubicBezTo>
                    <a:cubicBezTo>
                      <a:pt x="56" y="151"/>
                      <a:pt x="57" y="153"/>
                      <a:pt x="58" y="153"/>
                    </a:cubicBezTo>
                    <a:cubicBezTo>
                      <a:pt x="60" y="151"/>
                      <a:pt x="60" y="154"/>
                      <a:pt x="62" y="154"/>
                    </a:cubicBezTo>
                    <a:cubicBezTo>
                      <a:pt x="63" y="154"/>
                      <a:pt x="63" y="153"/>
                      <a:pt x="64" y="153"/>
                    </a:cubicBezTo>
                    <a:cubicBezTo>
                      <a:pt x="65" y="153"/>
                      <a:pt x="65" y="154"/>
                      <a:pt x="66" y="155"/>
                    </a:cubicBezTo>
                    <a:cubicBezTo>
                      <a:pt x="68" y="155"/>
                      <a:pt x="70" y="155"/>
                      <a:pt x="72" y="154"/>
                    </a:cubicBezTo>
                    <a:cubicBezTo>
                      <a:pt x="75" y="153"/>
                      <a:pt x="73" y="155"/>
                      <a:pt x="74" y="156"/>
                    </a:cubicBezTo>
                    <a:cubicBezTo>
                      <a:pt x="74" y="156"/>
                      <a:pt x="76" y="153"/>
                      <a:pt x="77" y="153"/>
                    </a:cubicBezTo>
                    <a:cubicBezTo>
                      <a:pt x="78" y="152"/>
                      <a:pt x="80" y="152"/>
                      <a:pt x="81" y="153"/>
                    </a:cubicBezTo>
                    <a:cubicBezTo>
                      <a:pt x="83" y="155"/>
                      <a:pt x="85" y="153"/>
                      <a:pt x="87" y="154"/>
                    </a:cubicBezTo>
                    <a:cubicBezTo>
                      <a:pt x="89" y="155"/>
                      <a:pt x="91" y="153"/>
                      <a:pt x="92" y="151"/>
                    </a:cubicBezTo>
                    <a:cubicBezTo>
                      <a:pt x="93" y="151"/>
                      <a:pt x="93" y="150"/>
                      <a:pt x="94" y="150"/>
                    </a:cubicBezTo>
                    <a:cubicBezTo>
                      <a:pt x="95" y="149"/>
                      <a:pt x="96" y="150"/>
                      <a:pt x="97" y="149"/>
                    </a:cubicBezTo>
                    <a:cubicBezTo>
                      <a:pt x="98" y="148"/>
                      <a:pt x="99" y="146"/>
                      <a:pt x="101" y="147"/>
                    </a:cubicBezTo>
                    <a:cubicBezTo>
                      <a:pt x="103" y="148"/>
                      <a:pt x="103" y="148"/>
                      <a:pt x="106" y="146"/>
                    </a:cubicBezTo>
                    <a:cubicBezTo>
                      <a:pt x="107" y="145"/>
                      <a:pt x="109" y="148"/>
                      <a:pt x="109" y="149"/>
                    </a:cubicBezTo>
                    <a:cubicBezTo>
                      <a:pt x="108" y="151"/>
                      <a:pt x="106" y="152"/>
                      <a:pt x="108" y="152"/>
                    </a:cubicBezTo>
                    <a:cubicBezTo>
                      <a:pt x="111" y="152"/>
                      <a:pt x="111" y="152"/>
                      <a:pt x="114" y="151"/>
                    </a:cubicBezTo>
                    <a:cubicBezTo>
                      <a:pt x="115" y="151"/>
                      <a:pt x="116" y="154"/>
                      <a:pt x="116" y="155"/>
                    </a:cubicBezTo>
                    <a:cubicBezTo>
                      <a:pt x="116" y="155"/>
                      <a:pt x="116" y="157"/>
                      <a:pt x="117" y="156"/>
                    </a:cubicBezTo>
                    <a:cubicBezTo>
                      <a:pt x="117" y="156"/>
                      <a:pt x="119" y="156"/>
                      <a:pt x="119" y="157"/>
                    </a:cubicBezTo>
                    <a:cubicBezTo>
                      <a:pt x="119" y="158"/>
                      <a:pt x="117" y="159"/>
                      <a:pt x="118" y="160"/>
                    </a:cubicBezTo>
                    <a:cubicBezTo>
                      <a:pt x="119" y="162"/>
                      <a:pt x="118" y="165"/>
                      <a:pt x="117" y="166"/>
                    </a:cubicBezTo>
                    <a:cubicBezTo>
                      <a:pt x="116" y="168"/>
                      <a:pt x="114" y="169"/>
                      <a:pt x="113" y="170"/>
                    </a:cubicBezTo>
                    <a:cubicBezTo>
                      <a:pt x="113" y="171"/>
                      <a:pt x="113" y="176"/>
                      <a:pt x="112" y="175"/>
                    </a:cubicBezTo>
                    <a:cubicBezTo>
                      <a:pt x="113" y="176"/>
                      <a:pt x="119" y="173"/>
                      <a:pt x="120" y="175"/>
                    </a:cubicBezTo>
                    <a:cubicBezTo>
                      <a:pt x="120" y="175"/>
                      <a:pt x="118" y="176"/>
                      <a:pt x="119" y="178"/>
                    </a:cubicBezTo>
                    <a:cubicBezTo>
                      <a:pt x="120" y="180"/>
                      <a:pt x="123" y="180"/>
                      <a:pt x="122" y="181"/>
                    </a:cubicBezTo>
                    <a:cubicBezTo>
                      <a:pt x="122" y="182"/>
                      <a:pt x="121" y="184"/>
                      <a:pt x="121" y="185"/>
                    </a:cubicBezTo>
                    <a:cubicBezTo>
                      <a:pt x="122" y="186"/>
                      <a:pt x="125" y="185"/>
                      <a:pt x="125" y="186"/>
                    </a:cubicBezTo>
                    <a:cubicBezTo>
                      <a:pt x="125" y="186"/>
                      <a:pt x="125" y="187"/>
                      <a:pt x="125" y="187"/>
                    </a:cubicBezTo>
                    <a:cubicBezTo>
                      <a:pt x="125" y="189"/>
                      <a:pt x="126" y="188"/>
                      <a:pt x="127" y="188"/>
                    </a:cubicBezTo>
                    <a:cubicBezTo>
                      <a:pt x="128" y="188"/>
                      <a:pt x="129" y="187"/>
                      <a:pt x="130" y="188"/>
                    </a:cubicBezTo>
                    <a:cubicBezTo>
                      <a:pt x="131" y="188"/>
                      <a:pt x="132" y="189"/>
                      <a:pt x="133" y="190"/>
                    </a:cubicBezTo>
                    <a:cubicBezTo>
                      <a:pt x="135" y="191"/>
                      <a:pt x="134" y="187"/>
                      <a:pt x="134" y="186"/>
                    </a:cubicBezTo>
                    <a:cubicBezTo>
                      <a:pt x="132" y="182"/>
                      <a:pt x="134" y="184"/>
                      <a:pt x="136" y="182"/>
                    </a:cubicBezTo>
                    <a:cubicBezTo>
                      <a:pt x="138" y="181"/>
                      <a:pt x="137" y="182"/>
                      <a:pt x="139" y="183"/>
                    </a:cubicBezTo>
                    <a:cubicBezTo>
                      <a:pt x="139" y="183"/>
                      <a:pt x="141" y="182"/>
                      <a:pt x="141" y="182"/>
                    </a:cubicBezTo>
                    <a:cubicBezTo>
                      <a:pt x="141" y="183"/>
                      <a:pt x="143" y="181"/>
                      <a:pt x="143" y="182"/>
                    </a:cubicBezTo>
                    <a:cubicBezTo>
                      <a:pt x="144" y="183"/>
                      <a:pt x="144" y="184"/>
                      <a:pt x="146" y="182"/>
                    </a:cubicBezTo>
                    <a:cubicBezTo>
                      <a:pt x="147" y="181"/>
                      <a:pt x="147" y="182"/>
                      <a:pt x="148" y="181"/>
                    </a:cubicBezTo>
                    <a:cubicBezTo>
                      <a:pt x="149" y="180"/>
                      <a:pt x="149" y="178"/>
                      <a:pt x="151" y="178"/>
                    </a:cubicBezTo>
                    <a:cubicBezTo>
                      <a:pt x="152" y="178"/>
                      <a:pt x="153" y="180"/>
                      <a:pt x="155" y="180"/>
                    </a:cubicBezTo>
                    <a:cubicBezTo>
                      <a:pt x="155" y="180"/>
                      <a:pt x="159" y="181"/>
                      <a:pt x="159" y="181"/>
                    </a:cubicBezTo>
                    <a:cubicBezTo>
                      <a:pt x="159" y="182"/>
                      <a:pt x="157" y="183"/>
                      <a:pt x="157" y="184"/>
                    </a:cubicBezTo>
                    <a:cubicBezTo>
                      <a:pt x="158" y="185"/>
                      <a:pt x="160" y="186"/>
                      <a:pt x="161" y="187"/>
                    </a:cubicBezTo>
                    <a:cubicBezTo>
                      <a:pt x="163" y="188"/>
                      <a:pt x="167" y="189"/>
                      <a:pt x="168" y="186"/>
                    </a:cubicBezTo>
                    <a:cubicBezTo>
                      <a:pt x="168" y="186"/>
                      <a:pt x="170" y="188"/>
                      <a:pt x="170" y="188"/>
                    </a:cubicBezTo>
                    <a:cubicBezTo>
                      <a:pt x="171" y="189"/>
                      <a:pt x="172" y="187"/>
                      <a:pt x="174" y="188"/>
                    </a:cubicBezTo>
                    <a:cubicBezTo>
                      <a:pt x="175" y="189"/>
                      <a:pt x="173" y="190"/>
                      <a:pt x="173" y="191"/>
                    </a:cubicBezTo>
                    <a:cubicBezTo>
                      <a:pt x="173" y="192"/>
                      <a:pt x="175" y="194"/>
                      <a:pt x="175" y="195"/>
                    </a:cubicBezTo>
                    <a:cubicBezTo>
                      <a:pt x="176" y="195"/>
                      <a:pt x="177" y="194"/>
                      <a:pt x="178" y="194"/>
                    </a:cubicBezTo>
                    <a:cubicBezTo>
                      <a:pt x="178" y="193"/>
                      <a:pt x="175" y="192"/>
                      <a:pt x="176" y="191"/>
                    </a:cubicBezTo>
                    <a:cubicBezTo>
                      <a:pt x="178" y="188"/>
                      <a:pt x="180" y="188"/>
                      <a:pt x="183" y="187"/>
                    </a:cubicBezTo>
                    <a:cubicBezTo>
                      <a:pt x="185" y="186"/>
                      <a:pt x="187" y="186"/>
                      <a:pt x="189" y="186"/>
                    </a:cubicBezTo>
                    <a:cubicBezTo>
                      <a:pt x="190" y="186"/>
                      <a:pt x="190" y="184"/>
                      <a:pt x="191" y="184"/>
                    </a:cubicBezTo>
                    <a:cubicBezTo>
                      <a:pt x="193" y="184"/>
                      <a:pt x="192" y="183"/>
                      <a:pt x="192" y="182"/>
                    </a:cubicBezTo>
                    <a:cubicBezTo>
                      <a:pt x="192" y="183"/>
                      <a:pt x="196" y="182"/>
                      <a:pt x="196" y="182"/>
                    </a:cubicBezTo>
                    <a:cubicBezTo>
                      <a:pt x="198" y="181"/>
                      <a:pt x="200" y="182"/>
                      <a:pt x="202" y="182"/>
                    </a:cubicBezTo>
                    <a:cubicBezTo>
                      <a:pt x="204" y="182"/>
                      <a:pt x="205" y="181"/>
                      <a:pt x="207" y="180"/>
                    </a:cubicBezTo>
                    <a:cubicBezTo>
                      <a:pt x="208" y="180"/>
                      <a:pt x="208" y="177"/>
                      <a:pt x="209" y="177"/>
                    </a:cubicBezTo>
                    <a:cubicBezTo>
                      <a:pt x="211" y="177"/>
                      <a:pt x="212" y="176"/>
                      <a:pt x="213" y="175"/>
                    </a:cubicBezTo>
                    <a:cubicBezTo>
                      <a:pt x="214" y="175"/>
                      <a:pt x="215" y="174"/>
                      <a:pt x="215" y="173"/>
                    </a:cubicBezTo>
                    <a:cubicBezTo>
                      <a:pt x="214" y="173"/>
                      <a:pt x="218" y="172"/>
                      <a:pt x="218" y="172"/>
                    </a:cubicBezTo>
                    <a:cubicBezTo>
                      <a:pt x="219" y="171"/>
                      <a:pt x="220" y="169"/>
                      <a:pt x="221" y="168"/>
                    </a:cubicBezTo>
                    <a:cubicBezTo>
                      <a:pt x="222" y="167"/>
                      <a:pt x="222" y="167"/>
                      <a:pt x="222" y="166"/>
                    </a:cubicBezTo>
                    <a:cubicBezTo>
                      <a:pt x="223" y="164"/>
                      <a:pt x="221" y="165"/>
                      <a:pt x="221" y="164"/>
                    </a:cubicBezTo>
                    <a:cubicBezTo>
                      <a:pt x="221" y="164"/>
                      <a:pt x="226" y="164"/>
                      <a:pt x="223" y="162"/>
                    </a:cubicBezTo>
                    <a:cubicBezTo>
                      <a:pt x="222" y="161"/>
                      <a:pt x="223" y="161"/>
                      <a:pt x="224" y="161"/>
                    </a:cubicBezTo>
                    <a:cubicBezTo>
                      <a:pt x="225" y="161"/>
                      <a:pt x="225" y="160"/>
                      <a:pt x="226" y="159"/>
                    </a:cubicBezTo>
                    <a:cubicBezTo>
                      <a:pt x="227" y="158"/>
                      <a:pt x="227" y="157"/>
                      <a:pt x="228" y="156"/>
                    </a:cubicBezTo>
                    <a:cubicBezTo>
                      <a:pt x="228" y="156"/>
                      <a:pt x="228" y="154"/>
                      <a:pt x="228" y="154"/>
                    </a:cubicBezTo>
                    <a:cubicBezTo>
                      <a:pt x="229" y="153"/>
                      <a:pt x="230" y="153"/>
                      <a:pt x="231" y="152"/>
                    </a:cubicBezTo>
                    <a:cubicBezTo>
                      <a:pt x="232" y="151"/>
                      <a:pt x="231" y="150"/>
                      <a:pt x="231" y="150"/>
                    </a:cubicBezTo>
                    <a:cubicBezTo>
                      <a:pt x="231" y="149"/>
                      <a:pt x="232" y="149"/>
                      <a:pt x="232" y="149"/>
                    </a:cubicBezTo>
                    <a:cubicBezTo>
                      <a:pt x="233" y="149"/>
                      <a:pt x="232" y="147"/>
                      <a:pt x="232" y="147"/>
                    </a:cubicBezTo>
                    <a:cubicBezTo>
                      <a:pt x="232" y="147"/>
                      <a:pt x="234" y="148"/>
                      <a:pt x="234" y="147"/>
                    </a:cubicBezTo>
                    <a:cubicBezTo>
                      <a:pt x="236" y="146"/>
                      <a:pt x="234" y="146"/>
                      <a:pt x="233" y="145"/>
                    </a:cubicBezTo>
                    <a:cubicBezTo>
                      <a:pt x="233" y="145"/>
                      <a:pt x="236" y="143"/>
                      <a:pt x="236" y="143"/>
                    </a:cubicBezTo>
                    <a:cubicBezTo>
                      <a:pt x="235" y="145"/>
                      <a:pt x="232" y="142"/>
                      <a:pt x="231" y="141"/>
                    </a:cubicBezTo>
                    <a:cubicBezTo>
                      <a:pt x="231" y="141"/>
                      <a:pt x="230" y="142"/>
                      <a:pt x="229" y="142"/>
                    </a:cubicBezTo>
                    <a:cubicBezTo>
                      <a:pt x="228" y="143"/>
                      <a:pt x="227" y="141"/>
                      <a:pt x="226" y="142"/>
                    </a:cubicBezTo>
                    <a:cubicBezTo>
                      <a:pt x="228" y="141"/>
                      <a:pt x="230" y="140"/>
                      <a:pt x="231" y="139"/>
                    </a:cubicBezTo>
                    <a:cubicBezTo>
                      <a:pt x="232" y="138"/>
                      <a:pt x="235" y="138"/>
                      <a:pt x="233" y="136"/>
                    </a:cubicBezTo>
                    <a:cubicBezTo>
                      <a:pt x="231" y="135"/>
                      <a:pt x="230" y="134"/>
                      <a:pt x="228" y="132"/>
                    </a:cubicBezTo>
                    <a:cubicBezTo>
                      <a:pt x="228" y="131"/>
                      <a:pt x="223" y="133"/>
                      <a:pt x="223" y="130"/>
                    </a:cubicBezTo>
                    <a:cubicBezTo>
                      <a:pt x="223" y="132"/>
                      <a:pt x="228" y="132"/>
                      <a:pt x="229" y="132"/>
                    </a:cubicBezTo>
                    <a:cubicBezTo>
                      <a:pt x="230" y="132"/>
                      <a:pt x="233" y="135"/>
                      <a:pt x="234" y="133"/>
                    </a:cubicBezTo>
                    <a:cubicBezTo>
                      <a:pt x="235" y="131"/>
                      <a:pt x="229" y="129"/>
                      <a:pt x="229" y="127"/>
                    </a:cubicBezTo>
                    <a:cubicBezTo>
                      <a:pt x="228" y="125"/>
                      <a:pt x="228" y="121"/>
                      <a:pt x="226" y="120"/>
                    </a:cubicBezTo>
                    <a:cubicBezTo>
                      <a:pt x="225" y="118"/>
                      <a:pt x="219" y="118"/>
                      <a:pt x="221" y="115"/>
                    </a:cubicBezTo>
                    <a:cubicBezTo>
                      <a:pt x="222" y="113"/>
                      <a:pt x="223" y="112"/>
                      <a:pt x="224" y="111"/>
                    </a:cubicBezTo>
                    <a:cubicBezTo>
                      <a:pt x="226" y="109"/>
                      <a:pt x="224" y="110"/>
                      <a:pt x="225" y="109"/>
                    </a:cubicBezTo>
                    <a:cubicBezTo>
                      <a:pt x="225" y="108"/>
                      <a:pt x="228" y="109"/>
                      <a:pt x="228" y="109"/>
                    </a:cubicBezTo>
                    <a:cubicBezTo>
                      <a:pt x="229" y="108"/>
                      <a:pt x="227" y="107"/>
                      <a:pt x="229" y="106"/>
                    </a:cubicBezTo>
                    <a:cubicBezTo>
                      <a:pt x="231" y="106"/>
                      <a:pt x="232" y="105"/>
                      <a:pt x="233" y="104"/>
                    </a:cubicBezTo>
                    <a:cubicBezTo>
                      <a:pt x="234" y="104"/>
                      <a:pt x="235" y="104"/>
                      <a:pt x="235" y="104"/>
                    </a:cubicBezTo>
                    <a:cubicBezTo>
                      <a:pt x="236" y="104"/>
                      <a:pt x="235" y="105"/>
                      <a:pt x="236" y="105"/>
                    </a:cubicBezTo>
                    <a:cubicBezTo>
                      <a:pt x="237" y="106"/>
                      <a:pt x="238" y="103"/>
                      <a:pt x="238" y="102"/>
                    </a:cubicBezTo>
                    <a:cubicBezTo>
                      <a:pt x="236" y="100"/>
                      <a:pt x="234" y="101"/>
                      <a:pt x="233" y="101"/>
                    </a:cubicBezTo>
                    <a:cubicBezTo>
                      <a:pt x="231" y="101"/>
                      <a:pt x="230" y="99"/>
                      <a:pt x="228" y="100"/>
                    </a:cubicBezTo>
                    <a:cubicBezTo>
                      <a:pt x="227" y="100"/>
                      <a:pt x="226" y="102"/>
                      <a:pt x="224" y="102"/>
                    </a:cubicBezTo>
                    <a:cubicBezTo>
                      <a:pt x="223" y="103"/>
                      <a:pt x="221" y="103"/>
                      <a:pt x="220" y="102"/>
                    </a:cubicBezTo>
                    <a:cubicBezTo>
                      <a:pt x="219" y="101"/>
                      <a:pt x="221" y="99"/>
                      <a:pt x="220" y="98"/>
                    </a:cubicBezTo>
                    <a:cubicBezTo>
                      <a:pt x="218" y="97"/>
                      <a:pt x="210" y="97"/>
                      <a:pt x="213" y="92"/>
                    </a:cubicBezTo>
                    <a:cubicBezTo>
                      <a:pt x="214" y="91"/>
                      <a:pt x="215" y="92"/>
                      <a:pt x="217" y="92"/>
                    </a:cubicBezTo>
                    <a:cubicBezTo>
                      <a:pt x="218" y="92"/>
                      <a:pt x="220" y="91"/>
                      <a:pt x="221" y="90"/>
                    </a:cubicBezTo>
                    <a:cubicBezTo>
                      <a:pt x="223" y="87"/>
                      <a:pt x="226" y="85"/>
                      <a:pt x="229" y="83"/>
                    </a:cubicBezTo>
                    <a:cubicBezTo>
                      <a:pt x="230" y="81"/>
                      <a:pt x="231" y="81"/>
                      <a:pt x="233" y="81"/>
                    </a:cubicBezTo>
                    <a:cubicBezTo>
                      <a:pt x="233" y="82"/>
                      <a:pt x="236" y="82"/>
                      <a:pt x="236" y="83"/>
                    </a:cubicBezTo>
                    <a:cubicBezTo>
                      <a:pt x="235" y="84"/>
                      <a:pt x="235" y="86"/>
                      <a:pt x="234" y="87"/>
                    </a:cubicBezTo>
                    <a:cubicBezTo>
                      <a:pt x="233" y="87"/>
                      <a:pt x="231" y="88"/>
                      <a:pt x="231" y="89"/>
                    </a:cubicBezTo>
                    <a:cubicBezTo>
                      <a:pt x="231" y="90"/>
                      <a:pt x="234" y="90"/>
                      <a:pt x="234" y="90"/>
                    </a:cubicBezTo>
                    <a:cubicBezTo>
                      <a:pt x="234" y="90"/>
                      <a:pt x="230" y="93"/>
                      <a:pt x="231" y="93"/>
                    </a:cubicBezTo>
                    <a:cubicBezTo>
                      <a:pt x="232" y="94"/>
                      <a:pt x="237" y="89"/>
                      <a:pt x="238" y="89"/>
                    </a:cubicBezTo>
                    <a:cubicBezTo>
                      <a:pt x="240" y="88"/>
                      <a:pt x="242" y="87"/>
                      <a:pt x="244" y="87"/>
                    </a:cubicBezTo>
                    <a:cubicBezTo>
                      <a:pt x="246" y="87"/>
                      <a:pt x="246" y="87"/>
                      <a:pt x="247" y="85"/>
                    </a:cubicBezTo>
                    <a:cubicBezTo>
                      <a:pt x="249" y="84"/>
                      <a:pt x="252" y="83"/>
                      <a:pt x="254" y="81"/>
                    </a:cubicBezTo>
                    <a:cubicBezTo>
                      <a:pt x="255" y="80"/>
                      <a:pt x="257" y="77"/>
                      <a:pt x="259" y="77"/>
                    </a:cubicBezTo>
                    <a:cubicBezTo>
                      <a:pt x="260" y="76"/>
                      <a:pt x="266" y="80"/>
                      <a:pt x="266" y="77"/>
                    </a:cubicBezTo>
                    <a:cubicBezTo>
                      <a:pt x="266" y="76"/>
                      <a:pt x="265" y="75"/>
                      <a:pt x="266" y="74"/>
                    </a:cubicBezTo>
                    <a:cubicBezTo>
                      <a:pt x="267" y="74"/>
                      <a:pt x="268" y="74"/>
                      <a:pt x="269" y="74"/>
                    </a:cubicBezTo>
                    <a:cubicBezTo>
                      <a:pt x="271" y="74"/>
                      <a:pt x="270" y="73"/>
                      <a:pt x="271" y="72"/>
                    </a:cubicBezTo>
                    <a:cubicBezTo>
                      <a:pt x="273" y="71"/>
                      <a:pt x="274" y="72"/>
                      <a:pt x="274" y="70"/>
                    </a:cubicBezTo>
                    <a:cubicBezTo>
                      <a:pt x="274" y="67"/>
                      <a:pt x="277" y="70"/>
                      <a:pt x="278" y="71"/>
                    </a:cubicBezTo>
                    <a:cubicBezTo>
                      <a:pt x="278" y="69"/>
                      <a:pt x="281" y="69"/>
                      <a:pt x="281" y="67"/>
                    </a:cubicBezTo>
                    <a:cubicBezTo>
                      <a:pt x="281" y="65"/>
                      <a:pt x="282" y="62"/>
                      <a:pt x="281" y="60"/>
                    </a:cubicBezTo>
                    <a:cubicBezTo>
                      <a:pt x="279" y="57"/>
                      <a:pt x="280" y="58"/>
                      <a:pt x="282" y="56"/>
                    </a:cubicBezTo>
                    <a:cubicBezTo>
                      <a:pt x="284" y="55"/>
                      <a:pt x="285" y="54"/>
                      <a:pt x="287" y="55"/>
                    </a:cubicBezTo>
                    <a:cubicBezTo>
                      <a:pt x="290" y="56"/>
                      <a:pt x="290" y="56"/>
                      <a:pt x="291" y="53"/>
                    </a:cubicBezTo>
                    <a:cubicBezTo>
                      <a:pt x="292" y="51"/>
                      <a:pt x="294" y="50"/>
                      <a:pt x="295" y="47"/>
                    </a:cubicBezTo>
                    <a:cubicBezTo>
                      <a:pt x="295" y="45"/>
                      <a:pt x="296" y="43"/>
                      <a:pt x="298" y="41"/>
                    </a:cubicBezTo>
                    <a:cubicBezTo>
                      <a:pt x="300" y="39"/>
                      <a:pt x="298" y="39"/>
                      <a:pt x="298" y="3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4" name="Freeform 716">
                <a:extLst>
                  <a:ext uri="{FF2B5EF4-FFF2-40B4-BE49-F238E27FC236}">
                    <a16:creationId xmlns:a16="http://schemas.microsoft.com/office/drawing/2014/main" id="{8EA5BAF0-EF16-4493-8305-5D20D4BACF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6036" y="3178605"/>
                <a:ext cx="732675" cy="318552"/>
              </a:xfrm>
              <a:custGeom>
                <a:avLst/>
                <a:gdLst>
                  <a:gd name="T0" fmla="*/ 0 w 157"/>
                  <a:gd name="T1" fmla="*/ 19 h 68"/>
                  <a:gd name="T2" fmla="*/ 7 w 157"/>
                  <a:gd name="T3" fmla="*/ 26 h 68"/>
                  <a:gd name="T4" fmla="*/ 12 w 157"/>
                  <a:gd name="T5" fmla="*/ 29 h 68"/>
                  <a:gd name="T6" fmla="*/ 15 w 157"/>
                  <a:gd name="T7" fmla="*/ 36 h 68"/>
                  <a:gd name="T8" fmla="*/ 15 w 157"/>
                  <a:gd name="T9" fmla="*/ 38 h 68"/>
                  <a:gd name="T10" fmla="*/ 15 w 157"/>
                  <a:gd name="T11" fmla="*/ 40 h 68"/>
                  <a:gd name="T12" fmla="*/ 16 w 157"/>
                  <a:gd name="T13" fmla="*/ 45 h 68"/>
                  <a:gd name="T14" fmla="*/ 28 w 157"/>
                  <a:gd name="T15" fmla="*/ 47 h 68"/>
                  <a:gd name="T16" fmla="*/ 36 w 157"/>
                  <a:gd name="T17" fmla="*/ 54 h 68"/>
                  <a:gd name="T18" fmla="*/ 39 w 157"/>
                  <a:gd name="T19" fmla="*/ 59 h 68"/>
                  <a:gd name="T20" fmla="*/ 44 w 157"/>
                  <a:gd name="T21" fmla="*/ 60 h 68"/>
                  <a:gd name="T22" fmla="*/ 56 w 157"/>
                  <a:gd name="T23" fmla="*/ 60 h 68"/>
                  <a:gd name="T24" fmla="*/ 64 w 157"/>
                  <a:gd name="T25" fmla="*/ 61 h 68"/>
                  <a:gd name="T26" fmla="*/ 69 w 157"/>
                  <a:gd name="T27" fmla="*/ 64 h 68"/>
                  <a:gd name="T28" fmla="*/ 76 w 157"/>
                  <a:gd name="T29" fmla="*/ 66 h 68"/>
                  <a:gd name="T30" fmla="*/ 81 w 157"/>
                  <a:gd name="T31" fmla="*/ 67 h 68"/>
                  <a:gd name="T32" fmla="*/ 93 w 157"/>
                  <a:gd name="T33" fmla="*/ 62 h 68"/>
                  <a:gd name="T34" fmla="*/ 106 w 157"/>
                  <a:gd name="T35" fmla="*/ 61 h 68"/>
                  <a:gd name="T36" fmla="*/ 113 w 157"/>
                  <a:gd name="T37" fmla="*/ 55 h 68"/>
                  <a:gd name="T38" fmla="*/ 114 w 157"/>
                  <a:gd name="T39" fmla="*/ 51 h 68"/>
                  <a:gd name="T40" fmla="*/ 115 w 157"/>
                  <a:gd name="T41" fmla="*/ 47 h 68"/>
                  <a:gd name="T42" fmla="*/ 126 w 157"/>
                  <a:gd name="T43" fmla="*/ 46 h 68"/>
                  <a:gd name="T44" fmla="*/ 130 w 157"/>
                  <a:gd name="T45" fmla="*/ 44 h 68"/>
                  <a:gd name="T46" fmla="*/ 137 w 157"/>
                  <a:gd name="T47" fmla="*/ 42 h 68"/>
                  <a:gd name="T48" fmla="*/ 139 w 157"/>
                  <a:gd name="T49" fmla="*/ 38 h 68"/>
                  <a:gd name="T50" fmla="*/ 143 w 157"/>
                  <a:gd name="T51" fmla="*/ 37 h 68"/>
                  <a:gd name="T52" fmla="*/ 154 w 157"/>
                  <a:gd name="T53" fmla="*/ 36 h 68"/>
                  <a:gd name="T54" fmla="*/ 150 w 157"/>
                  <a:gd name="T55" fmla="*/ 29 h 68"/>
                  <a:gd name="T56" fmla="*/ 145 w 157"/>
                  <a:gd name="T57" fmla="*/ 28 h 68"/>
                  <a:gd name="T58" fmla="*/ 141 w 157"/>
                  <a:gd name="T59" fmla="*/ 29 h 68"/>
                  <a:gd name="T60" fmla="*/ 136 w 157"/>
                  <a:gd name="T61" fmla="*/ 28 h 68"/>
                  <a:gd name="T62" fmla="*/ 134 w 157"/>
                  <a:gd name="T63" fmla="*/ 27 h 68"/>
                  <a:gd name="T64" fmla="*/ 137 w 157"/>
                  <a:gd name="T65" fmla="*/ 19 h 68"/>
                  <a:gd name="T66" fmla="*/ 137 w 157"/>
                  <a:gd name="T67" fmla="*/ 14 h 68"/>
                  <a:gd name="T68" fmla="*/ 131 w 157"/>
                  <a:gd name="T69" fmla="*/ 14 h 68"/>
                  <a:gd name="T70" fmla="*/ 124 w 157"/>
                  <a:gd name="T71" fmla="*/ 15 h 68"/>
                  <a:gd name="T72" fmla="*/ 114 w 157"/>
                  <a:gd name="T73" fmla="*/ 19 h 68"/>
                  <a:gd name="T74" fmla="*/ 103 w 157"/>
                  <a:gd name="T75" fmla="*/ 19 h 68"/>
                  <a:gd name="T76" fmla="*/ 98 w 157"/>
                  <a:gd name="T77" fmla="*/ 17 h 68"/>
                  <a:gd name="T78" fmla="*/ 94 w 157"/>
                  <a:gd name="T79" fmla="*/ 15 h 68"/>
                  <a:gd name="T80" fmla="*/ 83 w 157"/>
                  <a:gd name="T81" fmla="*/ 11 h 68"/>
                  <a:gd name="T82" fmla="*/ 77 w 157"/>
                  <a:gd name="T83" fmla="*/ 13 h 68"/>
                  <a:gd name="T84" fmla="*/ 71 w 157"/>
                  <a:gd name="T85" fmla="*/ 12 h 68"/>
                  <a:gd name="T86" fmla="*/ 68 w 157"/>
                  <a:gd name="T87" fmla="*/ 8 h 68"/>
                  <a:gd name="T88" fmla="*/ 64 w 157"/>
                  <a:gd name="T89" fmla="*/ 5 h 68"/>
                  <a:gd name="T90" fmla="*/ 58 w 157"/>
                  <a:gd name="T91" fmla="*/ 3 h 68"/>
                  <a:gd name="T92" fmla="*/ 52 w 157"/>
                  <a:gd name="T93" fmla="*/ 1 h 68"/>
                  <a:gd name="T94" fmla="*/ 45 w 157"/>
                  <a:gd name="T95" fmla="*/ 7 h 68"/>
                  <a:gd name="T96" fmla="*/ 47 w 157"/>
                  <a:gd name="T97" fmla="*/ 13 h 68"/>
                  <a:gd name="T98" fmla="*/ 41 w 157"/>
                  <a:gd name="T99" fmla="*/ 15 h 68"/>
                  <a:gd name="T100" fmla="*/ 37 w 157"/>
                  <a:gd name="T101" fmla="*/ 14 h 68"/>
                  <a:gd name="T102" fmla="*/ 34 w 157"/>
                  <a:gd name="T103" fmla="*/ 14 h 68"/>
                  <a:gd name="T104" fmla="*/ 28 w 157"/>
                  <a:gd name="T105" fmla="*/ 10 h 68"/>
                  <a:gd name="T106" fmla="*/ 21 w 157"/>
                  <a:gd name="T107" fmla="*/ 9 h 68"/>
                  <a:gd name="T108" fmla="*/ 13 w 157"/>
                  <a:gd name="T109" fmla="*/ 13 h 68"/>
                  <a:gd name="T110" fmla="*/ 7 w 157"/>
                  <a:gd name="T111" fmla="*/ 17 h 68"/>
                  <a:gd name="T112" fmla="*/ 0 w 157"/>
                  <a:gd name="T113" fmla="*/ 1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7" h="68">
                    <a:moveTo>
                      <a:pt x="0" y="19"/>
                    </a:moveTo>
                    <a:cubicBezTo>
                      <a:pt x="1" y="23"/>
                      <a:pt x="3" y="25"/>
                      <a:pt x="7" y="26"/>
                    </a:cubicBezTo>
                    <a:cubicBezTo>
                      <a:pt x="9" y="27"/>
                      <a:pt x="10" y="28"/>
                      <a:pt x="12" y="29"/>
                    </a:cubicBezTo>
                    <a:cubicBezTo>
                      <a:pt x="13" y="31"/>
                      <a:pt x="14" y="34"/>
                      <a:pt x="15" y="36"/>
                    </a:cubicBezTo>
                    <a:cubicBezTo>
                      <a:pt x="16" y="37"/>
                      <a:pt x="15" y="37"/>
                      <a:pt x="15" y="38"/>
                    </a:cubicBezTo>
                    <a:cubicBezTo>
                      <a:pt x="14" y="38"/>
                      <a:pt x="15" y="39"/>
                      <a:pt x="15" y="40"/>
                    </a:cubicBezTo>
                    <a:cubicBezTo>
                      <a:pt x="14" y="43"/>
                      <a:pt x="13" y="43"/>
                      <a:pt x="16" y="45"/>
                    </a:cubicBezTo>
                    <a:cubicBezTo>
                      <a:pt x="20" y="46"/>
                      <a:pt x="24" y="45"/>
                      <a:pt x="28" y="47"/>
                    </a:cubicBezTo>
                    <a:cubicBezTo>
                      <a:pt x="30" y="49"/>
                      <a:pt x="34" y="52"/>
                      <a:pt x="36" y="54"/>
                    </a:cubicBezTo>
                    <a:cubicBezTo>
                      <a:pt x="37" y="55"/>
                      <a:pt x="38" y="57"/>
                      <a:pt x="39" y="59"/>
                    </a:cubicBezTo>
                    <a:cubicBezTo>
                      <a:pt x="40" y="61"/>
                      <a:pt x="43" y="60"/>
                      <a:pt x="44" y="60"/>
                    </a:cubicBezTo>
                    <a:cubicBezTo>
                      <a:pt x="48" y="60"/>
                      <a:pt x="52" y="60"/>
                      <a:pt x="56" y="60"/>
                    </a:cubicBezTo>
                    <a:cubicBezTo>
                      <a:pt x="58" y="60"/>
                      <a:pt x="62" y="60"/>
                      <a:pt x="64" y="61"/>
                    </a:cubicBezTo>
                    <a:cubicBezTo>
                      <a:pt x="66" y="62"/>
                      <a:pt x="67" y="64"/>
                      <a:pt x="69" y="64"/>
                    </a:cubicBezTo>
                    <a:cubicBezTo>
                      <a:pt x="71" y="65"/>
                      <a:pt x="74" y="66"/>
                      <a:pt x="76" y="66"/>
                    </a:cubicBezTo>
                    <a:cubicBezTo>
                      <a:pt x="78" y="65"/>
                      <a:pt x="80" y="68"/>
                      <a:pt x="81" y="67"/>
                    </a:cubicBezTo>
                    <a:cubicBezTo>
                      <a:pt x="85" y="65"/>
                      <a:pt x="88" y="63"/>
                      <a:pt x="93" y="62"/>
                    </a:cubicBezTo>
                    <a:cubicBezTo>
                      <a:pt x="97" y="62"/>
                      <a:pt x="103" y="63"/>
                      <a:pt x="106" y="61"/>
                    </a:cubicBezTo>
                    <a:cubicBezTo>
                      <a:pt x="109" y="59"/>
                      <a:pt x="110" y="56"/>
                      <a:pt x="113" y="55"/>
                    </a:cubicBezTo>
                    <a:cubicBezTo>
                      <a:pt x="116" y="54"/>
                      <a:pt x="116" y="53"/>
                      <a:pt x="114" y="51"/>
                    </a:cubicBezTo>
                    <a:cubicBezTo>
                      <a:pt x="113" y="50"/>
                      <a:pt x="113" y="48"/>
                      <a:pt x="115" y="47"/>
                    </a:cubicBezTo>
                    <a:cubicBezTo>
                      <a:pt x="118" y="44"/>
                      <a:pt x="122" y="50"/>
                      <a:pt x="126" y="46"/>
                    </a:cubicBezTo>
                    <a:cubicBezTo>
                      <a:pt x="127" y="45"/>
                      <a:pt x="128" y="44"/>
                      <a:pt x="130" y="44"/>
                    </a:cubicBezTo>
                    <a:cubicBezTo>
                      <a:pt x="133" y="43"/>
                      <a:pt x="134" y="44"/>
                      <a:pt x="137" y="42"/>
                    </a:cubicBezTo>
                    <a:cubicBezTo>
                      <a:pt x="138" y="41"/>
                      <a:pt x="138" y="38"/>
                      <a:pt x="139" y="38"/>
                    </a:cubicBezTo>
                    <a:cubicBezTo>
                      <a:pt x="141" y="37"/>
                      <a:pt x="142" y="37"/>
                      <a:pt x="143" y="37"/>
                    </a:cubicBezTo>
                    <a:cubicBezTo>
                      <a:pt x="147" y="36"/>
                      <a:pt x="150" y="35"/>
                      <a:pt x="154" y="36"/>
                    </a:cubicBezTo>
                    <a:cubicBezTo>
                      <a:pt x="157" y="36"/>
                      <a:pt x="151" y="29"/>
                      <a:pt x="150" y="29"/>
                    </a:cubicBezTo>
                    <a:cubicBezTo>
                      <a:pt x="149" y="28"/>
                      <a:pt x="147" y="27"/>
                      <a:pt x="145" y="28"/>
                    </a:cubicBezTo>
                    <a:cubicBezTo>
                      <a:pt x="143" y="28"/>
                      <a:pt x="143" y="30"/>
                      <a:pt x="141" y="29"/>
                    </a:cubicBezTo>
                    <a:cubicBezTo>
                      <a:pt x="140" y="28"/>
                      <a:pt x="137" y="27"/>
                      <a:pt x="136" y="28"/>
                    </a:cubicBezTo>
                    <a:cubicBezTo>
                      <a:pt x="135" y="30"/>
                      <a:pt x="134" y="29"/>
                      <a:pt x="134" y="27"/>
                    </a:cubicBezTo>
                    <a:cubicBezTo>
                      <a:pt x="134" y="25"/>
                      <a:pt x="137" y="21"/>
                      <a:pt x="137" y="19"/>
                    </a:cubicBezTo>
                    <a:cubicBezTo>
                      <a:pt x="138" y="17"/>
                      <a:pt x="141" y="14"/>
                      <a:pt x="137" y="14"/>
                    </a:cubicBezTo>
                    <a:cubicBezTo>
                      <a:pt x="134" y="14"/>
                      <a:pt x="134" y="15"/>
                      <a:pt x="131" y="14"/>
                    </a:cubicBezTo>
                    <a:cubicBezTo>
                      <a:pt x="128" y="13"/>
                      <a:pt x="127" y="13"/>
                      <a:pt x="124" y="15"/>
                    </a:cubicBezTo>
                    <a:cubicBezTo>
                      <a:pt x="121" y="17"/>
                      <a:pt x="117" y="18"/>
                      <a:pt x="114" y="19"/>
                    </a:cubicBezTo>
                    <a:cubicBezTo>
                      <a:pt x="109" y="20"/>
                      <a:pt x="107" y="19"/>
                      <a:pt x="103" y="19"/>
                    </a:cubicBezTo>
                    <a:cubicBezTo>
                      <a:pt x="101" y="18"/>
                      <a:pt x="100" y="18"/>
                      <a:pt x="98" y="17"/>
                    </a:cubicBezTo>
                    <a:cubicBezTo>
                      <a:pt x="97" y="17"/>
                      <a:pt x="96" y="15"/>
                      <a:pt x="94" y="15"/>
                    </a:cubicBezTo>
                    <a:cubicBezTo>
                      <a:pt x="90" y="14"/>
                      <a:pt x="88" y="12"/>
                      <a:pt x="83" y="11"/>
                    </a:cubicBezTo>
                    <a:cubicBezTo>
                      <a:pt x="81" y="11"/>
                      <a:pt x="79" y="12"/>
                      <a:pt x="77" y="13"/>
                    </a:cubicBezTo>
                    <a:cubicBezTo>
                      <a:pt x="75" y="14"/>
                      <a:pt x="73" y="13"/>
                      <a:pt x="71" y="12"/>
                    </a:cubicBezTo>
                    <a:cubicBezTo>
                      <a:pt x="69" y="11"/>
                      <a:pt x="68" y="11"/>
                      <a:pt x="68" y="8"/>
                    </a:cubicBezTo>
                    <a:cubicBezTo>
                      <a:pt x="67" y="6"/>
                      <a:pt x="67" y="6"/>
                      <a:pt x="64" y="5"/>
                    </a:cubicBezTo>
                    <a:cubicBezTo>
                      <a:pt x="62" y="4"/>
                      <a:pt x="60" y="3"/>
                      <a:pt x="58" y="3"/>
                    </a:cubicBezTo>
                    <a:cubicBezTo>
                      <a:pt x="56" y="3"/>
                      <a:pt x="53" y="0"/>
                      <a:pt x="52" y="1"/>
                    </a:cubicBezTo>
                    <a:cubicBezTo>
                      <a:pt x="50" y="1"/>
                      <a:pt x="46" y="5"/>
                      <a:pt x="45" y="7"/>
                    </a:cubicBezTo>
                    <a:cubicBezTo>
                      <a:pt x="45" y="9"/>
                      <a:pt x="48" y="11"/>
                      <a:pt x="47" y="13"/>
                    </a:cubicBezTo>
                    <a:cubicBezTo>
                      <a:pt x="46" y="15"/>
                      <a:pt x="43" y="17"/>
                      <a:pt x="41" y="15"/>
                    </a:cubicBezTo>
                    <a:cubicBezTo>
                      <a:pt x="39" y="15"/>
                      <a:pt x="38" y="14"/>
                      <a:pt x="37" y="14"/>
                    </a:cubicBezTo>
                    <a:cubicBezTo>
                      <a:pt x="36" y="14"/>
                      <a:pt x="35" y="14"/>
                      <a:pt x="34" y="14"/>
                    </a:cubicBezTo>
                    <a:cubicBezTo>
                      <a:pt x="31" y="13"/>
                      <a:pt x="31" y="11"/>
                      <a:pt x="28" y="10"/>
                    </a:cubicBezTo>
                    <a:cubicBezTo>
                      <a:pt x="26" y="9"/>
                      <a:pt x="23" y="8"/>
                      <a:pt x="21" y="9"/>
                    </a:cubicBezTo>
                    <a:cubicBezTo>
                      <a:pt x="18" y="10"/>
                      <a:pt x="16" y="12"/>
                      <a:pt x="13" y="13"/>
                    </a:cubicBezTo>
                    <a:cubicBezTo>
                      <a:pt x="11" y="14"/>
                      <a:pt x="9" y="16"/>
                      <a:pt x="7" y="17"/>
                    </a:cubicBezTo>
                    <a:cubicBezTo>
                      <a:pt x="4" y="17"/>
                      <a:pt x="2" y="19"/>
                      <a:pt x="0" y="1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5" name="Freeform 717">
                <a:extLst>
                  <a:ext uri="{FF2B5EF4-FFF2-40B4-BE49-F238E27FC236}">
                    <a16:creationId xmlns:a16="http://schemas.microsoft.com/office/drawing/2014/main" id="{DB368144-2EF0-4DA8-A968-F13DDA6C6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1244" y="2566980"/>
                <a:ext cx="293070" cy="504910"/>
              </a:xfrm>
              <a:custGeom>
                <a:avLst/>
                <a:gdLst>
                  <a:gd name="T0" fmla="*/ 61 w 63"/>
                  <a:gd name="T1" fmla="*/ 25 h 108"/>
                  <a:gd name="T2" fmla="*/ 61 w 63"/>
                  <a:gd name="T3" fmla="*/ 20 h 108"/>
                  <a:gd name="T4" fmla="*/ 61 w 63"/>
                  <a:gd name="T5" fmla="*/ 16 h 108"/>
                  <a:gd name="T6" fmla="*/ 60 w 63"/>
                  <a:gd name="T7" fmla="*/ 13 h 108"/>
                  <a:gd name="T8" fmla="*/ 60 w 63"/>
                  <a:gd name="T9" fmla="*/ 11 h 108"/>
                  <a:gd name="T10" fmla="*/ 57 w 63"/>
                  <a:gd name="T11" fmla="*/ 7 h 108"/>
                  <a:gd name="T12" fmla="*/ 51 w 63"/>
                  <a:gd name="T13" fmla="*/ 5 h 108"/>
                  <a:gd name="T14" fmla="*/ 44 w 63"/>
                  <a:gd name="T15" fmla="*/ 1 h 108"/>
                  <a:gd name="T16" fmla="*/ 44 w 63"/>
                  <a:gd name="T17" fmla="*/ 5 h 108"/>
                  <a:gd name="T18" fmla="*/ 34 w 63"/>
                  <a:gd name="T19" fmla="*/ 5 h 108"/>
                  <a:gd name="T20" fmla="*/ 34 w 63"/>
                  <a:gd name="T21" fmla="*/ 10 h 108"/>
                  <a:gd name="T22" fmla="*/ 29 w 63"/>
                  <a:gd name="T23" fmla="*/ 10 h 108"/>
                  <a:gd name="T24" fmla="*/ 27 w 63"/>
                  <a:gd name="T25" fmla="*/ 12 h 108"/>
                  <a:gd name="T26" fmla="*/ 25 w 63"/>
                  <a:gd name="T27" fmla="*/ 15 h 108"/>
                  <a:gd name="T28" fmla="*/ 25 w 63"/>
                  <a:gd name="T29" fmla="*/ 18 h 108"/>
                  <a:gd name="T30" fmla="*/ 24 w 63"/>
                  <a:gd name="T31" fmla="*/ 20 h 108"/>
                  <a:gd name="T32" fmla="*/ 20 w 63"/>
                  <a:gd name="T33" fmla="*/ 25 h 108"/>
                  <a:gd name="T34" fmla="*/ 17 w 63"/>
                  <a:gd name="T35" fmla="*/ 27 h 108"/>
                  <a:gd name="T36" fmla="*/ 16 w 63"/>
                  <a:gd name="T37" fmla="*/ 33 h 108"/>
                  <a:gd name="T38" fmla="*/ 13 w 63"/>
                  <a:gd name="T39" fmla="*/ 38 h 108"/>
                  <a:gd name="T40" fmla="*/ 15 w 63"/>
                  <a:gd name="T41" fmla="*/ 42 h 108"/>
                  <a:gd name="T42" fmla="*/ 9 w 63"/>
                  <a:gd name="T43" fmla="*/ 44 h 108"/>
                  <a:gd name="T44" fmla="*/ 5 w 63"/>
                  <a:gd name="T45" fmla="*/ 51 h 108"/>
                  <a:gd name="T46" fmla="*/ 6 w 63"/>
                  <a:gd name="T47" fmla="*/ 57 h 108"/>
                  <a:gd name="T48" fmla="*/ 8 w 63"/>
                  <a:gd name="T49" fmla="*/ 63 h 108"/>
                  <a:gd name="T50" fmla="*/ 7 w 63"/>
                  <a:gd name="T51" fmla="*/ 67 h 108"/>
                  <a:gd name="T52" fmla="*/ 7 w 63"/>
                  <a:gd name="T53" fmla="*/ 74 h 108"/>
                  <a:gd name="T54" fmla="*/ 4 w 63"/>
                  <a:gd name="T55" fmla="*/ 78 h 108"/>
                  <a:gd name="T56" fmla="*/ 3 w 63"/>
                  <a:gd name="T57" fmla="*/ 83 h 108"/>
                  <a:gd name="T58" fmla="*/ 0 w 63"/>
                  <a:gd name="T59" fmla="*/ 82 h 108"/>
                  <a:gd name="T60" fmla="*/ 4 w 63"/>
                  <a:gd name="T61" fmla="*/ 90 h 108"/>
                  <a:gd name="T62" fmla="*/ 7 w 63"/>
                  <a:gd name="T63" fmla="*/ 97 h 108"/>
                  <a:gd name="T64" fmla="*/ 8 w 63"/>
                  <a:gd name="T65" fmla="*/ 102 h 108"/>
                  <a:gd name="T66" fmla="*/ 10 w 63"/>
                  <a:gd name="T67" fmla="*/ 107 h 108"/>
                  <a:gd name="T68" fmla="*/ 14 w 63"/>
                  <a:gd name="T69" fmla="*/ 108 h 108"/>
                  <a:gd name="T70" fmla="*/ 15 w 63"/>
                  <a:gd name="T71" fmla="*/ 105 h 108"/>
                  <a:gd name="T72" fmla="*/ 24 w 63"/>
                  <a:gd name="T73" fmla="*/ 101 h 108"/>
                  <a:gd name="T74" fmla="*/ 27 w 63"/>
                  <a:gd name="T75" fmla="*/ 92 h 108"/>
                  <a:gd name="T76" fmla="*/ 26 w 63"/>
                  <a:gd name="T77" fmla="*/ 87 h 108"/>
                  <a:gd name="T78" fmla="*/ 28 w 63"/>
                  <a:gd name="T79" fmla="*/ 84 h 108"/>
                  <a:gd name="T80" fmla="*/ 32 w 63"/>
                  <a:gd name="T81" fmla="*/ 82 h 108"/>
                  <a:gd name="T82" fmla="*/ 32 w 63"/>
                  <a:gd name="T83" fmla="*/ 81 h 108"/>
                  <a:gd name="T84" fmla="*/ 35 w 63"/>
                  <a:gd name="T85" fmla="*/ 80 h 108"/>
                  <a:gd name="T86" fmla="*/ 34 w 63"/>
                  <a:gd name="T87" fmla="*/ 78 h 108"/>
                  <a:gd name="T88" fmla="*/ 36 w 63"/>
                  <a:gd name="T89" fmla="*/ 77 h 108"/>
                  <a:gd name="T90" fmla="*/ 35 w 63"/>
                  <a:gd name="T91" fmla="*/ 73 h 108"/>
                  <a:gd name="T92" fmla="*/ 29 w 63"/>
                  <a:gd name="T93" fmla="*/ 66 h 108"/>
                  <a:gd name="T94" fmla="*/ 30 w 63"/>
                  <a:gd name="T95" fmla="*/ 60 h 108"/>
                  <a:gd name="T96" fmla="*/ 30 w 63"/>
                  <a:gd name="T97" fmla="*/ 56 h 108"/>
                  <a:gd name="T98" fmla="*/ 33 w 63"/>
                  <a:gd name="T99" fmla="*/ 53 h 108"/>
                  <a:gd name="T100" fmla="*/ 39 w 63"/>
                  <a:gd name="T101" fmla="*/ 48 h 108"/>
                  <a:gd name="T102" fmla="*/ 49 w 63"/>
                  <a:gd name="T103" fmla="*/ 41 h 108"/>
                  <a:gd name="T104" fmla="*/ 50 w 63"/>
                  <a:gd name="T105" fmla="*/ 35 h 108"/>
                  <a:gd name="T106" fmla="*/ 50 w 63"/>
                  <a:gd name="T107" fmla="*/ 32 h 108"/>
                  <a:gd name="T108" fmla="*/ 54 w 63"/>
                  <a:gd name="T109" fmla="*/ 30 h 108"/>
                  <a:gd name="T110" fmla="*/ 58 w 63"/>
                  <a:gd name="T111" fmla="*/ 29 h 108"/>
                  <a:gd name="T112" fmla="*/ 60 w 63"/>
                  <a:gd name="T113" fmla="*/ 28 h 108"/>
                  <a:gd name="T114" fmla="*/ 63 w 63"/>
                  <a:gd name="T115" fmla="*/ 28 h 108"/>
                  <a:gd name="T116" fmla="*/ 61 w 63"/>
                  <a:gd name="T117" fmla="*/ 25 h 108"/>
                  <a:gd name="T118" fmla="*/ 61 w 63"/>
                  <a:gd name="T119" fmla="*/ 2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3" h="108">
                    <a:moveTo>
                      <a:pt x="61" y="25"/>
                    </a:moveTo>
                    <a:cubicBezTo>
                      <a:pt x="60" y="24"/>
                      <a:pt x="62" y="22"/>
                      <a:pt x="61" y="20"/>
                    </a:cubicBezTo>
                    <a:cubicBezTo>
                      <a:pt x="60" y="18"/>
                      <a:pt x="61" y="18"/>
                      <a:pt x="61" y="16"/>
                    </a:cubicBezTo>
                    <a:cubicBezTo>
                      <a:pt x="61" y="15"/>
                      <a:pt x="60" y="14"/>
                      <a:pt x="60" y="13"/>
                    </a:cubicBezTo>
                    <a:cubicBezTo>
                      <a:pt x="59" y="12"/>
                      <a:pt x="60" y="12"/>
                      <a:pt x="60" y="11"/>
                    </a:cubicBezTo>
                    <a:cubicBezTo>
                      <a:pt x="59" y="9"/>
                      <a:pt x="59" y="8"/>
                      <a:pt x="57" y="7"/>
                    </a:cubicBezTo>
                    <a:cubicBezTo>
                      <a:pt x="55" y="6"/>
                      <a:pt x="53" y="6"/>
                      <a:pt x="51" y="5"/>
                    </a:cubicBezTo>
                    <a:cubicBezTo>
                      <a:pt x="49" y="3"/>
                      <a:pt x="47" y="0"/>
                      <a:pt x="44" y="1"/>
                    </a:cubicBezTo>
                    <a:cubicBezTo>
                      <a:pt x="43" y="1"/>
                      <a:pt x="44" y="4"/>
                      <a:pt x="44" y="5"/>
                    </a:cubicBezTo>
                    <a:cubicBezTo>
                      <a:pt x="43" y="8"/>
                      <a:pt x="37" y="6"/>
                      <a:pt x="34" y="5"/>
                    </a:cubicBezTo>
                    <a:cubicBezTo>
                      <a:pt x="34" y="7"/>
                      <a:pt x="34" y="8"/>
                      <a:pt x="34" y="10"/>
                    </a:cubicBezTo>
                    <a:cubicBezTo>
                      <a:pt x="33" y="10"/>
                      <a:pt x="31" y="9"/>
                      <a:pt x="29" y="10"/>
                    </a:cubicBezTo>
                    <a:cubicBezTo>
                      <a:pt x="28" y="10"/>
                      <a:pt x="28" y="11"/>
                      <a:pt x="27" y="12"/>
                    </a:cubicBezTo>
                    <a:cubicBezTo>
                      <a:pt x="27" y="13"/>
                      <a:pt x="25" y="14"/>
                      <a:pt x="25" y="15"/>
                    </a:cubicBezTo>
                    <a:cubicBezTo>
                      <a:pt x="24" y="16"/>
                      <a:pt x="26" y="18"/>
                      <a:pt x="25" y="18"/>
                    </a:cubicBezTo>
                    <a:cubicBezTo>
                      <a:pt x="25" y="19"/>
                      <a:pt x="24" y="19"/>
                      <a:pt x="24" y="20"/>
                    </a:cubicBezTo>
                    <a:cubicBezTo>
                      <a:pt x="22" y="21"/>
                      <a:pt x="20" y="23"/>
                      <a:pt x="20" y="25"/>
                    </a:cubicBezTo>
                    <a:cubicBezTo>
                      <a:pt x="20" y="27"/>
                      <a:pt x="18" y="25"/>
                      <a:pt x="17" y="27"/>
                    </a:cubicBezTo>
                    <a:cubicBezTo>
                      <a:pt x="17" y="29"/>
                      <a:pt x="17" y="31"/>
                      <a:pt x="16" y="33"/>
                    </a:cubicBezTo>
                    <a:cubicBezTo>
                      <a:pt x="16" y="35"/>
                      <a:pt x="13" y="36"/>
                      <a:pt x="13" y="38"/>
                    </a:cubicBezTo>
                    <a:cubicBezTo>
                      <a:pt x="13" y="39"/>
                      <a:pt x="16" y="41"/>
                      <a:pt x="15" y="42"/>
                    </a:cubicBezTo>
                    <a:cubicBezTo>
                      <a:pt x="13" y="44"/>
                      <a:pt x="11" y="43"/>
                      <a:pt x="9" y="44"/>
                    </a:cubicBezTo>
                    <a:cubicBezTo>
                      <a:pt x="6" y="45"/>
                      <a:pt x="5" y="48"/>
                      <a:pt x="5" y="51"/>
                    </a:cubicBezTo>
                    <a:cubicBezTo>
                      <a:pt x="6" y="53"/>
                      <a:pt x="6" y="55"/>
                      <a:pt x="6" y="57"/>
                    </a:cubicBezTo>
                    <a:cubicBezTo>
                      <a:pt x="6" y="60"/>
                      <a:pt x="4" y="61"/>
                      <a:pt x="8" y="63"/>
                    </a:cubicBezTo>
                    <a:cubicBezTo>
                      <a:pt x="10" y="65"/>
                      <a:pt x="9" y="66"/>
                      <a:pt x="7" y="67"/>
                    </a:cubicBezTo>
                    <a:cubicBezTo>
                      <a:pt x="6" y="68"/>
                      <a:pt x="8" y="72"/>
                      <a:pt x="7" y="74"/>
                    </a:cubicBezTo>
                    <a:cubicBezTo>
                      <a:pt x="7" y="76"/>
                      <a:pt x="4" y="76"/>
                      <a:pt x="4" y="78"/>
                    </a:cubicBezTo>
                    <a:cubicBezTo>
                      <a:pt x="4" y="79"/>
                      <a:pt x="4" y="83"/>
                      <a:pt x="3" y="83"/>
                    </a:cubicBezTo>
                    <a:cubicBezTo>
                      <a:pt x="3" y="83"/>
                      <a:pt x="1" y="82"/>
                      <a:pt x="0" y="82"/>
                    </a:cubicBezTo>
                    <a:cubicBezTo>
                      <a:pt x="0" y="86"/>
                      <a:pt x="4" y="87"/>
                      <a:pt x="4" y="90"/>
                    </a:cubicBezTo>
                    <a:cubicBezTo>
                      <a:pt x="3" y="91"/>
                      <a:pt x="6" y="96"/>
                      <a:pt x="7" y="97"/>
                    </a:cubicBezTo>
                    <a:cubicBezTo>
                      <a:pt x="9" y="99"/>
                      <a:pt x="8" y="100"/>
                      <a:pt x="8" y="102"/>
                    </a:cubicBezTo>
                    <a:cubicBezTo>
                      <a:pt x="8" y="103"/>
                      <a:pt x="10" y="105"/>
                      <a:pt x="10" y="107"/>
                    </a:cubicBezTo>
                    <a:cubicBezTo>
                      <a:pt x="9" y="108"/>
                      <a:pt x="13" y="107"/>
                      <a:pt x="14" y="108"/>
                    </a:cubicBezTo>
                    <a:cubicBezTo>
                      <a:pt x="16" y="108"/>
                      <a:pt x="15" y="107"/>
                      <a:pt x="15" y="105"/>
                    </a:cubicBezTo>
                    <a:cubicBezTo>
                      <a:pt x="15" y="100"/>
                      <a:pt x="23" y="104"/>
                      <a:pt x="24" y="101"/>
                    </a:cubicBezTo>
                    <a:cubicBezTo>
                      <a:pt x="25" y="98"/>
                      <a:pt x="26" y="95"/>
                      <a:pt x="27" y="92"/>
                    </a:cubicBezTo>
                    <a:cubicBezTo>
                      <a:pt x="27" y="90"/>
                      <a:pt x="27" y="88"/>
                      <a:pt x="26" y="87"/>
                    </a:cubicBezTo>
                    <a:cubicBezTo>
                      <a:pt x="25" y="85"/>
                      <a:pt x="26" y="85"/>
                      <a:pt x="28" y="84"/>
                    </a:cubicBezTo>
                    <a:cubicBezTo>
                      <a:pt x="29" y="84"/>
                      <a:pt x="32" y="83"/>
                      <a:pt x="32" y="82"/>
                    </a:cubicBezTo>
                    <a:cubicBezTo>
                      <a:pt x="32" y="82"/>
                      <a:pt x="32" y="81"/>
                      <a:pt x="32" y="81"/>
                    </a:cubicBezTo>
                    <a:cubicBezTo>
                      <a:pt x="33" y="81"/>
                      <a:pt x="35" y="81"/>
                      <a:pt x="35" y="80"/>
                    </a:cubicBezTo>
                    <a:cubicBezTo>
                      <a:pt x="35" y="79"/>
                      <a:pt x="34" y="79"/>
                      <a:pt x="34" y="78"/>
                    </a:cubicBezTo>
                    <a:cubicBezTo>
                      <a:pt x="35" y="78"/>
                      <a:pt x="36" y="77"/>
                      <a:pt x="36" y="77"/>
                    </a:cubicBezTo>
                    <a:cubicBezTo>
                      <a:pt x="38" y="75"/>
                      <a:pt x="37" y="74"/>
                      <a:pt x="35" y="73"/>
                    </a:cubicBezTo>
                    <a:cubicBezTo>
                      <a:pt x="33" y="71"/>
                      <a:pt x="29" y="70"/>
                      <a:pt x="29" y="66"/>
                    </a:cubicBezTo>
                    <a:cubicBezTo>
                      <a:pt x="29" y="64"/>
                      <a:pt x="29" y="62"/>
                      <a:pt x="30" y="60"/>
                    </a:cubicBezTo>
                    <a:cubicBezTo>
                      <a:pt x="31" y="58"/>
                      <a:pt x="31" y="58"/>
                      <a:pt x="30" y="56"/>
                    </a:cubicBezTo>
                    <a:cubicBezTo>
                      <a:pt x="29" y="56"/>
                      <a:pt x="33" y="53"/>
                      <a:pt x="33" y="53"/>
                    </a:cubicBezTo>
                    <a:cubicBezTo>
                      <a:pt x="35" y="51"/>
                      <a:pt x="36" y="49"/>
                      <a:pt x="39" y="48"/>
                    </a:cubicBezTo>
                    <a:cubicBezTo>
                      <a:pt x="42" y="47"/>
                      <a:pt x="47" y="44"/>
                      <a:pt x="49" y="41"/>
                    </a:cubicBezTo>
                    <a:cubicBezTo>
                      <a:pt x="51" y="38"/>
                      <a:pt x="46" y="36"/>
                      <a:pt x="50" y="35"/>
                    </a:cubicBezTo>
                    <a:cubicBezTo>
                      <a:pt x="52" y="34"/>
                      <a:pt x="51" y="34"/>
                      <a:pt x="50" y="32"/>
                    </a:cubicBezTo>
                    <a:cubicBezTo>
                      <a:pt x="50" y="31"/>
                      <a:pt x="53" y="30"/>
                      <a:pt x="54" y="30"/>
                    </a:cubicBezTo>
                    <a:cubicBezTo>
                      <a:pt x="56" y="28"/>
                      <a:pt x="57" y="27"/>
                      <a:pt x="58" y="29"/>
                    </a:cubicBezTo>
                    <a:cubicBezTo>
                      <a:pt x="59" y="29"/>
                      <a:pt x="60" y="28"/>
                      <a:pt x="60" y="28"/>
                    </a:cubicBezTo>
                    <a:cubicBezTo>
                      <a:pt x="61" y="28"/>
                      <a:pt x="62" y="28"/>
                      <a:pt x="63" y="28"/>
                    </a:cubicBezTo>
                    <a:cubicBezTo>
                      <a:pt x="63" y="27"/>
                      <a:pt x="62" y="27"/>
                      <a:pt x="61" y="25"/>
                    </a:cubicBezTo>
                    <a:cubicBezTo>
                      <a:pt x="60" y="24"/>
                      <a:pt x="61" y="26"/>
                      <a:pt x="61" y="2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6" name="Freeform 718">
                <a:extLst>
                  <a:ext uri="{FF2B5EF4-FFF2-40B4-BE49-F238E27FC236}">
                    <a16:creationId xmlns:a16="http://schemas.microsoft.com/office/drawing/2014/main" id="{C9A81A5B-1761-40C9-AD32-20EC5573B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6269" y="2528754"/>
                <a:ext cx="251658" cy="393414"/>
              </a:xfrm>
              <a:custGeom>
                <a:avLst/>
                <a:gdLst>
                  <a:gd name="T0" fmla="*/ 53 w 54"/>
                  <a:gd name="T1" fmla="*/ 59 h 84"/>
                  <a:gd name="T2" fmla="*/ 47 w 54"/>
                  <a:gd name="T3" fmla="*/ 55 h 84"/>
                  <a:gd name="T4" fmla="*/ 49 w 54"/>
                  <a:gd name="T5" fmla="*/ 51 h 84"/>
                  <a:gd name="T6" fmla="*/ 44 w 54"/>
                  <a:gd name="T7" fmla="*/ 44 h 84"/>
                  <a:gd name="T8" fmla="*/ 46 w 54"/>
                  <a:gd name="T9" fmla="*/ 43 h 84"/>
                  <a:gd name="T10" fmla="*/ 44 w 54"/>
                  <a:gd name="T11" fmla="*/ 38 h 84"/>
                  <a:gd name="T12" fmla="*/ 45 w 54"/>
                  <a:gd name="T13" fmla="*/ 36 h 84"/>
                  <a:gd name="T14" fmla="*/ 44 w 54"/>
                  <a:gd name="T15" fmla="*/ 32 h 84"/>
                  <a:gd name="T16" fmla="*/ 42 w 54"/>
                  <a:gd name="T17" fmla="*/ 26 h 84"/>
                  <a:gd name="T18" fmla="*/ 45 w 54"/>
                  <a:gd name="T19" fmla="*/ 23 h 84"/>
                  <a:gd name="T20" fmla="*/ 44 w 54"/>
                  <a:gd name="T21" fmla="*/ 19 h 84"/>
                  <a:gd name="T22" fmla="*/ 38 w 54"/>
                  <a:gd name="T23" fmla="*/ 13 h 84"/>
                  <a:gd name="T24" fmla="*/ 40 w 54"/>
                  <a:gd name="T25" fmla="*/ 12 h 84"/>
                  <a:gd name="T26" fmla="*/ 39 w 54"/>
                  <a:gd name="T27" fmla="*/ 10 h 84"/>
                  <a:gd name="T28" fmla="*/ 41 w 54"/>
                  <a:gd name="T29" fmla="*/ 3 h 84"/>
                  <a:gd name="T30" fmla="*/ 37 w 54"/>
                  <a:gd name="T31" fmla="*/ 1 h 84"/>
                  <a:gd name="T32" fmla="*/ 34 w 54"/>
                  <a:gd name="T33" fmla="*/ 0 h 84"/>
                  <a:gd name="T34" fmla="*/ 29 w 54"/>
                  <a:gd name="T35" fmla="*/ 1 h 84"/>
                  <a:gd name="T36" fmla="*/ 25 w 54"/>
                  <a:gd name="T37" fmla="*/ 5 h 84"/>
                  <a:gd name="T38" fmla="*/ 24 w 54"/>
                  <a:gd name="T39" fmla="*/ 10 h 84"/>
                  <a:gd name="T40" fmla="*/ 21 w 54"/>
                  <a:gd name="T41" fmla="*/ 13 h 84"/>
                  <a:gd name="T42" fmla="*/ 17 w 54"/>
                  <a:gd name="T43" fmla="*/ 11 h 84"/>
                  <a:gd name="T44" fmla="*/ 14 w 54"/>
                  <a:gd name="T45" fmla="*/ 12 h 84"/>
                  <a:gd name="T46" fmla="*/ 7 w 54"/>
                  <a:gd name="T47" fmla="*/ 10 h 84"/>
                  <a:gd name="T48" fmla="*/ 4 w 54"/>
                  <a:gd name="T49" fmla="*/ 7 h 84"/>
                  <a:gd name="T50" fmla="*/ 0 w 54"/>
                  <a:gd name="T51" fmla="*/ 9 h 84"/>
                  <a:gd name="T52" fmla="*/ 8 w 54"/>
                  <a:gd name="T53" fmla="*/ 14 h 84"/>
                  <a:gd name="T54" fmla="*/ 12 w 54"/>
                  <a:gd name="T55" fmla="*/ 16 h 84"/>
                  <a:gd name="T56" fmla="*/ 14 w 54"/>
                  <a:gd name="T57" fmla="*/ 19 h 84"/>
                  <a:gd name="T58" fmla="*/ 14 w 54"/>
                  <a:gd name="T59" fmla="*/ 21 h 84"/>
                  <a:gd name="T60" fmla="*/ 15 w 54"/>
                  <a:gd name="T61" fmla="*/ 24 h 84"/>
                  <a:gd name="T62" fmla="*/ 15 w 54"/>
                  <a:gd name="T63" fmla="*/ 27 h 84"/>
                  <a:gd name="T64" fmla="*/ 16 w 54"/>
                  <a:gd name="T65" fmla="*/ 29 h 84"/>
                  <a:gd name="T66" fmla="*/ 15 w 54"/>
                  <a:gd name="T67" fmla="*/ 33 h 84"/>
                  <a:gd name="T68" fmla="*/ 17 w 54"/>
                  <a:gd name="T69" fmla="*/ 36 h 84"/>
                  <a:gd name="T70" fmla="*/ 21 w 54"/>
                  <a:gd name="T71" fmla="*/ 38 h 84"/>
                  <a:gd name="T72" fmla="*/ 22 w 54"/>
                  <a:gd name="T73" fmla="*/ 41 h 84"/>
                  <a:gd name="T74" fmla="*/ 23 w 54"/>
                  <a:gd name="T75" fmla="*/ 44 h 84"/>
                  <a:gd name="T76" fmla="*/ 20 w 54"/>
                  <a:gd name="T77" fmla="*/ 44 h 84"/>
                  <a:gd name="T78" fmla="*/ 16 w 54"/>
                  <a:gd name="T79" fmla="*/ 49 h 84"/>
                  <a:gd name="T80" fmla="*/ 13 w 54"/>
                  <a:gd name="T81" fmla="*/ 51 h 84"/>
                  <a:gd name="T82" fmla="*/ 10 w 54"/>
                  <a:gd name="T83" fmla="*/ 54 h 84"/>
                  <a:gd name="T84" fmla="*/ 4 w 54"/>
                  <a:gd name="T85" fmla="*/ 57 h 84"/>
                  <a:gd name="T86" fmla="*/ 2 w 54"/>
                  <a:gd name="T87" fmla="*/ 62 h 84"/>
                  <a:gd name="T88" fmla="*/ 4 w 54"/>
                  <a:gd name="T89" fmla="*/ 67 h 84"/>
                  <a:gd name="T90" fmla="*/ 4 w 54"/>
                  <a:gd name="T91" fmla="*/ 73 h 84"/>
                  <a:gd name="T92" fmla="*/ 4 w 54"/>
                  <a:gd name="T93" fmla="*/ 78 h 84"/>
                  <a:gd name="T94" fmla="*/ 7 w 54"/>
                  <a:gd name="T95" fmla="*/ 80 h 84"/>
                  <a:gd name="T96" fmla="*/ 5 w 54"/>
                  <a:gd name="T97" fmla="*/ 81 h 84"/>
                  <a:gd name="T98" fmla="*/ 8 w 54"/>
                  <a:gd name="T99" fmla="*/ 79 h 84"/>
                  <a:gd name="T100" fmla="*/ 8 w 54"/>
                  <a:gd name="T101" fmla="*/ 83 h 84"/>
                  <a:gd name="T102" fmla="*/ 11 w 54"/>
                  <a:gd name="T103" fmla="*/ 80 h 84"/>
                  <a:gd name="T104" fmla="*/ 11 w 54"/>
                  <a:gd name="T105" fmla="*/ 83 h 84"/>
                  <a:gd name="T106" fmla="*/ 23 w 54"/>
                  <a:gd name="T107" fmla="*/ 80 h 84"/>
                  <a:gd name="T108" fmla="*/ 36 w 54"/>
                  <a:gd name="T109" fmla="*/ 78 h 84"/>
                  <a:gd name="T110" fmla="*/ 46 w 54"/>
                  <a:gd name="T111" fmla="*/ 68 h 84"/>
                  <a:gd name="T112" fmla="*/ 53 w 54"/>
                  <a:gd name="T113" fmla="*/ 59 h 84"/>
                  <a:gd name="T114" fmla="*/ 53 w 54"/>
                  <a:gd name="T115" fmla="*/ 5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" h="84">
                    <a:moveTo>
                      <a:pt x="53" y="59"/>
                    </a:moveTo>
                    <a:cubicBezTo>
                      <a:pt x="52" y="57"/>
                      <a:pt x="49" y="56"/>
                      <a:pt x="47" y="55"/>
                    </a:cubicBezTo>
                    <a:cubicBezTo>
                      <a:pt x="44" y="53"/>
                      <a:pt x="48" y="53"/>
                      <a:pt x="49" y="51"/>
                    </a:cubicBezTo>
                    <a:cubicBezTo>
                      <a:pt x="49" y="51"/>
                      <a:pt x="45" y="45"/>
                      <a:pt x="44" y="44"/>
                    </a:cubicBezTo>
                    <a:cubicBezTo>
                      <a:pt x="44" y="44"/>
                      <a:pt x="46" y="43"/>
                      <a:pt x="46" y="43"/>
                    </a:cubicBezTo>
                    <a:cubicBezTo>
                      <a:pt x="46" y="42"/>
                      <a:pt x="44" y="39"/>
                      <a:pt x="44" y="38"/>
                    </a:cubicBezTo>
                    <a:cubicBezTo>
                      <a:pt x="44" y="37"/>
                      <a:pt x="45" y="37"/>
                      <a:pt x="45" y="36"/>
                    </a:cubicBezTo>
                    <a:cubicBezTo>
                      <a:pt x="46" y="35"/>
                      <a:pt x="44" y="33"/>
                      <a:pt x="44" y="32"/>
                    </a:cubicBezTo>
                    <a:cubicBezTo>
                      <a:pt x="42" y="30"/>
                      <a:pt x="40" y="28"/>
                      <a:pt x="42" y="26"/>
                    </a:cubicBezTo>
                    <a:cubicBezTo>
                      <a:pt x="43" y="25"/>
                      <a:pt x="45" y="24"/>
                      <a:pt x="45" y="23"/>
                    </a:cubicBezTo>
                    <a:cubicBezTo>
                      <a:pt x="46" y="21"/>
                      <a:pt x="44" y="20"/>
                      <a:pt x="44" y="19"/>
                    </a:cubicBezTo>
                    <a:cubicBezTo>
                      <a:pt x="43" y="18"/>
                      <a:pt x="36" y="15"/>
                      <a:pt x="38" y="13"/>
                    </a:cubicBezTo>
                    <a:cubicBezTo>
                      <a:pt x="38" y="13"/>
                      <a:pt x="40" y="12"/>
                      <a:pt x="40" y="12"/>
                    </a:cubicBezTo>
                    <a:cubicBezTo>
                      <a:pt x="40" y="12"/>
                      <a:pt x="37" y="10"/>
                      <a:pt x="39" y="10"/>
                    </a:cubicBezTo>
                    <a:cubicBezTo>
                      <a:pt x="42" y="10"/>
                      <a:pt x="44" y="5"/>
                      <a:pt x="41" y="3"/>
                    </a:cubicBezTo>
                    <a:cubicBezTo>
                      <a:pt x="40" y="2"/>
                      <a:pt x="38" y="2"/>
                      <a:pt x="37" y="1"/>
                    </a:cubicBezTo>
                    <a:cubicBezTo>
                      <a:pt x="36" y="0"/>
                      <a:pt x="35" y="0"/>
                      <a:pt x="34" y="0"/>
                    </a:cubicBezTo>
                    <a:cubicBezTo>
                      <a:pt x="32" y="1"/>
                      <a:pt x="31" y="0"/>
                      <a:pt x="29" y="1"/>
                    </a:cubicBezTo>
                    <a:cubicBezTo>
                      <a:pt x="28" y="2"/>
                      <a:pt x="26" y="4"/>
                      <a:pt x="25" y="5"/>
                    </a:cubicBezTo>
                    <a:cubicBezTo>
                      <a:pt x="25" y="6"/>
                      <a:pt x="25" y="10"/>
                      <a:pt x="24" y="10"/>
                    </a:cubicBezTo>
                    <a:cubicBezTo>
                      <a:pt x="23" y="11"/>
                      <a:pt x="22" y="12"/>
                      <a:pt x="21" y="13"/>
                    </a:cubicBezTo>
                    <a:cubicBezTo>
                      <a:pt x="20" y="13"/>
                      <a:pt x="18" y="11"/>
                      <a:pt x="17" y="11"/>
                    </a:cubicBezTo>
                    <a:cubicBezTo>
                      <a:pt x="16" y="11"/>
                      <a:pt x="15" y="12"/>
                      <a:pt x="14" y="12"/>
                    </a:cubicBezTo>
                    <a:cubicBezTo>
                      <a:pt x="11" y="13"/>
                      <a:pt x="9" y="12"/>
                      <a:pt x="7" y="10"/>
                    </a:cubicBezTo>
                    <a:cubicBezTo>
                      <a:pt x="7" y="9"/>
                      <a:pt x="5" y="7"/>
                      <a:pt x="4" y="7"/>
                    </a:cubicBezTo>
                    <a:cubicBezTo>
                      <a:pt x="3" y="7"/>
                      <a:pt x="1" y="9"/>
                      <a:pt x="0" y="9"/>
                    </a:cubicBezTo>
                    <a:cubicBezTo>
                      <a:pt x="2" y="11"/>
                      <a:pt x="5" y="13"/>
                      <a:pt x="8" y="14"/>
                    </a:cubicBezTo>
                    <a:cubicBezTo>
                      <a:pt x="9" y="14"/>
                      <a:pt x="11" y="15"/>
                      <a:pt x="12" y="16"/>
                    </a:cubicBezTo>
                    <a:cubicBezTo>
                      <a:pt x="13" y="17"/>
                      <a:pt x="13" y="18"/>
                      <a:pt x="14" y="19"/>
                    </a:cubicBezTo>
                    <a:cubicBezTo>
                      <a:pt x="14" y="20"/>
                      <a:pt x="13" y="20"/>
                      <a:pt x="14" y="21"/>
                    </a:cubicBezTo>
                    <a:cubicBezTo>
                      <a:pt x="14" y="22"/>
                      <a:pt x="16" y="23"/>
                      <a:pt x="15" y="24"/>
                    </a:cubicBezTo>
                    <a:cubicBezTo>
                      <a:pt x="15" y="25"/>
                      <a:pt x="14" y="26"/>
                      <a:pt x="15" y="27"/>
                    </a:cubicBezTo>
                    <a:cubicBezTo>
                      <a:pt x="15" y="27"/>
                      <a:pt x="16" y="29"/>
                      <a:pt x="16" y="29"/>
                    </a:cubicBezTo>
                    <a:cubicBezTo>
                      <a:pt x="15" y="30"/>
                      <a:pt x="15" y="32"/>
                      <a:pt x="15" y="33"/>
                    </a:cubicBezTo>
                    <a:cubicBezTo>
                      <a:pt x="15" y="33"/>
                      <a:pt x="17" y="36"/>
                      <a:pt x="17" y="36"/>
                    </a:cubicBezTo>
                    <a:cubicBezTo>
                      <a:pt x="18" y="37"/>
                      <a:pt x="20" y="38"/>
                      <a:pt x="21" y="38"/>
                    </a:cubicBezTo>
                    <a:cubicBezTo>
                      <a:pt x="22" y="39"/>
                      <a:pt x="22" y="40"/>
                      <a:pt x="22" y="41"/>
                    </a:cubicBezTo>
                    <a:cubicBezTo>
                      <a:pt x="22" y="42"/>
                      <a:pt x="23" y="43"/>
                      <a:pt x="23" y="44"/>
                    </a:cubicBezTo>
                    <a:cubicBezTo>
                      <a:pt x="23" y="45"/>
                      <a:pt x="21" y="44"/>
                      <a:pt x="20" y="44"/>
                    </a:cubicBezTo>
                    <a:cubicBezTo>
                      <a:pt x="19" y="44"/>
                      <a:pt x="16" y="48"/>
                      <a:pt x="16" y="49"/>
                    </a:cubicBezTo>
                    <a:cubicBezTo>
                      <a:pt x="15" y="50"/>
                      <a:pt x="14" y="50"/>
                      <a:pt x="13" y="51"/>
                    </a:cubicBezTo>
                    <a:cubicBezTo>
                      <a:pt x="12" y="52"/>
                      <a:pt x="11" y="53"/>
                      <a:pt x="10" y="54"/>
                    </a:cubicBezTo>
                    <a:cubicBezTo>
                      <a:pt x="9" y="54"/>
                      <a:pt x="4" y="58"/>
                      <a:pt x="4" y="57"/>
                    </a:cubicBezTo>
                    <a:cubicBezTo>
                      <a:pt x="4" y="59"/>
                      <a:pt x="2" y="60"/>
                      <a:pt x="2" y="62"/>
                    </a:cubicBezTo>
                    <a:cubicBezTo>
                      <a:pt x="3" y="64"/>
                      <a:pt x="2" y="67"/>
                      <a:pt x="4" y="67"/>
                    </a:cubicBezTo>
                    <a:cubicBezTo>
                      <a:pt x="5" y="67"/>
                      <a:pt x="4" y="72"/>
                      <a:pt x="4" y="73"/>
                    </a:cubicBezTo>
                    <a:cubicBezTo>
                      <a:pt x="4" y="75"/>
                      <a:pt x="2" y="77"/>
                      <a:pt x="4" y="78"/>
                    </a:cubicBezTo>
                    <a:cubicBezTo>
                      <a:pt x="4" y="78"/>
                      <a:pt x="8" y="79"/>
                      <a:pt x="7" y="80"/>
                    </a:cubicBezTo>
                    <a:cubicBezTo>
                      <a:pt x="7" y="80"/>
                      <a:pt x="5" y="81"/>
                      <a:pt x="5" y="81"/>
                    </a:cubicBezTo>
                    <a:cubicBezTo>
                      <a:pt x="7" y="81"/>
                      <a:pt x="7" y="79"/>
                      <a:pt x="8" y="79"/>
                    </a:cubicBezTo>
                    <a:cubicBezTo>
                      <a:pt x="10" y="78"/>
                      <a:pt x="8" y="83"/>
                      <a:pt x="8" y="83"/>
                    </a:cubicBezTo>
                    <a:cubicBezTo>
                      <a:pt x="8" y="83"/>
                      <a:pt x="11" y="80"/>
                      <a:pt x="11" y="80"/>
                    </a:cubicBezTo>
                    <a:cubicBezTo>
                      <a:pt x="12" y="79"/>
                      <a:pt x="11" y="83"/>
                      <a:pt x="11" y="83"/>
                    </a:cubicBezTo>
                    <a:cubicBezTo>
                      <a:pt x="14" y="84"/>
                      <a:pt x="20" y="81"/>
                      <a:pt x="23" y="80"/>
                    </a:cubicBezTo>
                    <a:cubicBezTo>
                      <a:pt x="27" y="79"/>
                      <a:pt x="31" y="79"/>
                      <a:pt x="36" y="78"/>
                    </a:cubicBezTo>
                    <a:cubicBezTo>
                      <a:pt x="39" y="74"/>
                      <a:pt x="43" y="71"/>
                      <a:pt x="46" y="68"/>
                    </a:cubicBezTo>
                    <a:cubicBezTo>
                      <a:pt x="48" y="66"/>
                      <a:pt x="54" y="62"/>
                      <a:pt x="53" y="59"/>
                    </a:cubicBezTo>
                    <a:cubicBezTo>
                      <a:pt x="52" y="57"/>
                      <a:pt x="54" y="62"/>
                      <a:pt x="53" y="5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7" name="Freeform 719">
                <a:extLst>
                  <a:ext uri="{FF2B5EF4-FFF2-40B4-BE49-F238E27FC236}">
                    <a16:creationId xmlns:a16="http://schemas.microsoft.com/office/drawing/2014/main" id="{189644B0-57BC-4901-AD69-F752B4795E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302" y="2482564"/>
                <a:ext cx="597290" cy="500130"/>
              </a:xfrm>
              <a:custGeom>
                <a:avLst/>
                <a:gdLst>
                  <a:gd name="T0" fmla="*/ 38 w 128"/>
                  <a:gd name="T1" fmla="*/ 87 h 107"/>
                  <a:gd name="T2" fmla="*/ 38 w 128"/>
                  <a:gd name="T3" fmla="*/ 63 h 107"/>
                  <a:gd name="T4" fmla="*/ 47 w 128"/>
                  <a:gd name="T5" fmla="*/ 52 h 107"/>
                  <a:gd name="T6" fmla="*/ 56 w 128"/>
                  <a:gd name="T7" fmla="*/ 34 h 107"/>
                  <a:gd name="T8" fmla="*/ 72 w 128"/>
                  <a:gd name="T9" fmla="*/ 25 h 107"/>
                  <a:gd name="T10" fmla="*/ 86 w 128"/>
                  <a:gd name="T11" fmla="*/ 22 h 107"/>
                  <a:gd name="T12" fmla="*/ 102 w 128"/>
                  <a:gd name="T13" fmla="*/ 20 h 107"/>
                  <a:gd name="T14" fmla="*/ 112 w 128"/>
                  <a:gd name="T15" fmla="*/ 10 h 107"/>
                  <a:gd name="T16" fmla="*/ 120 w 128"/>
                  <a:gd name="T17" fmla="*/ 13 h 107"/>
                  <a:gd name="T18" fmla="*/ 127 w 128"/>
                  <a:gd name="T19" fmla="*/ 6 h 107"/>
                  <a:gd name="T20" fmla="*/ 114 w 128"/>
                  <a:gd name="T21" fmla="*/ 5 h 107"/>
                  <a:gd name="T22" fmla="*/ 116 w 128"/>
                  <a:gd name="T23" fmla="*/ 2 h 107"/>
                  <a:gd name="T24" fmla="*/ 106 w 128"/>
                  <a:gd name="T25" fmla="*/ 3 h 107"/>
                  <a:gd name="T26" fmla="*/ 100 w 128"/>
                  <a:gd name="T27" fmla="*/ 1 h 107"/>
                  <a:gd name="T28" fmla="*/ 95 w 128"/>
                  <a:gd name="T29" fmla="*/ 3 h 107"/>
                  <a:gd name="T30" fmla="*/ 91 w 128"/>
                  <a:gd name="T31" fmla="*/ 6 h 107"/>
                  <a:gd name="T32" fmla="*/ 90 w 128"/>
                  <a:gd name="T33" fmla="*/ 11 h 107"/>
                  <a:gd name="T34" fmla="*/ 84 w 128"/>
                  <a:gd name="T35" fmla="*/ 10 h 107"/>
                  <a:gd name="T36" fmla="*/ 80 w 128"/>
                  <a:gd name="T37" fmla="*/ 13 h 107"/>
                  <a:gd name="T38" fmla="*/ 76 w 128"/>
                  <a:gd name="T39" fmla="*/ 15 h 107"/>
                  <a:gd name="T40" fmla="*/ 72 w 128"/>
                  <a:gd name="T41" fmla="*/ 16 h 107"/>
                  <a:gd name="T42" fmla="*/ 68 w 128"/>
                  <a:gd name="T43" fmla="*/ 10 h 107"/>
                  <a:gd name="T44" fmla="*/ 67 w 128"/>
                  <a:gd name="T45" fmla="*/ 14 h 107"/>
                  <a:gd name="T46" fmla="*/ 65 w 128"/>
                  <a:gd name="T47" fmla="*/ 14 h 107"/>
                  <a:gd name="T48" fmla="*/ 62 w 128"/>
                  <a:gd name="T49" fmla="*/ 18 h 107"/>
                  <a:gd name="T50" fmla="*/ 61 w 128"/>
                  <a:gd name="T51" fmla="*/ 21 h 107"/>
                  <a:gd name="T52" fmla="*/ 57 w 128"/>
                  <a:gd name="T53" fmla="*/ 20 h 107"/>
                  <a:gd name="T54" fmla="*/ 54 w 128"/>
                  <a:gd name="T55" fmla="*/ 20 h 107"/>
                  <a:gd name="T56" fmla="*/ 51 w 128"/>
                  <a:gd name="T57" fmla="*/ 22 h 107"/>
                  <a:gd name="T58" fmla="*/ 49 w 128"/>
                  <a:gd name="T59" fmla="*/ 23 h 107"/>
                  <a:gd name="T60" fmla="*/ 54 w 128"/>
                  <a:gd name="T61" fmla="*/ 25 h 107"/>
                  <a:gd name="T62" fmla="*/ 56 w 128"/>
                  <a:gd name="T63" fmla="*/ 25 h 107"/>
                  <a:gd name="T64" fmla="*/ 57 w 128"/>
                  <a:gd name="T65" fmla="*/ 28 h 107"/>
                  <a:gd name="T66" fmla="*/ 49 w 128"/>
                  <a:gd name="T67" fmla="*/ 31 h 107"/>
                  <a:gd name="T68" fmla="*/ 53 w 128"/>
                  <a:gd name="T69" fmla="*/ 33 h 107"/>
                  <a:gd name="T70" fmla="*/ 49 w 128"/>
                  <a:gd name="T71" fmla="*/ 35 h 107"/>
                  <a:gd name="T72" fmla="*/ 43 w 128"/>
                  <a:gd name="T73" fmla="*/ 40 h 107"/>
                  <a:gd name="T74" fmla="*/ 42 w 128"/>
                  <a:gd name="T75" fmla="*/ 43 h 107"/>
                  <a:gd name="T76" fmla="*/ 39 w 128"/>
                  <a:gd name="T77" fmla="*/ 45 h 107"/>
                  <a:gd name="T78" fmla="*/ 39 w 128"/>
                  <a:gd name="T79" fmla="*/ 49 h 107"/>
                  <a:gd name="T80" fmla="*/ 39 w 128"/>
                  <a:gd name="T81" fmla="*/ 52 h 107"/>
                  <a:gd name="T82" fmla="*/ 35 w 128"/>
                  <a:gd name="T83" fmla="*/ 56 h 107"/>
                  <a:gd name="T84" fmla="*/ 27 w 128"/>
                  <a:gd name="T85" fmla="*/ 62 h 107"/>
                  <a:gd name="T86" fmla="*/ 31 w 128"/>
                  <a:gd name="T87" fmla="*/ 64 h 107"/>
                  <a:gd name="T88" fmla="*/ 28 w 128"/>
                  <a:gd name="T89" fmla="*/ 66 h 107"/>
                  <a:gd name="T90" fmla="*/ 19 w 128"/>
                  <a:gd name="T91" fmla="*/ 68 h 107"/>
                  <a:gd name="T92" fmla="*/ 16 w 128"/>
                  <a:gd name="T93" fmla="*/ 72 h 107"/>
                  <a:gd name="T94" fmla="*/ 10 w 128"/>
                  <a:gd name="T95" fmla="*/ 73 h 107"/>
                  <a:gd name="T96" fmla="*/ 10 w 128"/>
                  <a:gd name="T97" fmla="*/ 74 h 107"/>
                  <a:gd name="T98" fmla="*/ 5 w 128"/>
                  <a:gd name="T99" fmla="*/ 75 h 107"/>
                  <a:gd name="T100" fmla="*/ 4 w 128"/>
                  <a:gd name="T101" fmla="*/ 81 h 107"/>
                  <a:gd name="T102" fmla="*/ 1 w 128"/>
                  <a:gd name="T103" fmla="*/ 86 h 107"/>
                  <a:gd name="T104" fmla="*/ 6 w 128"/>
                  <a:gd name="T105" fmla="*/ 92 h 107"/>
                  <a:gd name="T106" fmla="*/ 7 w 128"/>
                  <a:gd name="T107" fmla="*/ 94 h 107"/>
                  <a:gd name="T108" fmla="*/ 3 w 128"/>
                  <a:gd name="T109" fmla="*/ 93 h 107"/>
                  <a:gd name="T110" fmla="*/ 5 w 128"/>
                  <a:gd name="T111" fmla="*/ 97 h 107"/>
                  <a:gd name="T112" fmla="*/ 5 w 128"/>
                  <a:gd name="T113" fmla="*/ 103 h 107"/>
                  <a:gd name="T114" fmla="*/ 27 w 128"/>
                  <a:gd name="T115" fmla="*/ 99 h 107"/>
                  <a:gd name="T116" fmla="*/ 34 w 128"/>
                  <a:gd name="T117" fmla="*/ 10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8" h="107">
                    <a:moveTo>
                      <a:pt x="34" y="101"/>
                    </a:moveTo>
                    <a:cubicBezTo>
                      <a:pt x="34" y="101"/>
                      <a:pt x="35" y="98"/>
                      <a:pt x="35" y="97"/>
                    </a:cubicBezTo>
                    <a:cubicBezTo>
                      <a:pt x="35" y="95"/>
                      <a:pt x="36" y="94"/>
                      <a:pt x="38" y="93"/>
                    </a:cubicBezTo>
                    <a:cubicBezTo>
                      <a:pt x="40" y="91"/>
                      <a:pt x="38" y="88"/>
                      <a:pt x="38" y="87"/>
                    </a:cubicBezTo>
                    <a:cubicBezTo>
                      <a:pt x="38" y="84"/>
                      <a:pt x="42" y="84"/>
                      <a:pt x="39" y="82"/>
                    </a:cubicBezTo>
                    <a:cubicBezTo>
                      <a:pt x="37" y="80"/>
                      <a:pt x="36" y="80"/>
                      <a:pt x="37" y="77"/>
                    </a:cubicBezTo>
                    <a:cubicBezTo>
                      <a:pt x="38" y="75"/>
                      <a:pt x="37" y="73"/>
                      <a:pt x="37" y="71"/>
                    </a:cubicBezTo>
                    <a:cubicBezTo>
                      <a:pt x="36" y="68"/>
                      <a:pt x="35" y="65"/>
                      <a:pt x="38" y="63"/>
                    </a:cubicBezTo>
                    <a:cubicBezTo>
                      <a:pt x="39" y="62"/>
                      <a:pt x="41" y="62"/>
                      <a:pt x="42" y="61"/>
                    </a:cubicBezTo>
                    <a:cubicBezTo>
                      <a:pt x="43" y="61"/>
                      <a:pt x="44" y="62"/>
                      <a:pt x="45" y="61"/>
                    </a:cubicBezTo>
                    <a:cubicBezTo>
                      <a:pt x="46" y="59"/>
                      <a:pt x="45" y="58"/>
                      <a:pt x="44" y="57"/>
                    </a:cubicBezTo>
                    <a:cubicBezTo>
                      <a:pt x="44" y="55"/>
                      <a:pt x="46" y="54"/>
                      <a:pt x="47" y="52"/>
                    </a:cubicBezTo>
                    <a:cubicBezTo>
                      <a:pt x="47" y="51"/>
                      <a:pt x="48" y="48"/>
                      <a:pt x="48" y="46"/>
                    </a:cubicBezTo>
                    <a:cubicBezTo>
                      <a:pt x="48" y="44"/>
                      <a:pt x="52" y="44"/>
                      <a:pt x="51" y="43"/>
                    </a:cubicBezTo>
                    <a:cubicBezTo>
                      <a:pt x="51" y="41"/>
                      <a:pt x="53" y="40"/>
                      <a:pt x="54" y="38"/>
                    </a:cubicBezTo>
                    <a:cubicBezTo>
                      <a:pt x="56" y="36"/>
                      <a:pt x="56" y="37"/>
                      <a:pt x="56" y="34"/>
                    </a:cubicBezTo>
                    <a:cubicBezTo>
                      <a:pt x="55" y="33"/>
                      <a:pt x="59" y="28"/>
                      <a:pt x="60" y="28"/>
                    </a:cubicBezTo>
                    <a:cubicBezTo>
                      <a:pt x="61" y="27"/>
                      <a:pt x="64" y="28"/>
                      <a:pt x="65" y="28"/>
                    </a:cubicBezTo>
                    <a:cubicBezTo>
                      <a:pt x="65" y="26"/>
                      <a:pt x="65" y="25"/>
                      <a:pt x="65" y="23"/>
                    </a:cubicBezTo>
                    <a:cubicBezTo>
                      <a:pt x="68" y="24"/>
                      <a:pt x="70" y="24"/>
                      <a:pt x="72" y="25"/>
                    </a:cubicBezTo>
                    <a:cubicBezTo>
                      <a:pt x="76" y="25"/>
                      <a:pt x="74" y="21"/>
                      <a:pt x="75" y="19"/>
                    </a:cubicBezTo>
                    <a:cubicBezTo>
                      <a:pt x="75" y="19"/>
                      <a:pt x="77" y="19"/>
                      <a:pt x="78" y="19"/>
                    </a:cubicBezTo>
                    <a:cubicBezTo>
                      <a:pt x="79" y="18"/>
                      <a:pt x="81" y="16"/>
                      <a:pt x="82" y="18"/>
                    </a:cubicBezTo>
                    <a:cubicBezTo>
                      <a:pt x="84" y="19"/>
                      <a:pt x="84" y="21"/>
                      <a:pt x="86" y="22"/>
                    </a:cubicBezTo>
                    <a:cubicBezTo>
                      <a:pt x="87" y="22"/>
                      <a:pt x="89" y="22"/>
                      <a:pt x="90" y="22"/>
                    </a:cubicBezTo>
                    <a:cubicBezTo>
                      <a:pt x="91" y="22"/>
                      <a:pt x="92" y="21"/>
                      <a:pt x="94" y="21"/>
                    </a:cubicBezTo>
                    <a:cubicBezTo>
                      <a:pt x="95" y="21"/>
                      <a:pt x="96" y="23"/>
                      <a:pt x="98" y="23"/>
                    </a:cubicBezTo>
                    <a:cubicBezTo>
                      <a:pt x="98" y="22"/>
                      <a:pt x="102" y="20"/>
                      <a:pt x="102" y="20"/>
                    </a:cubicBezTo>
                    <a:cubicBezTo>
                      <a:pt x="102" y="17"/>
                      <a:pt x="102" y="16"/>
                      <a:pt x="103" y="14"/>
                    </a:cubicBezTo>
                    <a:cubicBezTo>
                      <a:pt x="104" y="13"/>
                      <a:pt x="106" y="11"/>
                      <a:pt x="107" y="11"/>
                    </a:cubicBezTo>
                    <a:cubicBezTo>
                      <a:pt x="108" y="11"/>
                      <a:pt x="109" y="11"/>
                      <a:pt x="110" y="11"/>
                    </a:cubicBezTo>
                    <a:cubicBezTo>
                      <a:pt x="111" y="11"/>
                      <a:pt x="111" y="10"/>
                      <a:pt x="112" y="10"/>
                    </a:cubicBezTo>
                    <a:cubicBezTo>
                      <a:pt x="113" y="10"/>
                      <a:pt x="115" y="12"/>
                      <a:pt x="116" y="12"/>
                    </a:cubicBezTo>
                    <a:cubicBezTo>
                      <a:pt x="118" y="13"/>
                      <a:pt x="119" y="14"/>
                      <a:pt x="119" y="17"/>
                    </a:cubicBezTo>
                    <a:cubicBezTo>
                      <a:pt x="121" y="17"/>
                      <a:pt x="126" y="14"/>
                      <a:pt x="124" y="12"/>
                    </a:cubicBezTo>
                    <a:cubicBezTo>
                      <a:pt x="126" y="13"/>
                      <a:pt x="121" y="13"/>
                      <a:pt x="120" y="13"/>
                    </a:cubicBezTo>
                    <a:cubicBezTo>
                      <a:pt x="125" y="12"/>
                      <a:pt x="118" y="9"/>
                      <a:pt x="117" y="10"/>
                    </a:cubicBezTo>
                    <a:cubicBezTo>
                      <a:pt x="118" y="9"/>
                      <a:pt x="119" y="10"/>
                      <a:pt x="119" y="10"/>
                    </a:cubicBezTo>
                    <a:cubicBezTo>
                      <a:pt x="121" y="10"/>
                      <a:pt x="123" y="10"/>
                      <a:pt x="124" y="9"/>
                    </a:cubicBezTo>
                    <a:cubicBezTo>
                      <a:pt x="125" y="9"/>
                      <a:pt x="128" y="7"/>
                      <a:pt x="127" y="6"/>
                    </a:cubicBezTo>
                    <a:cubicBezTo>
                      <a:pt x="125" y="5"/>
                      <a:pt x="122" y="4"/>
                      <a:pt x="119" y="3"/>
                    </a:cubicBezTo>
                    <a:cubicBezTo>
                      <a:pt x="118" y="2"/>
                      <a:pt x="117" y="4"/>
                      <a:pt x="116" y="5"/>
                    </a:cubicBezTo>
                    <a:cubicBezTo>
                      <a:pt x="116" y="5"/>
                      <a:pt x="114" y="8"/>
                      <a:pt x="114" y="7"/>
                    </a:cubicBezTo>
                    <a:cubicBezTo>
                      <a:pt x="114" y="7"/>
                      <a:pt x="114" y="6"/>
                      <a:pt x="114" y="5"/>
                    </a:cubicBezTo>
                    <a:cubicBezTo>
                      <a:pt x="114" y="5"/>
                      <a:pt x="112" y="5"/>
                      <a:pt x="112" y="5"/>
                    </a:cubicBezTo>
                    <a:cubicBezTo>
                      <a:pt x="113" y="4"/>
                      <a:pt x="115" y="5"/>
                      <a:pt x="115" y="4"/>
                    </a:cubicBezTo>
                    <a:cubicBezTo>
                      <a:pt x="115" y="4"/>
                      <a:pt x="112" y="4"/>
                      <a:pt x="112" y="4"/>
                    </a:cubicBezTo>
                    <a:cubicBezTo>
                      <a:pt x="112" y="3"/>
                      <a:pt x="116" y="3"/>
                      <a:pt x="116" y="2"/>
                    </a:cubicBezTo>
                    <a:cubicBezTo>
                      <a:pt x="115" y="1"/>
                      <a:pt x="109" y="0"/>
                      <a:pt x="110" y="2"/>
                    </a:cubicBezTo>
                    <a:cubicBezTo>
                      <a:pt x="111" y="3"/>
                      <a:pt x="111" y="3"/>
                      <a:pt x="110" y="4"/>
                    </a:cubicBezTo>
                    <a:cubicBezTo>
                      <a:pt x="109" y="5"/>
                      <a:pt x="107" y="7"/>
                      <a:pt x="106" y="7"/>
                    </a:cubicBezTo>
                    <a:cubicBezTo>
                      <a:pt x="105" y="7"/>
                      <a:pt x="106" y="3"/>
                      <a:pt x="106" y="3"/>
                    </a:cubicBezTo>
                    <a:cubicBezTo>
                      <a:pt x="106" y="2"/>
                      <a:pt x="101" y="9"/>
                      <a:pt x="100" y="9"/>
                    </a:cubicBezTo>
                    <a:cubicBezTo>
                      <a:pt x="97" y="9"/>
                      <a:pt x="100" y="5"/>
                      <a:pt x="101" y="4"/>
                    </a:cubicBezTo>
                    <a:cubicBezTo>
                      <a:pt x="102" y="4"/>
                      <a:pt x="103" y="2"/>
                      <a:pt x="103" y="2"/>
                    </a:cubicBezTo>
                    <a:cubicBezTo>
                      <a:pt x="102" y="1"/>
                      <a:pt x="100" y="0"/>
                      <a:pt x="100" y="1"/>
                    </a:cubicBezTo>
                    <a:cubicBezTo>
                      <a:pt x="100" y="1"/>
                      <a:pt x="101" y="2"/>
                      <a:pt x="101" y="2"/>
                    </a:cubicBezTo>
                    <a:cubicBezTo>
                      <a:pt x="101" y="2"/>
                      <a:pt x="99" y="2"/>
                      <a:pt x="98" y="2"/>
                    </a:cubicBezTo>
                    <a:cubicBezTo>
                      <a:pt x="97" y="3"/>
                      <a:pt x="98" y="2"/>
                      <a:pt x="97" y="1"/>
                    </a:cubicBezTo>
                    <a:cubicBezTo>
                      <a:pt x="97" y="1"/>
                      <a:pt x="95" y="3"/>
                      <a:pt x="95" y="3"/>
                    </a:cubicBezTo>
                    <a:cubicBezTo>
                      <a:pt x="95" y="4"/>
                      <a:pt x="97" y="5"/>
                      <a:pt x="96" y="5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4" y="5"/>
                      <a:pt x="94" y="6"/>
                      <a:pt x="94" y="7"/>
                    </a:cubicBezTo>
                    <a:cubicBezTo>
                      <a:pt x="95" y="5"/>
                      <a:pt x="91" y="6"/>
                      <a:pt x="91" y="6"/>
                    </a:cubicBezTo>
                    <a:cubicBezTo>
                      <a:pt x="91" y="6"/>
                      <a:pt x="93" y="5"/>
                      <a:pt x="93" y="4"/>
                    </a:cubicBezTo>
                    <a:cubicBezTo>
                      <a:pt x="93" y="5"/>
                      <a:pt x="89" y="6"/>
                      <a:pt x="88" y="6"/>
                    </a:cubicBezTo>
                    <a:cubicBezTo>
                      <a:pt x="87" y="6"/>
                      <a:pt x="91" y="9"/>
                      <a:pt x="91" y="9"/>
                    </a:cubicBezTo>
                    <a:cubicBezTo>
                      <a:pt x="91" y="9"/>
                      <a:pt x="90" y="11"/>
                      <a:pt x="90" y="11"/>
                    </a:cubicBezTo>
                    <a:cubicBezTo>
                      <a:pt x="90" y="11"/>
                      <a:pt x="87" y="8"/>
                      <a:pt x="87" y="8"/>
                    </a:cubicBezTo>
                    <a:cubicBezTo>
                      <a:pt x="87" y="8"/>
                      <a:pt x="85" y="11"/>
                      <a:pt x="85" y="8"/>
                    </a:cubicBezTo>
                    <a:cubicBezTo>
                      <a:pt x="84" y="7"/>
                      <a:pt x="81" y="9"/>
                      <a:pt x="80" y="8"/>
                    </a:cubicBezTo>
                    <a:cubicBezTo>
                      <a:pt x="81" y="9"/>
                      <a:pt x="84" y="9"/>
                      <a:pt x="84" y="10"/>
                    </a:cubicBezTo>
                    <a:cubicBezTo>
                      <a:pt x="84" y="10"/>
                      <a:pt x="83" y="10"/>
                      <a:pt x="83" y="11"/>
                    </a:cubicBezTo>
                    <a:cubicBezTo>
                      <a:pt x="83" y="12"/>
                      <a:pt x="84" y="12"/>
                      <a:pt x="84" y="13"/>
                    </a:cubicBezTo>
                    <a:cubicBezTo>
                      <a:pt x="84" y="13"/>
                      <a:pt x="81" y="12"/>
                      <a:pt x="81" y="11"/>
                    </a:cubicBezTo>
                    <a:cubicBezTo>
                      <a:pt x="80" y="11"/>
                      <a:pt x="80" y="12"/>
                      <a:pt x="80" y="13"/>
                    </a:cubicBezTo>
                    <a:cubicBezTo>
                      <a:pt x="79" y="13"/>
                      <a:pt x="79" y="12"/>
                      <a:pt x="79" y="11"/>
                    </a:cubicBezTo>
                    <a:cubicBezTo>
                      <a:pt x="79" y="11"/>
                      <a:pt x="77" y="13"/>
                      <a:pt x="77" y="13"/>
                    </a:cubicBezTo>
                    <a:cubicBezTo>
                      <a:pt x="76" y="14"/>
                      <a:pt x="78" y="14"/>
                      <a:pt x="78" y="15"/>
                    </a:cubicBezTo>
                    <a:cubicBezTo>
                      <a:pt x="78" y="15"/>
                      <a:pt x="76" y="15"/>
                      <a:pt x="76" y="15"/>
                    </a:cubicBezTo>
                    <a:cubicBezTo>
                      <a:pt x="75" y="14"/>
                      <a:pt x="76" y="13"/>
                      <a:pt x="76" y="12"/>
                    </a:cubicBezTo>
                    <a:cubicBezTo>
                      <a:pt x="76" y="12"/>
                      <a:pt x="73" y="14"/>
                      <a:pt x="73" y="14"/>
                    </a:cubicBezTo>
                    <a:cubicBezTo>
                      <a:pt x="73" y="14"/>
                      <a:pt x="73" y="14"/>
                      <a:pt x="74" y="14"/>
                    </a:cubicBezTo>
                    <a:cubicBezTo>
                      <a:pt x="73" y="14"/>
                      <a:pt x="72" y="16"/>
                      <a:pt x="72" y="16"/>
                    </a:cubicBezTo>
                    <a:cubicBezTo>
                      <a:pt x="71" y="15"/>
                      <a:pt x="73" y="14"/>
                      <a:pt x="72" y="14"/>
                    </a:cubicBezTo>
                    <a:cubicBezTo>
                      <a:pt x="71" y="13"/>
                      <a:pt x="70" y="13"/>
                      <a:pt x="70" y="12"/>
                    </a:cubicBezTo>
                    <a:cubicBezTo>
                      <a:pt x="70" y="12"/>
                      <a:pt x="72" y="12"/>
                      <a:pt x="72" y="12"/>
                    </a:cubicBezTo>
                    <a:cubicBezTo>
                      <a:pt x="72" y="11"/>
                      <a:pt x="69" y="10"/>
                      <a:pt x="68" y="10"/>
                    </a:cubicBezTo>
                    <a:cubicBezTo>
                      <a:pt x="68" y="11"/>
                      <a:pt x="69" y="13"/>
                      <a:pt x="69" y="13"/>
                    </a:cubicBezTo>
                    <a:cubicBezTo>
                      <a:pt x="69" y="13"/>
                      <a:pt x="65" y="14"/>
                      <a:pt x="66" y="14"/>
                    </a:cubicBezTo>
                    <a:cubicBezTo>
                      <a:pt x="66" y="14"/>
                      <a:pt x="68" y="14"/>
                      <a:pt x="68" y="14"/>
                    </a:cubicBezTo>
                    <a:cubicBezTo>
                      <a:pt x="68" y="14"/>
                      <a:pt x="67" y="14"/>
                      <a:pt x="67" y="14"/>
                    </a:cubicBezTo>
                    <a:cubicBezTo>
                      <a:pt x="68" y="16"/>
                      <a:pt x="70" y="14"/>
                      <a:pt x="69" y="14"/>
                    </a:cubicBezTo>
                    <a:cubicBezTo>
                      <a:pt x="70" y="15"/>
                      <a:pt x="69" y="16"/>
                      <a:pt x="69" y="16"/>
                    </a:cubicBezTo>
                    <a:cubicBezTo>
                      <a:pt x="69" y="17"/>
                      <a:pt x="67" y="15"/>
                      <a:pt x="67" y="15"/>
                    </a:cubicBezTo>
                    <a:cubicBezTo>
                      <a:pt x="66" y="15"/>
                      <a:pt x="66" y="14"/>
                      <a:pt x="65" y="14"/>
                    </a:cubicBezTo>
                    <a:cubicBezTo>
                      <a:pt x="65" y="14"/>
                      <a:pt x="64" y="16"/>
                      <a:pt x="63" y="15"/>
                    </a:cubicBezTo>
                    <a:cubicBezTo>
                      <a:pt x="63" y="14"/>
                      <a:pt x="60" y="16"/>
                      <a:pt x="60" y="16"/>
                    </a:cubicBezTo>
                    <a:cubicBezTo>
                      <a:pt x="60" y="16"/>
                      <a:pt x="60" y="19"/>
                      <a:pt x="60" y="19"/>
                    </a:cubicBezTo>
                    <a:cubicBezTo>
                      <a:pt x="60" y="20"/>
                      <a:pt x="61" y="17"/>
                      <a:pt x="62" y="18"/>
                    </a:cubicBezTo>
                    <a:cubicBezTo>
                      <a:pt x="62" y="18"/>
                      <a:pt x="64" y="19"/>
                      <a:pt x="64" y="18"/>
                    </a:cubicBezTo>
                    <a:cubicBezTo>
                      <a:pt x="64" y="19"/>
                      <a:pt x="63" y="19"/>
                      <a:pt x="63" y="20"/>
                    </a:cubicBezTo>
                    <a:cubicBezTo>
                      <a:pt x="62" y="20"/>
                      <a:pt x="63" y="22"/>
                      <a:pt x="62" y="22"/>
                    </a:cubicBezTo>
                    <a:cubicBezTo>
                      <a:pt x="62" y="23"/>
                      <a:pt x="61" y="21"/>
                      <a:pt x="61" y="21"/>
                    </a:cubicBezTo>
                    <a:cubicBezTo>
                      <a:pt x="60" y="21"/>
                      <a:pt x="60" y="23"/>
                      <a:pt x="59" y="23"/>
                    </a:cubicBezTo>
                    <a:cubicBezTo>
                      <a:pt x="59" y="23"/>
                      <a:pt x="59" y="21"/>
                      <a:pt x="59" y="21"/>
                    </a:cubicBezTo>
                    <a:cubicBezTo>
                      <a:pt x="58" y="21"/>
                      <a:pt x="58" y="22"/>
                      <a:pt x="57" y="22"/>
                    </a:cubicBezTo>
                    <a:cubicBezTo>
                      <a:pt x="57" y="22"/>
                      <a:pt x="57" y="20"/>
                      <a:pt x="57" y="20"/>
                    </a:cubicBezTo>
                    <a:cubicBezTo>
                      <a:pt x="57" y="19"/>
                      <a:pt x="56" y="22"/>
                      <a:pt x="55" y="22"/>
                    </a:cubicBezTo>
                    <a:cubicBezTo>
                      <a:pt x="53" y="23"/>
                      <a:pt x="56" y="17"/>
                      <a:pt x="56" y="17"/>
                    </a:cubicBezTo>
                    <a:cubicBezTo>
                      <a:pt x="55" y="17"/>
                      <a:pt x="53" y="18"/>
                      <a:pt x="53" y="18"/>
                    </a:cubicBezTo>
                    <a:cubicBezTo>
                      <a:pt x="52" y="19"/>
                      <a:pt x="54" y="20"/>
                      <a:pt x="54" y="20"/>
                    </a:cubicBezTo>
                    <a:cubicBezTo>
                      <a:pt x="53" y="20"/>
                      <a:pt x="53" y="20"/>
                      <a:pt x="52" y="20"/>
                    </a:cubicBezTo>
                    <a:cubicBezTo>
                      <a:pt x="52" y="20"/>
                      <a:pt x="52" y="21"/>
                      <a:pt x="51" y="22"/>
                    </a:cubicBezTo>
                    <a:cubicBezTo>
                      <a:pt x="52" y="21"/>
                      <a:pt x="47" y="21"/>
                      <a:pt x="49" y="22"/>
                    </a:cubicBezTo>
                    <a:cubicBezTo>
                      <a:pt x="49" y="23"/>
                      <a:pt x="51" y="22"/>
                      <a:pt x="51" y="22"/>
                    </a:cubicBezTo>
                    <a:cubicBezTo>
                      <a:pt x="51" y="22"/>
                      <a:pt x="50" y="23"/>
                      <a:pt x="51" y="23"/>
                    </a:cubicBezTo>
                    <a:cubicBezTo>
                      <a:pt x="51" y="23"/>
                      <a:pt x="52" y="23"/>
                      <a:pt x="52" y="22"/>
                    </a:cubicBezTo>
                    <a:cubicBezTo>
                      <a:pt x="52" y="22"/>
                      <a:pt x="52" y="24"/>
                      <a:pt x="51" y="24"/>
                    </a:cubicBezTo>
                    <a:cubicBezTo>
                      <a:pt x="50" y="24"/>
                      <a:pt x="50" y="23"/>
                      <a:pt x="49" y="23"/>
                    </a:cubicBezTo>
                    <a:cubicBezTo>
                      <a:pt x="48" y="24"/>
                      <a:pt x="48" y="26"/>
                      <a:pt x="47" y="26"/>
                    </a:cubicBezTo>
                    <a:cubicBezTo>
                      <a:pt x="47" y="26"/>
                      <a:pt x="44" y="26"/>
                      <a:pt x="44" y="26"/>
                    </a:cubicBezTo>
                    <a:cubicBezTo>
                      <a:pt x="44" y="29"/>
                      <a:pt x="51" y="25"/>
                      <a:pt x="51" y="25"/>
                    </a:cubicBezTo>
                    <a:cubicBezTo>
                      <a:pt x="52" y="25"/>
                      <a:pt x="53" y="24"/>
                      <a:pt x="54" y="25"/>
                    </a:cubicBezTo>
                    <a:cubicBezTo>
                      <a:pt x="56" y="25"/>
                      <a:pt x="55" y="23"/>
                      <a:pt x="54" y="23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6" y="25"/>
                      <a:pt x="57" y="23"/>
                      <a:pt x="58" y="23"/>
                    </a:cubicBezTo>
                    <a:cubicBezTo>
                      <a:pt x="57" y="23"/>
                      <a:pt x="57" y="25"/>
                      <a:pt x="56" y="25"/>
                    </a:cubicBezTo>
                    <a:cubicBezTo>
                      <a:pt x="57" y="25"/>
                      <a:pt x="58" y="25"/>
                      <a:pt x="58" y="25"/>
                    </a:cubicBezTo>
                    <a:cubicBezTo>
                      <a:pt x="58" y="25"/>
                      <a:pt x="56" y="26"/>
                      <a:pt x="56" y="27"/>
                    </a:cubicBezTo>
                    <a:cubicBezTo>
                      <a:pt x="56" y="27"/>
                      <a:pt x="61" y="25"/>
                      <a:pt x="61" y="26"/>
                    </a:cubicBezTo>
                    <a:cubicBezTo>
                      <a:pt x="60" y="27"/>
                      <a:pt x="57" y="26"/>
                      <a:pt x="57" y="28"/>
                    </a:cubicBezTo>
                    <a:cubicBezTo>
                      <a:pt x="56" y="31"/>
                      <a:pt x="54" y="27"/>
                      <a:pt x="54" y="27"/>
                    </a:cubicBezTo>
                    <a:cubicBezTo>
                      <a:pt x="54" y="26"/>
                      <a:pt x="54" y="29"/>
                      <a:pt x="54" y="29"/>
                    </a:cubicBezTo>
                    <a:cubicBezTo>
                      <a:pt x="54" y="29"/>
                      <a:pt x="53" y="27"/>
                      <a:pt x="52" y="27"/>
                    </a:cubicBezTo>
                    <a:cubicBezTo>
                      <a:pt x="51" y="28"/>
                      <a:pt x="49" y="30"/>
                      <a:pt x="49" y="31"/>
                    </a:cubicBezTo>
                    <a:cubicBezTo>
                      <a:pt x="49" y="31"/>
                      <a:pt x="51" y="30"/>
                      <a:pt x="51" y="30"/>
                    </a:cubicBezTo>
                    <a:cubicBezTo>
                      <a:pt x="51" y="31"/>
                      <a:pt x="53" y="30"/>
                      <a:pt x="53" y="31"/>
                    </a:cubicBezTo>
                    <a:cubicBezTo>
                      <a:pt x="53" y="30"/>
                      <a:pt x="50" y="31"/>
                      <a:pt x="50" y="32"/>
                    </a:cubicBezTo>
                    <a:cubicBezTo>
                      <a:pt x="51" y="33"/>
                      <a:pt x="54" y="31"/>
                      <a:pt x="53" y="33"/>
                    </a:cubicBezTo>
                    <a:cubicBezTo>
                      <a:pt x="54" y="31"/>
                      <a:pt x="47" y="34"/>
                      <a:pt x="47" y="34"/>
                    </a:cubicBezTo>
                    <a:cubicBezTo>
                      <a:pt x="47" y="33"/>
                      <a:pt x="53" y="35"/>
                      <a:pt x="52" y="35"/>
                    </a:cubicBezTo>
                    <a:cubicBezTo>
                      <a:pt x="51" y="36"/>
                      <a:pt x="50" y="34"/>
                      <a:pt x="49" y="35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9" y="36"/>
                      <a:pt x="46" y="34"/>
                      <a:pt x="45" y="36"/>
                    </a:cubicBezTo>
                    <a:cubicBezTo>
                      <a:pt x="45" y="36"/>
                      <a:pt x="48" y="36"/>
                      <a:pt x="48" y="36"/>
                    </a:cubicBezTo>
                    <a:cubicBezTo>
                      <a:pt x="46" y="38"/>
                      <a:pt x="44" y="36"/>
                      <a:pt x="45" y="39"/>
                    </a:cubicBezTo>
                    <a:cubicBezTo>
                      <a:pt x="45" y="39"/>
                      <a:pt x="43" y="40"/>
                      <a:pt x="43" y="40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2" y="42"/>
                      <a:pt x="41" y="42"/>
                      <a:pt x="41" y="42"/>
                    </a:cubicBezTo>
                    <a:cubicBezTo>
                      <a:pt x="41" y="43"/>
                      <a:pt x="42" y="42"/>
                      <a:pt x="42" y="42"/>
                    </a:cubicBezTo>
                    <a:cubicBezTo>
                      <a:pt x="43" y="42"/>
                      <a:pt x="42" y="43"/>
                      <a:pt x="42" y="43"/>
                    </a:cubicBezTo>
                    <a:cubicBezTo>
                      <a:pt x="43" y="43"/>
                      <a:pt x="45" y="44"/>
                      <a:pt x="46" y="43"/>
                    </a:cubicBezTo>
                    <a:cubicBezTo>
                      <a:pt x="44" y="44"/>
                      <a:pt x="44" y="44"/>
                      <a:pt x="42" y="44"/>
                    </a:cubicBezTo>
                    <a:cubicBezTo>
                      <a:pt x="41" y="44"/>
                      <a:pt x="38" y="44"/>
                      <a:pt x="38" y="45"/>
                    </a:cubicBezTo>
                    <a:cubicBezTo>
                      <a:pt x="38" y="45"/>
                      <a:pt x="39" y="45"/>
                      <a:pt x="39" y="45"/>
                    </a:cubicBezTo>
                    <a:cubicBezTo>
                      <a:pt x="39" y="45"/>
                      <a:pt x="38" y="46"/>
                      <a:pt x="38" y="46"/>
                    </a:cubicBezTo>
                    <a:cubicBezTo>
                      <a:pt x="38" y="46"/>
                      <a:pt x="40" y="45"/>
                      <a:pt x="40" y="46"/>
                    </a:cubicBezTo>
                    <a:cubicBezTo>
                      <a:pt x="40" y="46"/>
                      <a:pt x="38" y="48"/>
                      <a:pt x="38" y="48"/>
                    </a:cubicBezTo>
                    <a:cubicBezTo>
                      <a:pt x="38" y="48"/>
                      <a:pt x="39" y="48"/>
                      <a:pt x="39" y="49"/>
                    </a:cubicBezTo>
                    <a:cubicBezTo>
                      <a:pt x="39" y="49"/>
                      <a:pt x="37" y="49"/>
                      <a:pt x="37" y="49"/>
                    </a:cubicBezTo>
                    <a:cubicBezTo>
                      <a:pt x="37" y="49"/>
                      <a:pt x="39" y="50"/>
                      <a:pt x="39" y="50"/>
                    </a:cubicBezTo>
                    <a:cubicBezTo>
                      <a:pt x="38" y="50"/>
                      <a:pt x="37" y="50"/>
                      <a:pt x="37" y="50"/>
                    </a:cubicBezTo>
                    <a:cubicBezTo>
                      <a:pt x="37" y="51"/>
                      <a:pt x="38" y="52"/>
                      <a:pt x="39" y="52"/>
                    </a:cubicBezTo>
                    <a:cubicBezTo>
                      <a:pt x="37" y="52"/>
                      <a:pt x="35" y="52"/>
                      <a:pt x="34" y="54"/>
                    </a:cubicBezTo>
                    <a:cubicBezTo>
                      <a:pt x="34" y="55"/>
                      <a:pt x="30" y="54"/>
                      <a:pt x="30" y="54"/>
                    </a:cubicBezTo>
                    <a:cubicBezTo>
                      <a:pt x="30" y="57"/>
                      <a:pt x="36" y="54"/>
                      <a:pt x="37" y="54"/>
                    </a:cubicBezTo>
                    <a:cubicBezTo>
                      <a:pt x="36" y="54"/>
                      <a:pt x="35" y="56"/>
                      <a:pt x="35" y="56"/>
                    </a:cubicBezTo>
                    <a:cubicBezTo>
                      <a:pt x="32" y="56"/>
                      <a:pt x="34" y="57"/>
                      <a:pt x="33" y="58"/>
                    </a:cubicBezTo>
                    <a:cubicBezTo>
                      <a:pt x="32" y="59"/>
                      <a:pt x="30" y="57"/>
                      <a:pt x="29" y="58"/>
                    </a:cubicBezTo>
                    <a:cubicBezTo>
                      <a:pt x="29" y="59"/>
                      <a:pt x="26" y="61"/>
                      <a:pt x="26" y="61"/>
                    </a:cubicBezTo>
                    <a:cubicBezTo>
                      <a:pt x="26" y="62"/>
                      <a:pt x="27" y="62"/>
                      <a:pt x="27" y="62"/>
                    </a:cubicBezTo>
                    <a:cubicBezTo>
                      <a:pt x="27" y="63"/>
                      <a:pt x="24" y="63"/>
                      <a:pt x="24" y="63"/>
                    </a:cubicBezTo>
                    <a:cubicBezTo>
                      <a:pt x="24" y="63"/>
                      <a:pt x="25" y="64"/>
                      <a:pt x="25" y="65"/>
                    </a:cubicBezTo>
                    <a:cubicBezTo>
                      <a:pt x="25" y="66"/>
                      <a:pt x="27" y="65"/>
                      <a:pt x="28" y="65"/>
                    </a:cubicBezTo>
                    <a:cubicBezTo>
                      <a:pt x="29" y="64"/>
                      <a:pt x="30" y="65"/>
                      <a:pt x="31" y="64"/>
                    </a:cubicBezTo>
                    <a:cubicBezTo>
                      <a:pt x="31" y="64"/>
                      <a:pt x="30" y="63"/>
                      <a:pt x="30" y="62"/>
                    </a:cubicBezTo>
                    <a:cubicBezTo>
                      <a:pt x="30" y="62"/>
                      <a:pt x="32" y="63"/>
                      <a:pt x="33" y="64"/>
                    </a:cubicBezTo>
                    <a:cubicBezTo>
                      <a:pt x="33" y="64"/>
                      <a:pt x="30" y="66"/>
                      <a:pt x="30" y="66"/>
                    </a:cubicBezTo>
                    <a:cubicBezTo>
                      <a:pt x="29" y="66"/>
                      <a:pt x="28" y="67"/>
                      <a:pt x="28" y="66"/>
                    </a:cubicBezTo>
                    <a:cubicBezTo>
                      <a:pt x="27" y="65"/>
                      <a:pt x="26" y="67"/>
                      <a:pt x="25" y="67"/>
                    </a:cubicBezTo>
                    <a:cubicBezTo>
                      <a:pt x="24" y="66"/>
                      <a:pt x="24" y="63"/>
                      <a:pt x="23" y="66"/>
                    </a:cubicBezTo>
                    <a:cubicBezTo>
                      <a:pt x="21" y="70"/>
                      <a:pt x="20" y="65"/>
                      <a:pt x="21" y="65"/>
                    </a:cubicBezTo>
                    <a:cubicBezTo>
                      <a:pt x="19" y="65"/>
                      <a:pt x="21" y="69"/>
                      <a:pt x="19" y="68"/>
                    </a:cubicBezTo>
                    <a:cubicBezTo>
                      <a:pt x="15" y="68"/>
                      <a:pt x="18" y="70"/>
                      <a:pt x="17" y="71"/>
                    </a:cubicBezTo>
                    <a:cubicBezTo>
                      <a:pt x="16" y="71"/>
                      <a:pt x="16" y="69"/>
                      <a:pt x="16" y="69"/>
                    </a:cubicBezTo>
                    <a:cubicBezTo>
                      <a:pt x="14" y="69"/>
                      <a:pt x="12" y="70"/>
                      <a:pt x="11" y="71"/>
                    </a:cubicBezTo>
                    <a:cubicBezTo>
                      <a:pt x="11" y="72"/>
                      <a:pt x="15" y="72"/>
                      <a:pt x="16" y="72"/>
                    </a:cubicBezTo>
                    <a:cubicBezTo>
                      <a:pt x="16" y="72"/>
                      <a:pt x="19" y="71"/>
                      <a:pt x="19" y="71"/>
                    </a:cubicBezTo>
                    <a:cubicBezTo>
                      <a:pt x="20" y="72"/>
                      <a:pt x="15" y="72"/>
                      <a:pt x="15" y="72"/>
                    </a:cubicBezTo>
                    <a:cubicBezTo>
                      <a:pt x="14" y="72"/>
                      <a:pt x="14" y="73"/>
                      <a:pt x="13" y="73"/>
                    </a:cubicBezTo>
                    <a:cubicBezTo>
                      <a:pt x="12" y="73"/>
                      <a:pt x="11" y="73"/>
                      <a:pt x="10" y="73"/>
                    </a:cubicBezTo>
                    <a:cubicBezTo>
                      <a:pt x="8" y="72"/>
                      <a:pt x="7" y="73"/>
                      <a:pt x="9" y="74"/>
                    </a:cubicBezTo>
                    <a:cubicBezTo>
                      <a:pt x="10" y="74"/>
                      <a:pt x="12" y="74"/>
                      <a:pt x="12" y="76"/>
                    </a:cubicBezTo>
                    <a:cubicBezTo>
                      <a:pt x="12" y="76"/>
                      <a:pt x="11" y="78"/>
                      <a:pt x="11" y="77"/>
                    </a:cubicBezTo>
                    <a:cubicBezTo>
                      <a:pt x="10" y="77"/>
                      <a:pt x="12" y="75"/>
                      <a:pt x="10" y="74"/>
                    </a:cubicBezTo>
                    <a:cubicBezTo>
                      <a:pt x="7" y="74"/>
                      <a:pt x="9" y="75"/>
                      <a:pt x="8" y="76"/>
                    </a:cubicBezTo>
                    <a:cubicBezTo>
                      <a:pt x="8" y="76"/>
                      <a:pt x="8" y="73"/>
                      <a:pt x="7" y="73"/>
                    </a:cubicBezTo>
                    <a:cubicBezTo>
                      <a:pt x="7" y="72"/>
                      <a:pt x="5" y="78"/>
                      <a:pt x="6" y="77"/>
                    </a:cubicBezTo>
                    <a:cubicBezTo>
                      <a:pt x="5" y="77"/>
                      <a:pt x="5" y="75"/>
                      <a:pt x="5" y="75"/>
                    </a:cubicBezTo>
                    <a:cubicBezTo>
                      <a:pt x="4" y="75"/>
                      <a:pt x="4" y="77"/>
                      <a:pt x="4" y="77"/>
                    </a:cubicBezTo>
                    <a:cubicBezTo>
                      <a:pt x="3" y="78"/>
                      <a:pt x="1" y="77"/>
                      <a:pt x="1" y="78"/>
                    </a:cubicBezTo>
                    <a:cubicBezTo>
                      <a:pt x="1" y="79"/>
                      <a:pt x="0" y="80"/>
                      <a:pt x="1" y="80"/>
                    </a:cubicBezTo>
                    <a:cubicBezTo>
                      <a:pt x="2" y="80"/>
                      <a:pt x="3" y="80"/>
                      <a:pt x="4" y="81"/>
                    </a:cubicBezTo>
                    <a:cubicBezTo>
                      <a:pt x="4" y="81"/>
                      <a:pt x="0" y="82"/>
                      <a:pt x="1" y="83"/>
                    </a:cubicBezTo>
                    <a:cubicBezTo>
                      <a:pt x="1" y="84"/>
                      <a:pt x="3" y="84"/>
                      <a:pt x="3" y="84"/>
                    </a:cubicBezTo>
                    <a:cubicBezTo>
                      <a:pt x="3" y="84"/>
                      <a:pt x="6" y="83"/>
                      <a:pt x="6" y="84"/>
                    </a:cubicBezTo>
                    <a:cubicBezTo>
                      <a:pt x="5" y="85"/>
                      <a:pt x="2" y="84"/>
                      <a:pt x="1" y="86"/>
                    </a:cubicBezTo>
                    <a:cubicBezTo>
                      <a:pt x="0" y="87"/>
                      <a:pt x="6" y="87"/>
                      <a:pt x="4" y="89"/>
                    </a:cubicBezTo>
                    <a:cubicBezTo>
                      <a:pt x="4" y="89"/>
                      <a:pt x="3" y="87"/>
                      <a:pt x="2" y="88"/>
                    </a:cubicBezTo>
                    <a:cubicBezTo>
                      <a:pt x="1" y="89"/>
                      <a:pt x="1" y="90"/>
                      <a:pt x="2" y="91"/>
                    </a:cubicBezTo>
                    <a:cubicBezTo>
                      <a:pt x="3" y="91"/>
                      <a:pt x="5" y="92"/>
                      <a:pt x="6" y="92"/>
                    </a:cubicBezTo>
                    <a:cubicBezTo>
                      <a:pt x="7" y="91"/>
                      <a:pt x="8" y="89"/>
                      <a:pt x="9" y="90"/>
                    </a:cubicBezTo>
                    <a:cubicBezTo>
                      <a:pt x="8" y="90"/>
                      <a:pt x="7" y="91"/>
                      <a:pt x="7" y="91"/>
                    </a:cubicBezTo>
                    <a:cubicBezTo>
                      <a:pt x="7" y="92"/>
                      <a:pt x="6" y="92"/>
                      <a:pt x="5" y="92"/>
                    </a:cubicBezTo>
                    <a:cubicBezTo>
                      <a:pt x="5" y="92"/>
                      <a:pt x="7" y="93"/>
                      <a:pt x="7" y="94"/>
                    </a:cubicBezTo>
                    <a:cubicBezTo>
                      <a:pt x="7" y="94"/>
                      <a:pt x="4" y="92"/>
                      <a:pt x="5" y="94"/>
                    </a:cubicBezTo>
                    <a:cubicBezTo>
                      <a:pt x="5" y="95"/>
                      <a:pt x="8" y="96"/>
                      <a:pt x="8" y="96"/>
                    </a:cubicBezTo>
                    <a:cubicBezTo>
                      <a:pt x="8" y="97"/>
                      <a:pt x="5" y="95"/>
                      <a:pt x="4" y="96"/>
                    </a:cubicBezTo>
                    <a:cubicBezTo>
                      <a:pt x="2" y="96"/>
                      <a:pt x="4" y="93"/>
                      <a:pt x="3" y="93"/>
                    </a:cubicBezTo>
                    <a:cubicBezTo>
                      <a:pt x="3" y="93"/>
                      <a:pt x="1" y="95"/>
                      <a:pt x="2" y="96"/>
                    </a:cubicBezTo>
                    <a:cubicBezTo>
                      <a:pt x="3" y="96"/>
                      <a:pt x="2" y="98"/>
                      <a:pt x="2" y="98"/>
                    </a:cubicBezTo>
                    <a:cubicBezTo>
                      <a:pt x="3" y="99"/>
                      <a:pt x="4" y="97"/>
                      <a:pt x="5" y="96"/>
                    </a:cubicBezTo>
                    <a:cubicBezTo>
                      <a:pt x="5" y="96"/>
                      <a:pt x="5" y="97"/>
                      <a:pt x="5" y="97"/>
                    </a:cubicBezTo>
                    <a:cubicBezTo>
                      <a:pt x="6" y="97"/>
                      <a:pt x="6" y="96"/>
                      <a:pt x="7" y="96"/>
                    </a:cubicBezTo>
                    <a:cubicBezTo>
                      <a:pt x="7" y="96"/>
                      <a:pt x="7" y="98"/>
                      <a:pt x="6" y="98"/>
                    </a:cubicBezTo>
                    <a:cubicBezTo>
                      <a:pt x="4" y="99"/>
                      <a:pt x="8" y="101"/>
                      <a:pt x="8" y="100"/>
                    </a:cubicBezTo>
                    <a:cubicBezTo>
                      <a:pt x="8" y="102"/>
                      <a:pt x="1" y="100"/>
                      <a:pt x="5" y="103"/>
                    </a:cubicBezTo>
                    <a:cubicBezTo>
                      <a:pt x="7" y="104"/>
                      <a:pt x="8" y="105"/>
                      <a:pt x="10" y="105"/>
                    </a:cubicBezTo>
                    <a:cubicBezTo>
                      <a:pt x="10" y="105"/>
                      <a:pt x="13" y="107"/>
                      <a:pt x="14" y="107"/>
                    </a:cubicBezTo>
                    <a:cubicBezTo>
                      <a:pt x="17" y="107"/>
                      <a:pt x="21" y="104"/>
                      <a:pt x="23" y="102"/>
                    </a:cubicBezTo>
                    <a:cubicBezTo>
                      <a:pt x="24" y="100"/>
                      <a:pt x="25" y="100"/>
                      <a:pt x="27" y="99"/>
                    </a:cubicBezTo>
                    <a:cubicBezTo>
                      <a:pt x="28" y="98"/>
                      <a:pt x="28" y="95"/>
                      <a:pt x="29" y="95"/>
                    </a:cubicBezTo>
                    <a:cubicBezTo>
                      <a:pt x="29" y="95"/>
                      <a:pt x="29" y="98"/>
                      <a:pt x="30" y="98"/>
                    </a:cubicBezTo>
                    <a:cubicBezTo>
                      <a:pt x="32" y="99"/>
                      <a:pt x="31" y="99"/>
                      <a:pt x="31" y="100"/>
                    </a:cubicBezTo>
                    <a:cubicBezTo>
                      <a:pt x="32" y="100"/>
                      <a:pt x="33" y="100"/>
                      <a:pt x="34" y="101"/>
                    </a:cubicBezTo>
                    <a:cubicBezTo>
                      <a:pt x="34" y="102"/>
                      <a:pt x="33" y="100"/>
                      <a:pt x="34" y="10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8" name="Freeform 720">
                <a:extLst>
                  <a:ext uri="{FF2B5EF4-FFF2-40B4-BE49-F238E27FC236}">
                    <a16:creationId xmlns:a16="http://schemas.microsoft.com/office/drawing/2014/main" id="{1EE8C17C-2F76-4A43-887A-88EDB404AF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74396" y="2183122"/>
                <a:ext cx="3782837" cy="1318815"/>
              </a:xfrm>
              <a:custGeom>
                <a:avLst/>
                <a:gdLst>
                  <a:gd name="T0" fmla="*/ 785 w 810"/>
                  <a:gd name="T1" fmla="*/ 109 h 282"/>
                  <a:gd name="T2" fmla="*/ 725 w 810"/>
                  <a:gd name="T3" fmla="*/ 77 h 282"/>
                  <a:gd name="T4" fmla="*/ 665 w 810"/>
                  <a:gd name="T5" fmla="*/ 80 h 282"/>
                  <a:gd name="T6" fmla="*/ 607 w 810"/>
                  <a:gd name="T7" fmla="*/ 65 h 282"/>
                  <a:gd name="T8" fmla="*/ 578 w 810"/>
                  <a:gd name="T9" fmla="*/ 56 h 282"/>
                  <a:gd name="T10" fmla="*/ 555 w 810"/>
                  <a:gd name="T11" fmla="*/ 61 h 282"/>
                  <a:gd name="T12" fmla="*/ 521 w 810"/>
                  <a:gd name="T13" fmla="*/ 59 h 282"/>
                  <a:gd name="T14" fmla="*/ 495 w 810"/>
                  <a:gd name="T15" fmla="*/ 44 h 282"/>
                  <a:gd name="T16" fmla="*/ 469 w 810"/>
                  <a:gd name="T17" fmla="*/ 49 h 282"/>
                  <a:gd name="T18" fmla="*/ 423 w 810"/>
                  <a:gd name="T19" fmla="*/ 43 h 282"/>
                  <a:gd name="T20" fmla="*/ 383 w 810"/>
                  <a:gd name="T21" fmla="*/ 50 h 282"/>
                  <a:gd name="T22" fmla="*/ 423 w 810"/>
                  <a:gd name="T23" fmla="*/ 17 h 282"/>
                  <a:gd name="T24" fmla="*/ 378 w 810"/>
                  <a:gd name="T25" fmla="*/ 7 h 282"/>
                  <a:gd name="T26" fmla="*/ 355 w 810"/>
                  <a:gd name="T27" fmla="*/ 17 h 282"/>
                  <a:gd name="T28" fmla="*/ 320 w 810"/>
                  <a:gd name="T29" fmla="*/ 22 h 282"/>
                  <a:gd name="T30" fmla="*/ 297 w 810"/>
                  <a:gd name="T31" fmla="*/ 32 h 282"/>
                  <a:gd name="T32" fmla="*/ 269 w 810"/>
                  <a:gd name="T33" fmla="*/ 49 h 282"/>
                  <a:gd name="T34" fmla="*/ 247 w 810"/>
                  <a:gd name="T35" fmla="*/ 58 h 282"/>
                  <a:gd name="T36" fmla="*/ 242 w 810"/>
                  <a:gd name="T37" fmla="*/ 50 h 282"/>
                  <a:gd name="T38" fmla="*/ 259 w 810"/>
                  <a:gd name="T39" fmla="*/ 97 h 282"/>
                  <a:gd name="T40" fmla="*/ 227 w 810"/>
                  <a:gd name="T41" fmla="*/ 107 h 282"/>
                  <a:gd name="T42" fmla="*/ 231 w 810"/>
                  <a:gd name="T43" fmla="*/ 88 h 282"/>
                  <a:gd name="T44" fmla="*/ 206 w 810"/>
                  <a:gd name="T45" fmla="*/ 60 h 282"/>
                  <a:gd name="T46" fmla="*/ 191 w 810"/>
                  <a:gd name="T47" fmla="*/ 83 h 282"/>
                  <a:gd name="T48" fmla="*/ 131 w 810"/>
                  <a:gd name="T49" fmla="*/ 90 h 282"/>
                  <a:gd name="T50" fmla="*/ 92 w 810"/>
                  <a:gd name="T51" fmla="*/ 100 h 282"/>
                  <a:gd name="T52" fmla="*/ 84 w 810"/>
                  <a:gd name="T53" fmla="*/ 107 h 282"/>
                  <a:gd name="T54" fmla="*/ 53 w 810"/>
                  <a:gd name="T55" fmla="*/ 120 h 282"/>
                  <a:gd name="T56" fmla="*/ 31 w 810"/>
                  <a:gd name="T57" fmla="*/ 102 h 282"/>
                  <a:gd name="T58" fmla="*/ 29 w 810"/>
                  <a:gd name="T59" fmla="*/ 84 h 282"/>
                  <a:gd name="T60" fmla="*/ 5 w 810"/>
                  <a:gd name="T61" fmla="*/ 88 h 282"/>
                  <a:gd name="T62" fmla="*/ 7 w 810"/>
                  <a:gd name="T63" fmla="*/ 152 h 282"/>
                  <a:gd name="T64" fmla="*/ 16 w 810"/>
                  <a:gd name="T65" fmla="*/ 187 h 282"/>
                  <a:gd name="T66" fmla="*/ 40 w 810"/>
                  <a:gd name="T67" fmla="*/ 223 h 282"/>
                  <a:gd name="T68" fmla="*/ 53 w 810"/>
                  <a:gd name="T69" fmla="*/ 244 h 282"/>
                  <a:gd name="T70" fmla="*/ 82 w 810"/>
                  <a:gd name="T71" fmla="*/ 272 h 282"/>
                  <a:gd name="T72" fmla="*/ 109 w 810"/>
                  <a:gd name="T73" fmla="*/ 250 h 282"/>
                  <a:gd name="T74" fmla="*/ 108 w 810"/>
                  <a:gd name="T75" fmla="*/ 222 h 282"/>
                  <a:gd name="T76" fmla="*/ 160 w 810"/>
                  <a:gd name="T77" fmla="*/ 223 h 282"/>
                  <a:gd name="T78" fmla="*/ 196 w 810"/>
                  <a:gd name="T79" fmla="*/ 196 h 282"/>
                  <a:gd name="T80" fmla="*/ 252 w 810"/>
                  <a:gd name="T81" fmla="*/ 204 h 282"/>
                  <a:gd name="T82" fmla="*/ 331 w 810"/>
                  <a:gd name="T83" fmla="*/ 226 h 282"/>
                  <a:gd name="T84" fmla="*/ 415 w 810"/>
                  <a:gd name="T85" fmla="*/ 231 h 282"/>
                  <a:gd name="T86" fmla="*/ 483 w 810"/>
                  <a:gd name="T87" fmla="*/ 207 h 282"/>
                  <a:gd name="T88" fmla="*/ 521 w 810"/>
                  <a:gd name="T89" fmla="*/ 258 h 282"/>
                  <a:gd name="T90" fmla="*/ 558 w 810"/>
                  <a:gd name="T91" fmla="*/ 226 h 282"/>
                  <a:gd name="T92" fmla="*/ 543 w 810"/>
                  <a:gd name="T93" fmla="*/ 199 h 282"/>
                  <a:gd name="T94" fmla="*/ 591 w 810"/>
                  <a:gd name="T95" fmla="*/ 162 h 282"/>
                  <a:gd name="T96" fmla="*/ 627 w 810"/>
                  <a:gd name="T97" fmla="*/ 165 h 282"/>
                  <a:gd name="T98" fmla="*/ 657 w 810"/>
                  <a:gd name="T99" fmla="*/ 153 h 282"/>
                  <a:gd name="T100" fmla="*/ 669 w 810"/>
                  <a:gd name="T101" fmla="*/ 154 h 282"/>
                  <a:gd name="T102" fmla="*/ 649 w 810"/>
                  <a:gd name="T103" fmla="*/ 210 h 282"/>
                  <a:gd name="T104" fmla="*/ 667 w 810"/>
                  <a:gd name="T105" fmla="*/ 171 h 282"/>
                  <a:gd name="T106" fmla="*/ 710 w 810"/>
                  <a:gd name="T107" fmla="*/ 156 h 282"/>
                  <a:gd name="T108" fmla="*/ 738 w 810"/>
                  <a:gd name="T109" fmla="*/ 121 h 282"/>
                  <a:gd name="T110" fmla="*/ 765 w 810"/>
                  <a:gd name="T111" fmla="*/ 116 h 282"/>
                  <a:gd name="T112" fmla="*/ 802 w 810"/>
                  <a:gd name="T113" fmla="*/ 115 h 282"/>
                  <a:gd name="T114" fmla="*/ 388 w 810"/>
                  <a:gd name="T115" fmla="*/ 212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10" h="282">
                    <a:moveTo>
                      <a:pt x="808" y="111"/>
                    </a:moveTo>
                    <a:cubicBezTo>
                      <a:pt x="806" y="109"/>
                      <a:pt x="803" y="108"/>
                      <a:pt x="801" y="106"/>
                    </a:cubicBezTo>
                    <a:cubicBezTo>
                      <a:pt x="800" y="105"/>
                      <a:pt x="799" y="104"/>
                      <a:pt x="797" y="103"/>
                    </a:cubicBezTo>
                    <a:cubicBezTo>
                      <a:pt x="796" y="103"/>
                      <a:pt x="794" y="103"/>
                      <a:pt x="793" y="102"/>
                    </a:cubicBezTo>
                    <a:cubicBezTo>
                      <a:pt x="793" y="103"/>
                      <a:pt x="794" y="103"/>
                      <a:pt x="794" y="103"/>
                    </a:cubicBezTo>
                    <a:cubicBezTo>
                      <a:pt x="795" y="103"/>
                      <a:pt x="792" y="104"/>
                      <a:pt x="791" y="103"/>
                    </a:cubicBezTo>
                    <a:cubicBezTo>
                      <a:pt x="791" y="103"/>
                      <a:pt x="792" y="103"/>
                      <a:pt x="792" y="102"/>
                    </a:cubicBezTo>
                    <a:cubicBezTo>
                      <a:pt x="791" y="101"/>
                      <a:pt x="786" y="103"/>
                      <a:pt x="785" y="102"/>
                    </a:cubicBezTo>
                    <a:cubicBezTo>
                      <a:pt x="787" y="103"/>
                      <a:pt x="787" y="103"/>
                      <a:pt x="787" y="106"/>
                    </a:cubicBezTo>
                    <a:cubicBezTo>
                      <a:pt x="786" y="107"/>
                      <a:pt x="788" y="109"/>
                      <a:pt x="788" y="109"/>
                    </a:cubicBezTo>
                    <a:cubicBezTo>
                      <a:pt x="787" y="109"/>
                      <a:pt x="787" y="108"/>
                      <a:pt x="787" y="108"/>
                    </a:cubicBezTo>
                    <a:cubicBezTo>
                      <a:pt x="786" y="107"/>
                      <a:pt x="786" y="109"/>
                      <a:pt x="785" y="109"/>
                    </a:cubicBezTo>
                    <a:cubicBezTo>
                      <a:pt x="785" y="109"/>
                      <a:pt x="783" y="105"/>
                      <a:pt x="783" y="105"/>
                    </a:cubicBezTo>
                    <a:cubicBezTo>
                      <a:pt x="783" y="104"/>
                      <a:pt x="783" y="104"/>
                      <a:pt x="783" y="104"/>
                    </a:cubicBezTo>
                    <a:cubicBezTo>
                      <a:pt x="783" y="103"/>
                      <a:pt x="782" y="102"/>
                      <a:pt x="783" y="101"/>
                    </a:cubicBezTo>
                    <a:cubicBezTo>
                      <a:pt x="784" y="99"/>
                      <a:pt x="782" y="100"/>
                      <a:pt x="781" y="99"/>
                    </a:cubicBezTo>
                    <a:cubicBezTo>
                      <a:pt x="781" y="98"/>
                      <a:pt x="779" y="97"/>
                      <a:pt x="778" y="97"/>
                    </a:cubicBezTo>
                    <a:cubicBezTo>
                      <a:pt x="771" y="93"/>
                      <a:pt x="765" y="89"/>
                      <a:pt x="758" y="87"/>
                    </a:cubicBezTo>
                    <a:cubicBezTo>
                      <a:pt x="756" y="86"/>
                      <a:pt x="755" y="85"/>
                      <a:pt x="754" y="84"/>
                    </a:cubicBezTo>
                    <a:cubicBezTo>
                      <a:pt x="753" y="83"/>
                      <a:pt x="751" y="82"/>
                      <a:pt x="749" y="82"/>
                    </a:cubicBezTo>
                    <a:cubicBezTo>
                      <a:pt x="746" y="81"/>
                      <a:pt x="743" y="80"/>
                      <a:pt x="739" y="78"/>
                    </a:cubicBezTo>
                    <a:cubicBezTo>
                      <a:pt x="736" y="78"/>
                      <a:pt x="732" y="78"/>
                      <a:pt x="730" y="78"/>
                    </a:cubicBezTo>
                    <a:cubicBezTo>
                      <a:pt x="728" y="78"/>
                      <a:pt x="727" y="78"/>
                      <a:pt x="726" y="78"/>
                    </a:cubicBezTo>
                    <a:cubicBezTo>
                      <a:pt x="726" y="78"/>
                      <a:pt x="725" y="77"/>
                      <a:pt x="725" y="77"/>
                    </a:cubicBezTo>
                    <a:cubicBezTo>
                      <a:pt x="724" y="78"/>
                      <a:pt x="724" y="79"/>
                      <a:pt x="723" y="78"/>
                    </a:cubicBezTo>
                    <a:cubicBezTo>
                      <a:pt x="720" y="78"/>
                      <a:pt x="717" y="77"/>
                      <a:pt x="714" y="76"/>
                    </a:cubicBezTo>
                    <a:cubicBezTo>
                      <a:pt x="713" y="76"/>
                      <a:pt x="710" y="75"/>
                      <a:pt x="710" y="77"/>
                    </a:cubicBezTo>
                    <a:cubicBezTo>
                      <a:pt x="709" y="79"/>
                      <a:pt x="708" y="79"/>
                      <a:pt x="710" y="80"/>
                    </a:cubicBezTo>
                    <a:cubicBezTo>
                      <a:pt x="712" y="82"/>
                      <a:pt x="714" y="86"/>
                      <a:pt x="709" y="87"/>
                    </a:cubicBezTo>
                    <a:cubicBezTo>
                      <a:pt x="708" y="88"/>
                      <a:pt x="705" y="88"/>
                      <a:pt x="704" y="86"/>
                    </a:cubicBezTo>
                    <a:cubicBezTo>
                      <a:pt x="703" y="85"/>
                      <a:pt x="703" y="84"/>
                      <a:pt x="700" y="84"/>
                    </a:cubicBezTo>
                    <a:cubicBezTo>
                      <a:pt x="697" y="83"/>
                      <a:pt x="699" y="82"/>
                      <a:pt x="698" y="81"/>
                    </a:cubicBezTo>
                    <a:cubicBezTo>
                      <a:pt x="698" y="80"/>
                      <a:pt x="695" y="79"/>
                      <a:pt x="694" y="80"/>
                    </a:cubicBezTo>
                    <a:cubicBezTo>
                      <a:pt x="691" y="83"/>
                      <a:pt x="686" y="80"/>
                      <a:pt x="682" y="80"/>
                    </a:cubicBezTo>
                    <a:cubicBezTo>
                      <a:pt x="678" y="80"/>
                      <a:pt x="674" y="79"/>
                      <a:pt x="670" y="79"/>
                    </a:cubicBezTo>
                    <a:cubicBezTo>
                      <a:pt x="668" y="79"/>
                      <a:pt x="667" y="79"/>
                      <a:pt x="665" y="80"/>
                    </a:cubicBezTo>
                    <a:cubicBezTo>
                      <a:pt x="663" y="81"/>
                      <a:pt x="664" y="84"/>
                      <a:pt x="664" y="86"/>
                    </a:cubicBezTo>
                    <a:cubicBezTo>
                      <a:pt x="664" y="86"/>
                      <a:pt x="664" y="86"/>
                      <a:pt x="664" y="86"/>
                    </a:cubicBezTo>
                    <a:cubicBezTo>
                      <a:pt x="663" y="86"/>
                      <a:pt x="662" y="81"/>
                      <a:pt x="661" y="80"/>
                    </a:cubicBezTo>
                    <a:cubicBezTo>
                      <a:pt x="660" y="80"/>
                      <a:pt x="656" y="80"/>
                      <a:pt x="655" y="78"/>
                    </a:cubicBezTo>
                    <a:cubicBezTo>
                      <a:pt x="655" y="75"/>
                      <a:pt x="659" y="74"/>
                      <a:pt x="655" y="71"/>
                    </a:cubicBezTo>
                    <a:cubicBezTo>
                      <a:pt x="653" y="70"/>
                      <a:pt x="651" y="69"/>
                      <a:pt x="648" y="68"/>
                    </a:cubicBezTo>
                    <a:cubicBezTo>
                      <a:pt x="642" y="66"/>
                      <a:pt x="635" y="68"/>
                      <a:pt x="629" y="69"/>
                    </a:cubicBezTo>
                    <a:cubicBezTo>
                      <a:pt x="626" y="69"/>
                      <a:pt x="623" y="69"/>
                      <a:pt x="619" y="69"/>
                    </a:cubicBezTo>
                    <a:cubicBezTo>
                      <a:pt x="618" y="69"/>
                      <a:pt x="618" y="69"/>
                      <a:pt x="617" y="69"/>
                    </a:cubicBezTo>
                    <a:cubicBezTo>
                      <a:pt x="615" y="68"/>
                      <a:pt x="617" y="68"/>
                      <a:pt x="618" y="67"/>
                    </a:cubicBezTo>
                    <a:cubicBezTo>
                      <a:pt x="618" y="66"/>
                      <a:pt x="613" y="65"/>
                      <a:pt x="613" y="65"/>
                    </a:cubicBezTo>
                    <a:cubicBezTo>
                      <a:pt x="612" y="64"/>
                      <a:pt x="608" y="65"/>
                      <a:pt x="607" y="65"/>
                    </a:cubicBezTo>
                    <a:cubicBezTo>
                      <a:pt x="607" y="65"/>
                      <a:pt x="611" y="64"/>
                      <a:pt x="610" y="63"/>
                    </a:cubicBezTo>
                    <a:cubicBezTo>
                      <a:pt x="609" y="63"/>
                      <a:pt x="608" y="64"/>
                      <a:pt x="607" y="64"/>
                    </a:cubicBezTo>
                    <a:cubicBezTo>
                      <a:pt x="606" y="63"/>
                      <a:pt x="604" y="62"/>
                      <a:pt x="604" y="62"/>
                    </a:cubicBezTo>
                    <a:cubicBezTo>
                      <a:pt x="603" y="62"/>
                      <a:pt x="600" y="60"/>
                      <a:pt x="602" y="60"/>
                    </a:cubicBezTo>
                    <a:cubicBezTo>
                      <a:pt x="603" y="60"/>
                      <a:pt x="605" y="60"/>
                      <a:pt x="606" y="60"/>
                    </a:cubicBezTo>
                    <a:cubicBezTo>
                      <a:pt x="609" y="60"/>
                      <a:pt x="605" y="57"/>
                      <a:pt x="604" y="57"/>
                    </a:cubicBezTo>
                    <a:cubicBezTo>
                      <a:pt x="602" y="55"/>
                      <a:pt x="597" y="56"/>
                      <a:pt x="594" y="55"/>
                    </a:cubicBezTo>
                    <a:cubicBezTo>
                      <a:pt x="592" y="55"/>
                      <a:pt x="591" y="57"/>
                      <a:pt x="589" y="59"/>
                    </a:cubicBezTo>
                    <a:cubicBezTo>
                      <a:pt x="589" y="59"/>
                      <a:pt x="582" y="63"/>
                      <a:pt x="582" y="60"/>
                    </a:cubicBezTo>
                    <a:cubicBezTo>
                      <a:pt x="583" y="58"/>
                      <a:pt x="584" y="60"/>
                      <a:pt x="586" y="59"/>
                    </a:cubicBezTo>
                    <a:cubicBezTo>
                      <a:pt x="586" y="59"/>
                      <a:pt x="585" y="56"/>
                      <a:pt x="584" y="56"/>
                    </a:cubicBezTo>
                    <a:cubicBezTo>
                      <a:pt x="584" y="56"/>
                      <a:pt x="578" y="56"/>
                      <a:pt x="578" y="56"/>
                    </a:cubicBezTo>
                    <a:cubicBezTo>
                      <a:pt x="579" y="55"/>
                      <a:pt x="581" y="54"/>
                      <a:pt x="583" y="54"/>
                    </a:cubicBezTo>
                    <a:cubicBezTo>
                      <a:pt x="584" y="55"/>
                      <a:pt x="591" y="55"/>
                      <a:pt x="591" y="55"/>
                    </a:cubicBezTo>
                    <a:cubicBezTo>
                      <a:pt x="591" y="54"/>
                      <a:pt x="585" y="54"/>
                      <a:pt x="584" y="53"/>
                    </a:cubicBezTo>
                    <a:cubicBezTo>
                      <a:pt x="582" y="53"/>
                      <a:pt x="580" y="53"/>
                      <a:pt x="578" y="53"/>
                    </a:cubicBezTo>
                    <a:cubicBezTo>
                      <a:pt x="574" y="52"/>
                      <a:pt x="570" y="52"/>
                      <a:pt x="566" y="51"/>
                    </a:cubicBezTo>
                    <a:cubicBezTo>
                      <a:pt x="565" y="51"/>
                      <a:pt x="561" y="50"/>
                      <a:pt x="561" y="50"/>
                    </a:cubicBezTo>
                    <a:cubicBezTo>
                      <a:pt x="561" y="51"/>
                      <a:pt x="562" y="52"/>
                      <a:pt x="561" y="52"/>
                    </a:cubicBezTo>
                    <a:cubicBezTo>
                      <a:pt x="560" y="53"/>
                      <a:pt x="559" y="53"/>
                      <a:pt x="558" y="53"/>
                    </a:cubicBezTo>
                    <a:cubicBezTo>
                      <a:pt x="557" y="53"/>
                      <a:pt x="552" y="54"/>
                      <a:pt x="553" y="56"/>
                    </a:cubicBezTo>
                    <a:cubicBezTo>
                      <a:pt x="554" y="58"/>
                      <a:pt x="556" y="55"/>
                      <a:pt x="557" y="56"/>
                    </a:cubicBezTo>
                    <a:cubicBezTo>
                      <a:pt x="557" y="56"/>
                      <a:pt x="554" y="57"/>
                      <a:pt x="555" y="59"/>
                    </a:cubicBezTo>
                    <a:cubicBezTo>
                      <a:pt x="556" y="59"/>
                      <a:pt x="555" y="60"/>
                      <a:pt x="555" y="61"/>
                    </a:cubicBezTo>
                    <a:cubicBezTo>
                      <a:pt x="556" y="61"/>
                      <a:pt x="557" y="62"/>
                      <a:pt x="557" y="63"/>
                    </a:cubicBezTo>
                    <a:cubicBezTo>
                      <a:pt x="557" y="63"/>
                      <a:pt x="553" y="63"/>
                      <a:pt x="552" y="63"/>
                    </a:cubicBezTo>
                    <a:cubicBezTo>
                      <a:pt x="550" y="63"/>
                      <a:pt x="552" y="62"/>
                      <a:pt x="552" y="62"/>
                    </a:cubicBezTo>
                    <a:cubicBezTo>
                      <a:pt x="551" y="61"/>
                      <a:pt x="548" y="62"/>
                      <a:pt x="548" y="62"/>
                    </a:cubicBezTo>
                    <a:cubicBezTo>
                      <a:pt x="546" y="63"/>
                      <a:pt x="544" y="62"/>
                      <a:pt x="543" y="62"/>
                    </a:cubicBezTo>
                    <a:cubicBezTo>
                      <a:pt x="542" y="62"/>
                      <a:pt x="546" y="63"/>
                      <a:pt x="546" y="63"/>
                    </a:cubicBezTo>
                    <a:cubicBezTo>
                      <a:pt x="549" y="64"/>
                      <a:pt x="546" y="66"/>
                      <a:pt x="545" y="65"/>
                    </a:cubicBezTo>
                    <a:cubicBezTo>
                      <a:pt x="544" y="65"/>
                      <a:pt x="544" y="64"/>
                      <a:pt x="544" y="63"/>
                    </a:cubicBezTo>
                    <a:cubicBezTo>
                      <a:pt x="543" y="63"/>
                      <a:pt x="542" y="63"/>
                      <a:pt x="541" y="63"/>
                    </a:cubicBezTo>
                    <a:cubicBezTo>
                      <a:pt x="539" y="62"/>
                      <a:pt x="537" y="61"/>
                      <a:pt x="534" y="62"/>
                    </a:cubicBezTo>
                    <a:cubicBezTo>
                      <a:pt x="531" y="62"/>
                      <a:pt x="529" y="65"/>
                      <a:pt x="526" y="63"/>
                    </a:cubicBezTo>
                    <a:cubicBezTo>
                      <a:pt x="524" y="62"/>
                      <a:pt x="522" y="61"/>
                      <a:pt x="521" y="59"/>
                    </a:cubicBezTo>
                    <a:cubicBezTo>
                      <a:pt x="520" y="58"/>
                      <a:pt x="518" y="62"/>
                      <a:pt x="517" y="62"/>
                    </a:cubicBezTo>
                    <a:cubicBezTo>
                      <a:pt x="516" y="64"/>
                      <a:pt x="515" y="70"/>
                      <a:pt x="512" y="69"/>
                    </a:cubicBezTo>
                    <a:cubicBezTo>
                      <a:pt x="510" y="68"/>
                      <a:pt x="508" y="68"/>
                      <a:pt x="506" y="66"/>
                    </a:cubicBezTo>
                    <a:cubicBezTo>
                      <a:pt x="505" y="65"/>
                      <a:pt x="503" y="63"/>
                      <a:pt x="502" y="62"/>
                    </a:cubicBezTo>
                    <a:cubicBezTo>
                      <a:pt x="501" y="60"/>
                      <a:pt x="499" y="59"/>
                      <a:pt x="498" y="58"/>
                    </a:cubicBezTo>
                    <a:cubicBezTo>
                      <a:pt x="496" y="56"/>
                      <a:pt x="500" y="57"/>
                      <a:pt x="501" y="57"/>
                    </a:cubicBezTo>
                    <a:cubicBezTo>
                      <a:pt x="502" y="57"/>
                      <a:pt x="504" y="56"/>
                      <a:pt x="504" y="55"/>
                    </a:cubicBezTo>
                    <a:cubicBezTo>
                      <a:pt x="504" y="55"/>
                      <a:pt x="499" y="52"/>
                      <a:pt x="499" y="52"/>
                    </a:cubicBezTo>
                    <a:cubicBezTo>
                      <a:pt x="499" y="52"/>
                      <a:pt x="502" y="52"/>
                      <a:pt x="502" y="51"/>
                    </a:cubicBezTo>
                    <a:cubicBezTo>
                      <a:pt x="501" y="50"/>
                      <a:pt x="499" y="50"/>
                      <a:pt x="499" y="50"/>
                    </a:cubicBezTo>
                    <a:cubicBezTo>
                      <a:pt x="499" y="48"/>
                      <a:pt x="504" y="47"/>
                      <a:pt x="499" y="46"/>
                    </a:cubicBezTo>
                    <a:cubicBezTo>
                      <a:pt x="498" y="46"/>
                      <a:pt x="497" y="44"/>
                      <a:pt x="495" y="44"/>
                    </a:cubicBezTo>
                    <a:cubicBezTo>
                      <a:pt x="494" y="44"/>
                      <a:pt x="492" y="43"/>
                      <a:pt x="491" y="44"/>
                    </a:cubicBezTo>
                    <a:cubicBezTo>
                      <a:pt x="490" y="44"/>
                      <a:pt x="490" y="45"/>
                      <a:pt x="489" y="45"/>
                    </a:cubicBezTo>
                    <a:cubicBezTo>
                      <a:pt x="488" y="44"/>
                      <a:pt x="488" y="44"/>
                      <a:pt x="487" y="44"/>
                    </a:cubicBezTo>
                    <a:cubicBezTo>
                      <a:pt x="486" y="44"/>
                      <a:pt x="484" y="44"/>
                      <a:pt x="483" y="43"/>
                    </a:cubicBezTo>
                    <a:cubicBezTo>
                      <a:pt x="482" y="43"/>
                      <a:pt x="481" y="43"/>
                      <a:pt x="480" y="41"/>
                    </a:cubicBezTo>
                    <a:cubicBezTo>
                      <a:pt x="479" y="41"/>
                      <a:pt x="480" y="40"/>
                      <a:pt x="478" y="41"/>
                    </a:cubicBezTo>
                    <a:cubicBezTo>
                      <a:pt x="478" y="41"/>
                      <a:pt x="477" y="42"/>
                      <a:pt x="476" y="42"/>
                    </a:cubicBezTo>
                    <a:cubicBezTo>
                      <a:pt x="475" y="42"/>
                      <a:pt x="475" y="41"/>
                      <a:pt x="474" y="42"/>
                    </a:cubicBezTo>
                    <a:cubicBezTo>
                      <a:pt x="474" y="43"/>
                      <a:pt x="473" y="44"/>
                      <a:pt x="473" y="45"/>
                    </a:cubicBezTo>
                    <a:cubicBezTo>
                      <a:pt x="473" y="46"/>
                      <a:pt x="475" y="46"/>
                      <a:pt x="474" y="47"/>
                    </a:cubicBezTo>
                    <a:cubicBezTo>
                      <a:pt x="473" y="48"/>
                      <a:pt x="474" y="48"/>
                      <a:pt x="473" y="48"/>
                    </a:cubicBezTo>
                    <a:cubicBezTo>
                      <a:pt x="472" y="48"/>
                      <a:pt x="470" y="48"/>
                      <a:pt x="469" y="49"/>
                    </a:cubicBezTo>
                    <a:cubicBezTo>
                      <a:pt x="470" y="48"/>
                      <a:pt x="473" y="50"/>
                      <a:pt x="473" y="50"/>
                    </a:cubicBezTo>
                    <a:cubicBezTo>
                      <a:pt x="472" y="51"/>
                      <a:pt x="469" y="49"/>
                      <a:pt x="467" y="49"/>
                    </a:cubicBezTo>
                    <a:cubicBezTo>
                      <a:pt x="465" y="49"/>
                      <a:pt x="462" y="49"/>
                      <a:pt x="459" y="49"/>
                    </a:cubicBezTo>
                    <a:cubicBezTo>
                      <a:pt x="458" y="49"/>
                      <a:pt x="458" y="48"/>
                      <a:pt x="457" y="48"/>
                    </a:cubicBezTo>
                    <a:cubicBezTo>
                      <a:pt x="456" y="47"/>
                      <a:pt x="453" y="48"/>
                      <a:pt x="452" y="48"/>
                    </a:cubicBezTo>
                    <a:cubicBezTo>
                      <a:pt x="451" y="47"/>
                      <a:pt x="449" y="47"/>
                      <a:pt x="448" y="46"/>
                    </a:cubicBezTo>
                    <a:cubicBezTo>
                      <a:pt x="448" y="45"/>
                      <a:pt x="450" y="45"/>
                      <a:pt x="450" y="44"/>
                    </a:cubicBezTo>
                    <a:cubicBezTo>
                      <a:pt x="451" y="43"/>
                      <a:pt x="442" y="43"/>
                      <a:pt x="441" y="43"/>
                    </a:cubicBezTo>
                    <a:cubicBezTo>
                      <a:pt x="436" y="42"/>
                      <a:pt x="432" y="43"/>
                      <a:pt x="427" y="43"/>
                    </a:cubicBezTo>
                    <a:cubicBezTo>
                      <a:pt x="424" y="43"/>
                      <a:pt x="425" y="43"/>
                      <a:pt x="426" y="45"/>
                    </a:cubicBezTo>
                    <a:cubicBezTo>
                      <a:pt x="426" y="46"/>
                      <a:pt x="424" y="45"/>
                      <a:pt x="424" y="45"/>
                    </a:cubicBezTo>
                    <a:cubicBezTo>
                      <a:pt x="422" y="45"/>
                      <a:pt x="423" y="44"/>
                      <a:pt x="423" y="43"/>
                    </a:cubicBezTo>
                    <a:cubicBezTo>
                      <a:pt x="423" y="41"/>
                      <a:pt x="422" y="38"/>
                      <a:pt x="420" y="40"/>
                    </a:cubicBezTo>
                    <a:cubicBezTo>
                      <a:pt x="420" y="42"/>
                      <a:pt x="416" y="42"/>
                      <a:pt x="414" y="41"/>
                    </a:cubicBezTo>
                    <a:cubicBezTo>
                      <a:pt x="413" y="40"/>
                      <a:pt x="415" y="38"/>
                      <a:pt x="411" y="39"/>
                    </a:cubicBezTo>
                    <a:cubicBezTo>
                      <a:pt x="410" y="39"/>
                      <a:pt x="409" y="39"/>
                      <a:pt x="408" y="39"/>
                    </a:cubicBezTo>
                    <a:cubicBezTo>
                      <a:pt x="407" y="38"/>
                      <a:pt x="406" y="39"/>
                      <a:pt x="404" y="40"/>
                    </a:cubicBezTo>
                    <a:cubicBezTo>
                      <a:pt x="402" y="42"/>
                      <a:pt x="407" y="41"/>
                      <a:pt x="407" y="42"/>
                    </a:cubicBezTo>
                    <a:cubicBezTo>
                      <a:pt x="407" y="44"/>
                      <a:pt x="403" y="43"/>
                      <a:pt x="402" y="44"/>
                    </a:cubicBezTo>
                    <a:cubicBezTo>
                      <a:pt x="401" y="45"/>
                      <a:pt x="399" y="45"/>
                      <a:pt x="397" y="46"/>
                    </a:cubicBezTo>
                    <a:cubicBezTo>
                      <a:pt x="395" y="47"/>
                      <a:pt x="393" y="47"/>
                      <a:pt x="390" y="47"/>
                    </a:cubicBezTo>
                    <a:cubicBezTo>
                      <a:pt x="388" y="47"/>
                      <a:pt x="388" y="47"/>
                      <a:pt x="387" y="49"/>
                    </a:cubicBezTo>
                    <a:cubicBezTo>
                      <a:pt x="386" y="50"/>
                      <a:pt x="382" y="51"/>
                      <a:pt x="381" y="51"/>
                    </a:cubicBezTo>
                    <a:cubicBezTo>
                      <a:pt x="381" y="50"/>
                      <a:pt x="383" y="50"/>
                      <a:pt x="383" y="50"/>
                    </a:cubicBezTo>
                    <a:cubicBezTo>
                      <a:pt x="385" y="49"/>
                      <a:pt x="385" y="47"/>
                      <a:pt x="386" y="46"/>
                    </a:cubicBezTo>
                    <a:cubicBezTo>
                      <a:pt x="387" y="44"/>
                      <a:pt x="388" y="46"/>
                      <a:pt x="389" y="45"/>
                    </a:cubicBezTo>
                    <a:cubicBezTo>
                      <a:pt x="390" y="45"/>
                      <a:pt x="390" y="44"/>
                      <a:pt x="391" y="44"/>
                    </a:cubicBezTo>
                    <a:cubicBezTo>
                      <a:pt x="394" y="42"/>
                      <a:pt x="398" y="41"/>
                      <a:pt x="401" y="39"/>
                    </a:cubicBezTo>
                    <a:cubicBezTo>
                      <a:pt x="403" y="38"/>
                      <a:pt x="405" y="37"/>
                      <a:pt x="407" y="36"/>
                    </a:cubicBezTo>
                    <a:cubicBezTo>
                      <a:pt x="411" y="33"/>
                      <a:pt x="416" y="31"/>
                      <a:pt x="420" y="29"/>
                    </a:cubicBezTo>
                    <a:cubicBezTo>
                      <a:pt x="423" y="28"/>
                      <a:pt x="426" y="26"/>
                      <a:pt x="423" y="23"/>
                    </a:cubicBezTo>
                    <a:cubicBezTo>
                      <a:pt x="422" y="22"/>
                      <a:pt x="422" y="24"/>
                      <a:pt x="421" y="23"/>
                    </a:cubicBezTo>
                    <a:cubicBezTo>
                      <a:pt x="420" y="22"/>
                      <a:pt x="419" y="22"/>
                      <a:pt x="418" y="21"/>
                    </a:cubicBezTo>
                    <a:cubicBezTo>
                      <a:pt x="418" y="20"/>
                      <a:pt x="423" y="22"/>
                      <a:pt x="423" y="22"/>
                    </a:cubicBezTo>
                    <a:cubicBezTo>
                      <a:pt x="424" y="22"/>
                      <a:pt x="427" y="22"/>
                      <a:pt x="425" y="20"/>
                    </a:cubicBezTo>
                    <a:cubicBezTo>
                      <a:pt x="424" y="19"/>
                      <a:pt x="424" y="18"/>
                      <a:pt x="423" y="17"/>
                    </a:cubicBezTo>
                    <a:cubicBezTo>
                      <a:pt x="422" y="15"/>
                      <a:pt x="421" y="19"/>
                      <a:pt x="420" y="19"/>
                    </a:cubicBezTo>
                    <a:cubicBezTo>
                      <a:pt x="420" y="18"/>
                      <a:pt x="420" y="17"/>
                      <a:pt x="420" y="17"/>
                    </a:cubicBezTo>
                    <a:cubicBezTo>
                      <a:pt x="420" y="16"/>
                      <a:pt x="420" y="16"/>
                      <a:pt x="419" y="15"/>
                    </a:cubicBezTo>
                    <a:cubicBezTo>
                      <a:pt x="419" y="14"/>
                      <a:pt x="417" y="13"/>
                      <a:pt x="416" y="13"/>
                    </a:cubicBezTo>
                    <a:cubicBezTo>
                      <a:pt x="414" y="12"/>
                      <a:pt x="413" y="12"/>
                      <a:pt x="411" y="11"/>
                    </a:cubicBezTo>
                    <a:cubicBezTo>
                      <a:pt x="409" y="11"/>
                      <a:pt x="409" y="11"/>
                      <a:pt x="406" y="12"/>
                    </a:cubicBezTo>
                    <a:cubicBezTo>
                      <a:pt x="404" y="12"/>
                      <a:pt x="397" y="9"/>
                      <a:pt x="396" y="12"/>
                    </a:cubicBezTo>
                    <a:cubicBezTo>
                      <a:pt x="395" y="13"/>
                      <a:pt x="389" y="14"/>
                      <a:pt x="388" y="13"/>
                    </a:cubicBezTo>
                    <a:cubicBezTo>
                      <a:pt x="388" y="13"/>
                      <a:pt x="394" y="9"/>
                      <a:pt x="392" y="8"/>
                    </a:cubicBezTo>
                    <a:cubicBezTo>
                      <a:pt x="392" y="8"/>
                      <a:pt x="385" y="9"/>
                      <a:pt x="384" y="8"/>
                    </a:cubicBezTo>
                    <a:cubicBezTo>
                      <a:pt x="384" y="7"/>
                      <a:pt x="386" y="7"/>
                      <a:pt x="386" y="7"/>
                    </a:cubicBezTo>
                    <a:cubicBezTo>
                      <a:pt x="386" y="6"/>
                      <a:pt x="378" y="7"/>
                      <a:pt x="378" y="7"/>
                    </a:cubicBezTo>
                    <a:cubicBezTo>
                      <a:pt x="379" y="5"/>
                      <a:pt x="383" y="6"/>
                      <a:pt x="384" y="5"/>
                    </a:cubicBezTo>
                    <a:cubicBezTo>
                      <a:pt x="385" y="4"/>
                      <a:pt x="387" y="5"/>
                      <a:pt x="386" y="4"/>
                    </a:cubicBezTo>
                    <a:cubicBezTo>
                      <a:pt x="386" y="3"/>
                      <a:pt x="386" y="2"/>
                      <a:pt x="385" y="2"/>
                    </a:cubicBezTo>
                    <a:cubicBezTo>
                      <a:pt x="382" y="2"/>
                      <a:pt x="381" y="1"/>
                      <a:pt x="378" y="1"/>
                    </a:cubicBezTo>
                    <a:cubicBezTo>
                      <a:pt x="376" y="0"/>
                      <a:pt x="374" y="1"/>
                      <a:pt x="372" y="2"/>
                    </a:cubicBezTo>
                    <a:cubicBezTo>
                      <a:pt x="368" y="3"/>
                      <a:pt x="364" y="6"/>
                      <a:pt x="362" y="8"/>
                    </a:cubicBezTo>
                    <a:cubicBezTo>
                      <a:pt x="361" y="9"/>
                      <a:pt x="361" y="9"/>
                      <a:pt x="362" y="10"/>
                    </a:cubicBezTo>
                    <a:cubicBezTo>
                      <a:pt x="363" y="10"/>
                      <a:pt x="362" y="11"/>
                      <a:pt x="362" y="12"/>
                    </a:cubicBezTo>
                    <a:cubicBezTo>
                      <a:pt x="362" y="14"/>
                      <a:pt x="366" y="13"/>
                      <a:pt x="366" y="14"/>
                    </a:cubicBezTo>
                    <a:cubicBezTo>
                      <a:pt x="366" y="13"/>
                      <a:pt x="361" y="14"/>
                      <a:pt x="360" y="14"/>
                    </a:cubicBezTo>
                    <a:cubicBezTo>
                      <a:pt x="359" y="14"/>
                      <a:pt x="353" y="13"/>
                      <a:pt x="352" y="14"/>
                    </a:cubicBezTo>
                    <a:cubicBezTo>
                      <a:pt x="352" y="13"/>
                      <a:pt x="355" y="17"/>
                      <a:pt x="355" y="17"/>
                    </a:cubicBezTo>
                    <a:cubicBezTo>
                      <a:pt x="356" y="18"/>
                      <a:pt x="351" y="16"/>
                      <a:pt x="350" y="16"/>
                    </a:cubicBezTo>
                    <a:cubicBezTo>
                      <a:pt x="349" y="16"/>
                      <a:pt x="347" y="17"/>
                      <a:pt x="345" y="18"/>
                    </a:cubicBezTo>
                    <a:cubicBezTo>
                      <a:pt x="345" y="18"/>
                      <a:pt x="345" y="18"/>
                      <a:pt x="344" y="18"/>
                    </a:cubicBezTo>
                    <a:cubicBezTo>
                      <a:pt x="342" y="18"/>
                      <a:pt x="344" y="18"/>
                      <a:pt x="343" y="17"/>
                    </a:cubicBezTo>
                    <a:cubicBezTo>
                      <a:pt x="343" y="18"/>
                      <a:pt x="338" y="20"/>
                      <a:pt x="338" y="20"/>
                    </a:cubicBezTo>
                    <a:cubicBezTo>
                      <a:pt x="338" y="19"/>
                      <a:pt x="340" y="18"/>
                      <a:pt x="340" y="18"/>
                    </a:cubicBezTo>
                    <a:cubicBezTo>
                      <a:pt x="340" y="17"/>
                      <a:pt x="335" y="18"/>
                      <a:pt x="334" y="17"/>
                    </a:cubicBezTo>
                    <a:cubicBezTo>
                      <a:pt x="334" y="17"/>
                      <a:pt x="336" y="16"/>
                      <a:pt x="336" y="16"/>
                    </a:cubicBezTo>
                    <a:cubicBezTo>
                      <a:pt x="335" y="17"/>
                      <a:pt x="330" y="18"/>
                      <a:pt x="328" y="18"/>
                    </a:cubicBezTo>
                    <a:cubicBezTo>
                      <a:pt x="323" y="19"/>
                      <a:pt x="329" y="19"/>
                      <a:pt x="330" y="20"/>
                    </a:cubicBezTo>
                    <a:cubicBezTo>
                      <a:pt x="329" y="19"/>
                      <a:pt x="324" y="21"/>
                      <a:pt x="323" y="21"/>
                    </a:cubicBezTo>
                    <a:cubicBezTo>
                      <a:pt x="322" y="21"/>
                      <a:pt x="321" y="21"/>
                      <a:pt x="320" y="22"/>
                    </a:cubicBezTo>
                    <a:cubicBezTo>
                      <a:pt x="319" y="23"/>
                      <a:pt x="317" y="22"/>
                      <a:pt x="315" y="22"/>
                    </a:cubicBezTo>
                    <a:cubicBezTo>
                      <a:pt x="314" y="22"/>
                      <a:pt x="313" y="24"/>
                      <a:pt x="311" y="24"/>
                    </a:cubicBezTo>
                    <a:cubicBezTo>
                      <a:pt x="309" y="25"/>
                      <a:pt x="308" y="24"/>
                      <a:pt x="307" y="25"/>
                    </a:cubicBezTo>
                    <a:cubicBezTo>
                      <a:pt x="306" y="26"/>
                      <a:pt x="305" y="27"/>
                      <a:pt x="304" y="27"/>
                    </a:cubicBezTo>
                    <a:cubicBezTo>
                      <a:pt x="302" y="27"/>
                      <a:pt x="300" y="27"/>
                      <a:pt x="299" y="27"/>
                    </a:cubicBezTo>
                    <a:cubicBezTo>
                      <a:pt x="299" y="27"/>
                      <a:pt x="302" y="29"/>
                      <a:pt x="302" y="29"/>
                    </a:cubicBezTo>
                    <a:cubicBezTo>
                      <a:pt x="301" y="30"/>
                      <a:pt x="295" y="30"/>
                      <a:pt x="295" y="30"/>
                    </a:cubicBezTo>
                    <a:cubicBezTo>
                      <a:pt x="295" y="30"/>
                      <a:pt x="299" y="30"/>
                      <a:pt x="299" y="30"/>
                    </a:cubicBezTo>
                    <a:cubicBezTo>
                      <a:pt x="299" y="30"/>
                      <a:pt x="297" y="30"/>
                      <a:pt x="296" y="30"/>
                    </a:cubicBezTo>
                    <a:cubicBezTo>
                      <a:pt x="297" y="30"/>
                      <a:pt x="299" y="31"/>
                      <a:pt x="299" y="31"/>
                    </a:cubicBezTo>
                    <a:cubicBezTo>
                      <a:pt x="298" y="31"/>
                      <a:pt x="298" y="31"/>
                      <a:pt x="297" y="31"/>
                    </a:cubicBezTo>
                    <a:cubicBezTo>
                      <a:pt x="298" y="31"/>
                      <a:pt x="297" y="32"/>
                      <a:pt x="297" y="32"/>
                    </a:cubicBezTo>
                    <a:cubicBezTo>
                      <a:pt x="297" y="33"/>
                      <a:pt x="294" y="32"/>
                      <a:pt x="294" y="32"/>
                    </a:cubicBezTo>
                    <a:cubicBezTo>
                      <a:pt x="294" y="33"/>
                      <a:pt x="296" y="33"/>
                      <a:pt x="296" y="34"/>
                    </a:cubicBezTo>
                    <a:cubicBezTo>
                      <a:pt x="297" y="34"/>
                      <a:pt x="295" y="34"/>
                      <a:pt x="295" y="34"/>
                    </a:cubicBezTo>
                    <a:cubicBezTo>
                      <a:pt x="295" y="36"/>
                      <a:pt x="299" y="34"/>
                      <a:pt x="298" y="36"/>
                    </a:cubicBezTo>
                    <a:cubicBezTo>
                      <a:pt x="296" y="38"/>
                      <a:pt x="301" y="39"/>
                      <a:pt x="298" y="40"/>
                    </a:cubicBezTo>
                    <a:cubicBezTo>
                      <a:pt x="296" y="40"/>
                      <a:pt x="294" y="40"/>
                      <a:pt x="292" y="40"/>
                    </a:cubicBezTo>
                    <a:cubicBezTo>
                      <a:pt x="291" y="41"/>
                      <a:pt x="291" y="42"/>
                      <a:pt x="289" y="41"/>
                    </a:cubicBezTo>
                    <a:cubicBezTo>
                      <a:pt x="288" y="41"/>
                      <a:pt x="287" y="41"/>
                      <a:pt x="286" y="41"/>
                    </a:cubicBezTo>
                    <a:cubicBezTo>
                      <a:pt x="282" y="42"/>
                      <a:pt x="278" y="42"/>
                      <a:pt x="274" y="42"/>
                    </a:cubicBezTo>
                    <a:cubicBezTo>
                      <a:pt x="272" y="42"/>
                      <a:pt x="270" y="42"/>
                      <a:pt x="269" y="43"/>
                    </a:cubicBezTo>
                    <a:cubicBezTo>
                      <a:pt x="268" y="44"/>
                      <a:pt x="267" y="45"/>
                      <a:pt x="267" y="46"/>
                    </a:cubicBezTo>
                    <a:cubicBezTo>
                      <a:pt x="267" y="47"/>
                      <a:pt x="269" y="48"/>
                      <a:pt x="269" y="49"/>
                    </a:cubicBezTo>
                    <a:cubicBezTo>
                      <a:pt x="268" y="51"/>
                      <a:pt x="268" y="52"/>
                      <a:pt x="269" y="53"/>
                    </a:cubicBezTo>
                    <a:cubicBezTo>
                      <a:pt x="271" y="55"/>
                      <a:pt x="274" y="54"/>
                      <a:pt x="276" y="56"/>
                    </a:cubicBezTo>
                    <a:cubicBezTo>
                      <a:pt x="276" y="56"/>
                      <a:pt x="278" y="60"/>
                      <a:pt x="278" y="60"/>
                    </a:cubicBezTo>
                    <a:cubicBezTo>
                      <a:pt x="274" y="60"/>
                      <a:pt x="273" y="60"/>
                      <a:pt x="270" y="58"/>
                    </a:cubicBezTo>
                    <a:cubicBezTo>
                      <a:pt x="267" y="56"/>
                      <a:pt x="262" y="54"/>
                      <a:pt x="258" y="54"/>
                    </a:cubicBezTo>
                    <a:cubicBezTo>
                      <a:pt x="256" y="54"/>
                      <a:pt x="257" y="53"/>
                      <a:pt x="255" y="52"/>
                    </a:cubicBezTo>
                    <a:cubicBezTo>
                      <a:pt x="254" y="52"/>
                      <a:pt x="250" y="52"/>
                      <a:pt x="250" y="54"/>
                    </a:cubicBezTo>
                    <a:cubicBezTo>
                      <a:pt x="250" y="55"/>
                      <a:pt x="254" y="55"/>
                      <a:pt x="254" y="55"/>
                    </a:cubicBezTo>
                    <a:cubicBezTo>
                      <a:pt x="254" y="55"/>
                      <a:pt x="251" y="56"/>
                      <a:pt x="252" y="56"/>
                    </a:cubicBezTo>
                    <a:cubicBezTo>
                      <a:pt x="254" y="57"/>
                      <a:pt x="255" y="56"/>
                      <a:pt x="256" y="58"/>
                    </a:cubicBezTo>
                    <a:cubicBezTo>
                      <a:pt x="256" y="60"/>
                      <a:pt x="253" y="59"/>
                      <a:pt x="252" y="59"/>
                    </a:cubicBezTo>
                    <a:cubicBezTo>
                      <a:pt x="250" y="58"/>
                      <a:pt x="249" y="57"/>
                      <a:pt x="247" y="58"/>
                    </a:cubicBezTo>
                    <a:cubicBezTo>
                      <a:pt x="245" y="58"/>
                      <a:pt x="246" y="61"/>
                      <a:pt x="247" y="62"/>
                    </a:cubicBezTo>
                    <a:cubicBezTo>
                      <a:pt x="248" y="63"/>
                      <a:pt x="250" y="63"/>
                      <a:pt x="251" y="63"/>
                    </a:cubicBezTo>
                    <a:cubicBezTo>
                      <a:pt x="253" y="64"/>
                      <a:pt x="255" y="64"/>
                      <a:pt x="256" y="65"/>
                    </a:cubicBezTo>
                    <a:cubicBezTo>
                      <a:pt x="257" y="66"/>
                      <a:pt x="257" y="67"/>
                      <a:pt x="257" y="67"/>
                    </a:cubicBezTo>
                    <a:cubicBezTo>
                      <a:pt x="258" y="67"/>
                      <a:pt x="259" y="67"/>
                      <a:pt x="260" y="67"/>
                    </a:cubicBezTo>
                    <a:cubicBezTo>
                      <a:pt x="260" y="67"/>
                      <a:pt x="257" y="68"/>
                      <a:pt x="257" y="68"/>
                    </a:cubicBezTo>
                    <a:cubicBezTo>
                      <a:pt x="255" y="68"/>
                      <a:pt x="255" y="67"/>
                      <a:pt x="254" y="66"/>
                    </a:cubicBezTo>
                    <a:cubicBezTo>
                      <a:pt x="252" y="65"/>
                      <a:pt x="249" y="65"/>
                      <a:pt x="246" y="65"/>
                    </a:cubicBezTo>
                    <a:cubicBezTo>
                      <a:pt x="245" y="65"/>
                      <a:pt x="240" y="64"/>
                      <a:pt x="242" y="62"/>
                    </a:cubicBezTo>
                    <a:cubicBezTo>
                      <a:pt x="243" y="62"/>
                      <a:pt x="242" y="61"/>
                      <a:pt x="242" y="60"/>
                    </a:cubicBezTo>
                    <a:cubicBezTo>
                      <a:pt x="241" y="59"/>
                      <a:pt x="242" y="58"/>
                      <a:pt x="242" y="57"/>
                    </a:cubicBezTo>
                    <a:cubicBezTo>
                      <a:pt x="243" y="55"/>
                      <a:pt x="244" y="51"/>
                      <a:pt x="242" y="50"/>
                    </a:cubicBezTo>
                    <a:cubicBezTo>
                      <a:pt x="238" y="49"/>
                      <a:pt x="241" y="54"/>
                      <a:pt x="240" y="56"/>
                    </a:cubicBezTo>
                    <a:cubicBezTo>
                      <a:pt x="238" y="58"/>
                      <a:pt x="235" y="59"/>
                      <a:pt x="233" y="61"/>
                    </a:cubicBezTo>
                    <a:cubicBezTo>
                      <a:pt x="230" y="64"/>
                      <a:pt x="231" y="63"/>
                      <a:pt x="233" y="65"/>
                    </a:cubicBezTo>
                    <a:cubicBezTo>
                      <a:pt x="234" y="66"/>
                      <a:pt x="237" y="69"/>
                      <a:pt x="237" y="71"/>
                    </a:cubicBezTo>
                    <a:cubicBezTo>
                      <a:pt x="237" y="71"/>
                      <a:pt x="236" y="73"/>
                      <a:pt x="235" y="73"/>
                    </a:cubicBezTo>
                    <a:cubicBezTo>
                      <a:pt x="234" y="75"/>
                      <a:pt x="233" y="77"/>
                      <a:pt x="233" y="79"/>
                    </a:cubicBezTo>
                    <a:cubicBezTo>
                      <a:pt x="233" y="79"/>
                      <a:pt x="234" y="84"/>
                      <a:pt x="235" y="84"/>
                    </a:cubicBezTo>
                    <a:cubicBezTo>
                      <a:pt x="237" y="84"/>
                      <a:pt x="239" y="84"/>
                      <a:pt x="241" y="83"/>
                    </a:cubicBezTo>
                    <a:cubicBezTo>
                      <a:pt x="243" y="82"/>
                      <a:pt x="246" y="83"/>
                      <a:pt x="248" y="84"/>
                    </a:cubicBezTo>
                    <a:cubicBezTo>
                      <a:pt x="251" y="84"/>
                      <a:pt x="253" y="86"/>
                      <a:pt x="254" y="89"/>
                    </a:cubicBezTo>
                    <a:cubicBezTo>
                      <a:pt x="255" y="91"/>
                      <a:pt x="251" y="94"/>
                      <a:pt x="253" y="95"/>
                    </a:cubicBezTo>
                    <a:cubicBezTo>
                      <a:pt x="253" y="95"/>
                      <a:pt x="259" y="97"/>
                      <a:pt x="259" y="97"/>
                    </a:cubicBezTo>
                    <a:cubicBezTo>
                      <a:pt x="259" y="98"/>
                      <a:pt x="252" y="96"/>
                      <a:pt x="251" y="96"/>
                    </a:cubicBezTo>
                    <a:cubicBezTo>
                      <a:pt x="251" y="96"/>
                      <a:pt x="250" y="93"/>
                      <a:pt x="250" y="93"/>
                    </a:cubicBezTo>
                    <a:cubicBezTo>
                      <a:pt x="251" y="91"/>
                      <a:pt x="252" y="90"/>
                      <a:pt x="250" y="89"/>
                    </a:cubicBezTo>
                    <a:cubicBezTo>
                      <a:pt x="248" y="88"/>
                      <a:pt x="249" y="86"/>
                      <a:pt x="247" y="85"/>
                    </a:cubicBezTo>
                    <a:cubicBezTo>
                      <a:pt x="245" y="85"/>
                      <a:pt x="243" y="86"/>
                      <a:pt x="241" y="86"/>
                    </a:cubicBezTo>
                    <a:cubicBezTo>
                      <a:pt x="241" y="86"/>
                      <a:pt x="237" y="87"/>
                      <a:pt x="237" y="88"/>
                    </a:cubicBezTo>
                    <a:cubicBezTo>
                      <a:pt x="238" y="88"/>
                      <a:pt x="239" y="88"/>
                      <a:pt x="238" y="88"/>
                    </a:cubicBezTo>
                    <a:cubicBezTo>
                      <a:pt x="238" y="89"/>
                      <a:pt x="236" y="90"/>
                      <a:pt x="237" y="91"/>
                    </a:cubicBezTo>
                    <a:cubicBezTo>
                      <a:pt x="241" y="93"/>
                      <a:pt x="238" y="96"/>
                      <a:pt x="236" y="98"/>
                    </a:cubicBezTo>
                    <a:cubicBezTo>
                      <a:pt x="235" y="99"/>
                      <a:pt x="234" y="101"/>
                      <a:pt x="234" y="102"/>
                    </a:cubicBezTo>
                    <a:cubicBezTo>
                      <a:pt x="233" y="103"/>
                      <a:pt x="231" y="104"/>
                      <a:pt x="229" y="104"/>
                    </a:cubicBezTo>
                    <a:cubicBezTo>
                      <a:pt x="228" y="105"/>
                      <a:pt x="227" y="105"/>
                      <a:pt x="227" y="107"/>
                    </a:cubicBezTo>
                    <a:cubicBezTo>
                      <a:pt x="226" y="109"/>
                      <a:pt x="224" y="108"/>
                      <a:pt x="223" y="108"/>
                    </a:cubicBezTo>
                    <a:cubicBezTo>
                      <a:pt x="220" y="107"/>
                      <a:pt x="218" y="108"/>
                      <a:pt x="216" y="107"/>
                    </a:cubicBezTo>
                    <a:cubicBezTo>
                      <a:pt x="215" y="107"/>
                      <a:pt x="214" y="106"/>
                      <a:pt x="213" y="106"/>
                    </a:cubicBezTo>
                    <a:cubicBezTo>
                      <a:pt x="211" y="106"/>
                      <a:pt x="211" y="105"/>
                      <a:pt x="210" y="104"/>
                    </a:cubicBezTo>
                    <a:cubicBezTo>
                      <a:pt x="210" y="104"/>
                      <a:pt x="212" y="103"/>
                      <a:pt x="212" y="104"/>
                    </a:cubicBezTo>
                    <a:cubicBezTo>
                      <a:pt x="213" y="106"/>
                      <a:pt x="215" y="106"/>
                      <a:pt x="215" y="105"/>
                    </a:cubicBezTo>
                    <a:cubicBezTo>
                      <a:pt x="216" y="104"/>
                      <a:pt x="221" y="107"/>
                      <a:pt x="223" y="105"/>
                    </a:cubicBezTo>
                    <a:cubicBezTo>
                      <a:pt x="223" y="104"/>
                      <a:pt x="221" y="103"/>
                      <a:pt x="223" y="103"/>
                    </a:cubicBezTo>
                    <a:cubicBezTo>
                      <a:pt x="224" y="102"/>
                      <a:pt x="226" y="101"/>
                      <a:pt x="227" y="100"/>
                    </a:cubicBezTo>
                    <a:cubicBezTo>
                      <a:pt x="228" y="98"/>
                      <a:pt x="227" y="98"/>
                      <a:pt x="230" y="97"/>
                    </a:cubicBezTo>
                    <a:cubicBezTo>
                      <a:pt x="233" y="95"/>
                      <a:pt x="229" y="93"/>
                      <a:pt x="231" y="91"/>
                    </a:cubicBezTo>
                    <a:cubicBezTo>
                      <a:pt x="233" y="90"/>
                      <a:pt x="233" y="89"/>
                      <a:pt x="231" y="88"/>
                    </a:cubicBezTo>
                    <a:cubicBezTo>
                      <a:pt x="230" y="88"/>
                      <a:pt x="229" y="87"/>
                      <a:pt x="228" y="86"/>
                    </a:cubicBezTo>
                    <a:cubicBezTo>
                      <a:pt x="227" y="84"/>
                      <a:pt x="228" y="81"/>
                      <a:pt x="228" y="79"/>
                    </a:cubicBezTo>
                    <a:cubicBezTo>
                      <a:pt x="228" y="77"/>
                      <a:pt x="227" y="75"/>
                      <a:pt x="228" y="73"/>
                    </a:cubicBezTo>
                    <a:cubicBezTo>
                      <a:pt x="228" y="71"/>
                      <a:pt x="230" y="71"/>
                      <a:pt x="230" y="69"/>
                    </a:cubicBezTo>
                    <a:cubicBezTo>
                      <a:pt x="229" y="67"/>
                      <a:pt x="227" y="66"/>
                      <a:pt x="226" y="65"/>
                    </a:cubicBezTo>
                    <a:cubicBezTo>
                      <a:pt x="225" y="64"/>
                      <a:pt x="224" y="63"/>
                      <a:pt x="225" y="62"/>
                    </a:cubicBezTo>
                    <a:cubicBezTo>
                      <a:pt x="227" y="61"/>
                      <a:pt x="227" y="59"/>
                      <a:pt x="228" y="57"/>
                    </a:cubicBezTo>
                    <a:cubicBezTo>
                      <a:pt x="229" y="56"/>
                      <a:pt x="230" y="53"/>
                      <a:pt x="229" y="52"/>
                    </a:cubicBezTo>
                    <a:cubicBezTo>
                      <a:pt x="229" y="51"/>
                      <a:pt x="225" y="50"/>
                      <a:pt x="223" y="49"/>
                    </a:cubicBezTo>
                    <a:cubicBezTo>
                      <a:pt x="221" y="49"/>
                      <a:pt x="219" y="49"/>
                      <a:pt x="217" y="49"/>
                    </a:cubicBezTo>
                    <a:cubicBezTo>
                      <a:pt x="216" y="49"/>
                      <a:pt x="213" y="48"/>
                      <a:pt x="212" y="49"/>
                    </a:cubicBezTo>
                    <a:cubicBezTo>
                      <a:pt x="209" y="51"/>
                      <a:pt x="209" y="58"/>
                      <a:pt x="206" y="60"/>
                    </a:cubicBezTo>
                    <a:cubicBezTo>
                      <a:pt x="204" y="63"/>
                      <a:pt x="198" y="64"/>
                      <a:pt x="198" y="68"/>
                    </a:cubicBezTo>
                    <a:cubicBezTo>
                      <a:pt x="198" y="69"/>
                      <a:pt x="201" y="68"/>
                      <a:pt x="201" y="68"/>
                    </a:cubicBezTo>
                    <a:cubicBezTo>
                      <a:pt x="202" y="69"/>
                      <a:pt x="201" y="73"/>
                      <a:pt x="201" y="73"/>
                    </a:cubicBezTo>
                    <a:cubicBezTo>
                      <a:pt x="200" y="75"/>
                      <a:pt x="202" y="76"/>
                      <a:pt x="199" y="76"/>
                    </a:cubicBezTo>
                    <a:cubicBezTo>
                      <a:pt x="199" y="77"/>
                      <a:pt x="198" y="77"/>
                      <a:pt x="198" y="78"/>
                    </a:cubicBezTo>
                    <a:cubicBezTo>
                      <a:pt x="199" y="79"/>
                      <a:pt x="200" y="79"/>
                      <a:pt x="201" y="79"/>
                    </a:cubicBezTo>
                    <a:cubicBezTo>
                      <a:pt x="202" y="79"/>
                      <a:pt x="206" y="79"/>
                      <a:pt x="206" y="80"/>
                    </a:cubicBezTo>
                    <a:cubicBezTo>
                      <a:pt x="206" y="82"/>
                      <a:pt x="206" y="84"/>
                      <a:pt x="208" y="85"/>
                    </a:cubicBezTo>
                    <a:cubicBezTo>
                      <a:pt x="210" y="86"/>
                      <a:pt x="212" y="85"/>
                      <a:pt x="210" y="87"/>
                    </a:cubicBezTo>
                    <a:cubicBezTo>
                      <a:pt x="209" y="88"/>
                      <a:pt x="209" y="90"/>
                      <a:pt x="208" y="91"/>
                    </a:cubicBezTo>
                    <a:cubicBezTo>
                      <a:pt x="207" y="93"/>
                      <a:pt x="202" y="88"/>
                      <a:pt x="201" y="87"/>
                    </a:cubicBezTo>
                    <a:cubicBezTo>
                      <a:pt x="198" y="85"/>
                      <a:pt x="194" y="84"/>
                      <a:pt x="191" y="83"/>
                    </a:cubicBezTo>
                    <a:cubicBezTo>
                      <a:pt x="189" y="82"/>
                      <a:pt x="188" y="81"/>
                      <a:pt x="186" y="80"/>
                    </a:cubicBezTo>
                    <a:cubicBezTo>
                      <a:pt x="185" y="80"/>
                      <a:pt x="183" y="79"/>
                      <a:pt x="182" y="79"/>
                    </a:cubicBezTo>
                    <a:cubicBezTo>
                      <a:pt x="179" y="79"/>
                      <a:pt x="176" y="78"/>
                      <a:pt x="173" y="78"/>
                    </a:cubicBezTo>
                    <a:cubicBezTo>
                      <a:pt x="169" y="78"/>
                      <a:pt x="165" y="78"/>
                      <a:pt x="168" y="83"/>
                    </a:cubicBezTo>
                    <a:cubicBezTo>
                      <a:pt x="170" y="84"/>
                      <a:pt x="169" y="86"/>
                      <a:pt x="167" y="87"/>
                    </a:cubicBezTo>
                    <a:cubicBezTo>
                      <a:pt x="166" y="88"/>
                      <a:pt x="163" y="86"/>
                      <a:pt x="164" y="89"/>
                    </a:cubicBezTo>
                    <a:cubicBezTo>
                      <a:pt x="165" y="90"/>
                      <a:pt x="157" y="90"/>
                      <a:pt x="161" y="87"/>
                    </a:cubicBezTo>
                    <a:cubicBezTo>
                      <a:pt x="162" y="86"/>
                      <a:pt x="159" y="84"/>
                      <a:pt x="158" y="85"/>
                    </a:cubicBezTo>
                    <a:cubicBezTo>
                      <a:pt x="156" y="85"/>
                      <a:pt x="154" y="86"/>
                      <a:pt x="153" y="87"/>
                    </a:cubicBezTo>
                    <a:cubicBezTo>
                      <a:pt x="150" y="89"/>
                      <a:pt x="147" y="87"/>
                      <a:pt x="144" y="88"/>
                    </a:cubicBezTo>
                    <a:cubicBezTo>
                      <a:pt x="141" y="89"/>
                      <a:pt x="139" y="91"/>
                      <a:pt x="137" y="91"/>
                    </a:cubicBezTo>
                    <a:cubicBezTo>
                      <a:pt x="136" y="91"/>
                      <a:pt x="130" y="91"/>
                      <a:pt x="131" y="90"/>
                    </a:cubicBezTo>
                    <a:cubicBezTo>
                      <a:pt x="133" y="90"/>
                      <a:pt x="133" y="90"/>
                      <a:pt x="133" y="89"/>
                    </a:cubicBezTo>
                    <a:cubicBezTo>
                      <a:pt x="133" y="86"/>
                      <a:pt x="135" y="87"/>
                      <a:pt x="135" y="85"/>
                    </a:cubicBezTo>
                    <a:cubicBezTo>
                      <a:pt x="136" y="84"/>
                      <a:pt x="129" y="86"/>
                      <a:pt x="129" y="86"/>
                    </a:cubicBezTo>
                    <a:cubicBezTo>
                      <a:pt x="128" y="86"/>
                      <a:pt x="127" y="86"/>
                      <a:pt x="127" y="87"/>
                    </a:cubicBezTo>
                    <a:cubicBezTo>
                      <a:pt x="127" y="88"/>
                      <a:pt x="127" y="89"/>
                      <a:pt x="127" y="90"/>
                    </a:cubicBezTo>
                    <a:cubicBezTo>
                      <a:pt x="126" y="90"/>
                      <a:pt x="124" y="89"/>
                      <a:pt x="123" y="89"/>
                    </a:cubicBezTo>
                    <a:cubicBezTo>
                      <a:pt x="121" y="89"/>
                      <a:pt x="118" y="90"/>
                      <a:pt x="116" y="91"/>
                    </a:cubicBezTo>
                    <a:cubicBezTo>
                      <a:pt x="113" y="92"/>
                      <a:pt x="110" y="94"/>
                      <a:pt x="107" y="95"/>
                    </a:cubicBezTo>
                    <a:cubicBezTo>
                      <a:pt x="105" y="95"/>
                      <a:pt x="104" y="96"/>
                      <a:pt x="103" y="98"/>
                    </a:cubicBezTo>
                    <a:cubicBezTo>
                      <a:pt x="103" y="99"/>
                      <a:pt x="103" y="102"/>
                      <a:pt x="101" y="102"/>
                    </a:cubicBezTo>
                    <a:cubicBezTo>
                      <a:pt x="99" y="102"/>
                      <a:pt x="97" y="103"/>
                      <a:pt x="95" y="103"/>
                    </a:cubicBezTo>
                    <a:cubicBezTo>
                      <a:pt x="94" y="103"/>
                      <a:pt x="93" y="101"/>
                      <a:pt x="92" y="100"/>
                    </a:cubicBezTo>
                    <a:cubicBezTo>
                      <a:pt x="90" y="98"/>
                      <a:pt x="87" y="99"/>
                      <a:pt x="89" y="96"/>
                    </a:cubicBezTo>
                    <a:cubicBezTo>
                      <a:pt x="90" y="94"/>
                      <a:pt x="93" y="95"/>
                      <a:pt x="94" y="94"/>
                    </a:cubicBezTo>
                    <a:cubicBezTo>
                      <a:pt x="96" y="94"/>
                      <a:pt x="98" y="95"/>
                      <a:pt x="97" y="93"/>
                    </a:cubicBezTo>
                    <a:cubicBezTo>
                      <a:pt x="96" y="92"/>
                      <a:pt x="95" y="90"/>
                      <a:pt x="94" y="89"/>
                    </a:cubicBezTo>
                    <a:cubicBezTo>
                      <a:pt x="92" y="87"/>
                      <a:pt x="89" y="88"/>
                      <a:pt x="87" y="88"/>
                    </a:cubicBezTo>
                    <a:cubicBezTo>
                      <a:pt x="86" y="88"/>
                      <a:pt x="80" y="87"/>
                      <a:pt x="80" y="87"/>
                    </a:cubicBezTo>
                    <a:cubicBezTo>
                      <a:pt x="80" y="87"/>
                      <a:pt x="83" y="88"/>
                      <a:pt x="83" y="88"/>
                    </a:cubicBezTo>
                    <a:cubicBezTo>
                      <a:pt x="84" y="89"/>
                      <a:pt x="84" y="90"/>
                      <a:pt x="84" y="91"/>
                    </a:cubicBezTo>
                    <a:cubicBezTo>
                      <a:pt x="84" y="92"/>
                      <a:pt x="84" y="94"/>
                      <a:pt x="84" y="95"/>
                    </a:cubicBezTo>
                    <a:cubicBezTo>
                      <a:pt x="83" y="96"/>
                      <a:pt x="82" y="97"/>
                      <a:pt x="82" y="98"/>
                    </a:cubicBezTo>
                    <a:cubicBezTo>
                      <a:pt x="83" y="100"/>
                      <a:pt x="87" y="100"/>
                      <a:pt x="86" y="103"/>
                    </a:cubicBezTo>
                    <a:cubicBezTo>
                      <a:pt x="85" y="104"/>
                      <a:pt x="84" y="106"/>
                      <a:pt x="84" y="107"/>
                    </a:cubicBezTo>
                    <a:cubicBezTo>
                      <a:pt x="84" y="107"/>
                      <a:pt x="84" y="111"/>
                      <a:pt x="84" y="111"/>
                    </a:cubicBezTo>
                    <a:cubicBezTo>
                      <a:pt x="84" y="111"/>
                      <a:pt x="83" y="108"/>
                      <a:pt x="83" y="108"/>
                    </a:cubicBezTo>
                    <a:cubicBezTo>
                      <a:pt x="82" y="108"/>
                      <a:pt x="81" y="110"/>
                      <a:pt x="80" y="109"/>
                    </a:cubicBezTo>
                    <a:cubicBezTo>
                      <a:pt x="80" y="109"/>
                      <a:pt x="82" y="108"/>
                      <a:pt x="82" y="107"/>
                    </a:cubicBezTo>
                    <a:cubicBezTo>
                      <a:pt x="81" y="106"/>
                      <a:pt x="79" y="106"/>
                      <a:pt x="78" y="106"/>
                    </a:cubicBezTo>
                    <a:cubicBezTo>
                      <a:pt x="77" y="106"/>
                      <a:pt x="76" y="105"/>
                      <a:pt x="75" y="106"/>
                    </a:cubicBezTo>
                    <a:cubicBezTo>
                      <a:pt x="73" y="106"/>
                      <a:pt x="72" y="108"/>
                      <a:pt x="70" y="108"/>
                    </a:cubicBezTo>
                    <a:cubicBezTo>
                      <a:pt x="68" y="110"/>
                      <a:pt x="67" y="110"/>
                      <a:pt x="65" y="112"/>
                    </a:cubicBezTo>
                    <a:cubicBezTo>
                      <a:pt x="63" y="114"/>
                      <a:pt x="61" y="114"/>
                      <a:pt x="64" y="116"/>
                    </a:cubicBezTo>
                    <a:cubicBezTo>
                      <a:pt x="65" y="117"/>
                      <a:pt x="67" y="120"/>
                      <a:pt x="66" y="121"/>
                    </a:cubicBezTo>
                    <a:cubicBezTo>
                      <a:pt x="65" y="122"/>
                      <a:pt x="59" y="120"/>
                      <a:pt x="58" y="120"/>
                    </a:cubicBezTo>
                    <a:cubicBezTo>
                      <a:pt x="57" y="119"/>
                      <a:pt x="54" y="120"/>
                      <a:pt x="53" y="120"/>
                    </a:cubicBezTo>
                    <a:cubicBezTo>
                      <a:pt x="54" y="119"/>
                      <a:pt x="49" y="115"/>
                      <a:pt x="48" y="117"/>
                    </a:cubicBezTo>
                    <a:cubicBezTo>
                      <a:pt x="43" y="121"/>
                      <a:pt x="54" y="122"/>
                      <a:pt x="54" y="124"/>
                    </a:cubicBezTo>
                    <a:cubicBezTo>
                      <a:pt x="53" y="128"/>
                      <a:pt x="50" y="126"/>
                      <a:pt x="47" y="126"/>
                    </a:cubicBezTo>
                    <a:cubicBezTo>
                      <a:pt x="44" y="125"/>
                      <a:pt x="43" y="123"/>
                      <a:pt x="40" y="122"/>
                    </a:cubicBezTo>
                    <a:cubicBezTo>
                      <a:pt x="38" y="121"/>
                      <a:pt x="38" y="120"/>
                      <a:pt x="37" y="118"/>
                    </a:cubicBezTo>
                    <a:cubicBezTo>
                      <a:pt x="37" y="116"/>
                      <a:pt x="36" y="116"/>
                      <a:pt x="35" y="115"/>
                    </a:cubicBezTo>
                    <a:cubicBezTo>
                      <a:pt x="35" y="114"/>
                      <a:pt x="38" y="112"/>
                      <a:pt x="38" y="112"/>
                    </a:cubicBezTo>
                    <a:cubicBezTo>
                      <a:pt x="39" y="109"/>
                      <a:pt x="34" y="107"/>
                      <a:pt x="32" y="107"/>
                    </a:cubicBezTo>
                    <a:cubicBezTo>
                      <a:pt x="30" y="106"/>
                      <a:pt x="30" y="104"/>
                      <a:pt x="28" y="104"/>
                    </a:cubicBezTo>
                    <a:cubicBezTo>
                      <a:pt x="29" y="103"/>
                      <a:pt x="24" y="99"/>
                      <a:pt x="24" y="99"/>
                    </a:cubicBezTo>
                    <a:cubicBezTo>
                      <a:pt x="26" y="98"/>
                      <a:pt x="28" y="101"/>
                      <a:pt x="29" y="102"/>
                    </a:cubicBezTo>
                    <a:cubicBezTo>
                      <a:pt x="30" y="103"/>
                      <a:pt x="31" y="103"/>
                      <a:pt x="31" y="102"/>
                    </a:cubicBezTo>
                    <a:cubicBezTo>
                      <a:pt x="32" y="102"/>
                      <a:pt x="33" y="103"/>
                      <a:pt x="33" y="103"/>
                    </a:cubicBezTo>
                    <a:cubicBezTo>
                      <a:pt x="36" y="104"/>
                      <a:pt x="38" y="105"/>
                      <a:pt x="41" y="105"/>
                    </a:cubicBezTo>
                    <a:cubicBezTo>
                      <a:pt x="43" y="106"/>
                      <a:pt x="46" y="106"/>
                      <a:pt x="49" y="107"/>
                    </a:cubicBezTo>
                    <a:cubicBezTo>
                      <a:pt x="54" y="109"/>
                      <a:pt x="58" y="109"/>
                      <a:pt x="63" y="106"/>
                    </a:cubicBezTo>
                    <a:cubicBezTo>
                      <a:pt x="65" y="105"/>
                      <a:pt x="66" y="104"/>
                      <a:pt x="68" y="103"/>
                    </a:cubicBezTo>
                    <a:cubicBezTo>
                      <a:pt x="71" y="101"/>
                      <a:pt x="69" y="100"/>
                      <a:pt x="69" y="97"/>
                    </a:cubicBezTo>
                    <a:cubicBezTo>
                      <a:pt x="69" y="94"/>
                      <a:pt x="62" y="93"/>
                      <a:pt x="60" y="91"/>
                    </a:cubicBezTo>
                    <a:cubicBezTo>
                      <a:pt x="57" y="89"/>
                      <a:pt x="53" y="87"/>
                      <a:pt x="50" y="86"/>
                    </a:cubicBezTo>
                    <a:cubicBezTo>
                      <a:pt x="47" y="84"/>
                      <a:pt x="43" y="82"/>
                      <a:pt x="40" y="82"/>
                    </a:cubicBezTo>
                    <a:cubicBezTo>
                      <a:pt x="39" y="81"/>
                      <a:pt x="39" y="82"/>
                      <a:pt x="38" y="82"/>
                    </a:cubicBezTo>
                    <a:cubicBezTo>
                      <a:pt x="37" y="82"/>
                      <a:pt x="36" y="81"/>
                      <a:pt x="35" y="81"/>
                    </a:cubicBezTo>
                    <a:cubicBezTo>
                      <a:pt x="33" y="80"/>
                      <a:pt x="31" y="84"/>
                      <a:pt x="29" y="84"/>
                    </a:cubicBezTo>
                    <a:cubicBezTo>
                      <a:pt x="29" y="83"/>
                      <a:pt x="33" y="80"/>
                      <a:pt x="29" y="80"/>
                    </a:cubicBezTo>
                    <a:cubicBezTo>
                      <a:pt x="28" y="80"/>
                      <a:pt x="24" y="78"/>
                      <a:pt x="24" y="78"/>
                    </a:cubicBezTo>
                    <a:cubicBezTo>
                      <a:pt x="25" y="77"/>
                      <a:pt x="29" y="80"/>
                      <a:pt x="29" y="78"/>
                    </a:cubicBezTo>
                    <a:cubicBezTo>
                      <a:pt x="29" y="77"/>
                      <a:pt x="25" y="75"/>
                      <a:pt x="24" y="75"/>
                    </a:cubicBezTo>
                    <a:cubicBezTo>
                      <a:pt x="23" y="76"/>
                      <a:pt x="20" y="78"/>
                      <a:pt x="20" y="78"/>
                    </a:cubicBezTo>
                    <a:cubicBezTo>
                      <a:pt x="20" y="77"/>
                      <a:pt x="20" y="77"/>
                      <a:pt x="19" y="76"/>
                    </a:cubicBezTo>
                    <a:cubicBezTo>
                      <a:pt x="17" y="76"/>
                      <a:pt x="17" y="77"/>
                      <a:pt x="16" y="78"/>
                    </a:cubicBezTo>
                    <a:cubicBezTo>
                      <a:pt x="16" y="78"/>
                      <a:pt x="16" y="78"/>
                      <a:pt x="16" y="77"/>
                    </a:cubicBezTo>
                    <a:cubicBezTo>
                      <a:pt x="15" y="78"/>
                      <a:pt x="14" y="80"/>
                      <a:pt x="13" y="80"/>
                    </a:cubicBezTo>
                    <a:cubicBezTo>
                      <a:pt x="12" y="81"/>
                      <a:pt x="10" y="81"/>
                      <a:pt x="10" y="81"/>
                    </a:cubicBezTo>
                    <a:cubicBezTo>
                      <a:pt x="9" y="83"/>
                      <a:pt x="5" y="83"/>
                      <a:pt x="6" y="85"/>
                    </a:cubicBezTo>
                    <a:cubicBezTo>
                      <a:pt x="9" y="87"/>
                      <a:pt x="5" y="85"/>
                      <a:pt x="5" y="88"/>
                    </a:cubicBezTo>
                    <a:cubicBezTo>
                      <a:pt x="5" y="90"/>
                      <a:pt x="9" y="91"/>
                      <a:pt x="10" y="92"/>
                    </a:cubicBezTo>
                    <a:cubicBezTo>
                      <a:pt x="12" y="93"/>
                      <a:pt x="14" y="95"/>
                      <a:pt x="13" y="97"/>
                    </a:cubicBezTo>
                    <a:cubicBezTo>
                      <a:pt x="12" y="99"/>
                      <a:pt x="9" y="100"/>
                      <a:pt x="9" y="102"/>
                    </a:cubicBezTo>
                    <a:cubicBezTo>
                      <a:pt x="10" y="104"/>
                      <a:pt x="12" y="106"/>
                      <a:pt x="13" y="108"/>
                    </a:cubicBezTo>
                    <a:cubicBezTo>
                      <a:pt x="14" y="110"/>
                      <a:pt x="12" y="110"/>
                      <a:pt x="12" y="112"/>
                    </a:cubicBezTo>
                    <a:cubicBezTo>
                      <a:pt x="12" y="114"/>
                      <a:pt x="15" y="116"/>
                      <a:pt x="13" y="117"/>
                    </a:cubicBezTo>
                    <a:cubicBezTo>
                      <a:pt x="11" y="118"/>
                      <a:pt x="14" y="121"/>
                      <a:pt x="14" y="122"/>
                    </a:cubicBezTo>
                    <a:cubicBezTo>
                      <a:pt x="16" y="124"/>
                      <a:pt x="18" y="124"/>
                      <a:pt x="15" y="126"/>
                    </a:cubicBezTo>
                    <a:cubicBezTo>
                      <a:pt x="13" y="128"/>
                      <a:pt x="14" y="128"/>
                      <a:pt x="15" y="129"/>
                    </a:cubicBezTo>
                    <a:cubicBezTo>
                      <a:pt x="20" y="132"/>
                      <a:pt x="23" y="134"/>
                      <a:pt x="18" y="138"/>
                    </a:cubicBezTo>
                    <a:cubicBezTo>
                      <a:pt x="13" y="143"/>
                      <a:pt x="8" y="147"/>
                      <a:pt x="4" y="152"/>
                    </a:cubicBezTo>
                    <a:cubicBezTo>
                      <a:pt x="6" y="152"/>
                      <a:pt x="6" y="151"/>
                      <a:pt x="7" y="152"/>
                    </a:cubicBezTo>
                    <a:cubicBezTo>
                      <a:pt x="8" y="154"/>
                      <a:pt x="10" y="154"/>
                      <a:pt x="11" y="155"/>
                    </a:cubicBezTo>
                    <a:cubicBezTo>
                      <a:pt x="17" y="157"/>
                      <a:pt x="9" y="157"/>
                      <a:pt x="7" y="157"/>
                    </a:cubicBezTo>
                    <a:cubicBezTo>
                      <a:pt x="5" y="157"/>
                      <a:pt x="4" y="158"/>
                      <a:pt x="4" y="160"/>
                    </a:cubicBezTo>
                    <a:cubicBezTo>
                      <a:pt x="4" y="162"/>
                      <a:pt x="2" y="163"/>
                      <a:pt x="1" y="165"/>
                    </a:cubicBezTo>
                    <a:cubicBezTo>
                      <a:pt x="0" y="166"/>
                      <a:pt x="1" y="168"/>
                      <a:pt x="2" y="170"/>
                    </a:cubicBezTo>
                    <a:cubicBezTo>
                      <a:pt x="2" y="172"/>
                      <a:pt x="0" y="174"/>
                      <a:pt x="1" y="175"/>
                    </a:cubicBezTo>
                    <a:cubicBezTo>
                      <a:pt x="3" y="176"/>
                      <a:pt x="3" y="176"/>
                      <a:pt x="3" y="178"/>
                    </a:cubicBezTo>
                    <a:cubicBezTo>
                      <a:pt x="2" y="180"/>
                      <a:pt x="4" y="181"/>
                      <a:pt x="4" y="183"/>
                    </a:cubicBezTo>
                    <a:cubicBezTo>
                      <a:pt x="4" y="184"/>
                      <a:pt x="7" y="186"/>
                      <a:pt x="8" y="186"/>
                    </a:cubicBezTo>
                    <a:cubicBezTo>
                      <a:pt x="8" y="186"/>
                      <a:pt x="9" y="185"/>
                      <a:pt x="10" y="185"/>
                    </a:cubicBezTo>
                    <a:cubicBezTo>
                      <a:pt x="11" y="185"/>
                      <a:pt x="11" y="187"/>
                      <a:pt x="12" y="187"/>
                    </a:cubicBezTo>
                    <a:cubicBezTo>
                      <a:pt x="14" y="186"/>
                      <a:pt x="14" y="185"/>
                      <a:pt x="16" y="187"/>
                    </a:cubicBezTo>
                    <a:cubicBezTo>
                      <a:pt x="18" y="188"/>
                      <a:pt x="18" y="188"/>
                      <a:pt x="18" y="190"/>
                    </a:cubicBezTo>
                    <a:cubicBezTo>
                      <a:pt x="17" y="195"/>
                      <a:pt x="21" y="199"/>
                      <a:pt x="24" y="201"/>
                    </a:cubicBezTo>
                    <a:cubicBezTo>
                      <a:pt x="26" y="202"/>
                      <a:pt x="27" y="203"/>
                      <a:pt x="25" y="204"/>
                    </a:cubicBezTo>
                    <a:cubicBezTo>
                      <a:pt x="24" y="206"/>
                      <a:pt x="23" y="205"/>
                      <a:pt x="21" y="205"/>
                    </a:cubicBezTo>
                    <a:cubicBezTo>
                      <a:pt x="19" y="205"/>
                      <a:pt x="22" y="214"/>
                      <a:pt x="24" y="213"/>
                    </a:cubicBezTo>
                    <a:cubicBezTo>
                      <a:pt x="25" y="212"/>
                      <a:pt x="26" y="209"/>
                      <a:pt x="27" y="210"/>
                    </a:cubicBezTo>
                    <a:cubicBezTo>
                      <a:pt x="28" y="210"/>
                      <a:pt x="29" y="211"/>
                      <a:pt x="31" y="211"/>
                    </a:cubicBezTo>
                    <a:cubicBezTo>
                      <a:pt x="33" y="211"/>
                      <a:pt x="35" y="212"/>
                      <a:pt x="35" y="214"/>
                    </a:cubicBezTo>
                    <a:cubicBezTo>
                      <a:pt x="35" y="215"/>
                      <a:pt x="34" y="215"/>
                      <a:pt x="34" y="215"/>
                    </a:cubicBezTo>
                    <a:cubicBezTo>
                      <a:pt x="33" y="216"/>
                      <a:pt x="34" y="218"/>
                      <a:pt x="35" y="218"/>
                    </a:cubicBezTo>
                    <a:cubicBezTo>
                      <a:pt x="36" y="219"/>
                      <a:pt x="38" y="218"/>
                      <a:pt x="39" y="219"/>
                    </a:cubicBezTo>
                    <a:cubicBezTo>
                      <a:pt x="40" y="220"/>
                      <a:pt x="40" y="222"/>
                      <a:pt x="40" y="223"/>
                    </a:cubicBezTo>
                    <a:cubicBezTo>
                      <a:pt x="40" y="224"/>
                      <a:pt x="43" y="223"/>
                      <a:pt x="44" y="223"/>
                    </a:cubicBezTo>
                    <a:cubicBezTo>
                      <a:pt x="45" y="224"/>
                      <a:pt x="47" y="227"/>
                      <a:pt x="48" y="225"/>
                    </a:cubicBezTo>
                    <a:cubicBezTo>
                      <a:pt x="49" y="223"/>
                      <a:pt x="50" y="224"/>
                      <a:pt x="51" y="225"/>
                    </a:cubicBezTo>
                    <a:cubicBezTo>
                      <a:pt x="53" y="227"/>
                      <a:pt x="53" y="226"/>
                      <a:pt x="55" y="226"/>
                    </a:cubicBezTo>
                    <a:cubicBezTo>
                      <a:pt x="56" y="226"/>
                      <a:pt x="57" y="229"/>
                      <a:pt x="58" y="228"/>
                    </a:cubicBezTo>
                    <a:cubicBezTo>
                      <a:pt x="60" y="227"/>
                      <a:pt x="62" y="229"/>
                      <a:pt x="63" y="230"/>
                    </a:cubicBezTo>
                    <a:cubicBezTo>
                      <a:pt x="65" y="231"/>
                      <a:pt x="62" y="232"/>
                      <a:pt x="62" y="232"/>
                    </a:cubicBezTo>
                    <a:cubicBezTo>
                      <a:pt x="60" y="233"/>
                      <a:pt x="63" y="234"/>
                      <a:pt x="63" y="234"/>
                    </a:cubicBezTo>
                    <a:cubicBezTo>
                      <a:pt x="63" y="234"/>
                      <a:pt x="60" y="234"/>
                      <a:pt x="61" y="236"/>
                    </a:cubicBezTo>
                    <a:cubicBezTo>
                      <a:pt x="63" y="237"/>
                      <a:pt x="62" y="238"/>
                      <a:pt x="61" y="239"/>
                    </a:cubicBezTo>
                    <a:cubicBezTo>
                      <a:pt x="61" y="240"/>
                      <a:pt x="58" y="240"/>
                      <a:pt x="57" y="240"/>
                    </a:cubicBezTo>
                    <a:cubicBezTo>
                      <a:pt x="55" y="240"/>
                      <a:pt x="54" y="242"/>
                      <a:pt x="53" y="244"/>
                    </a:cubicBezTo>
                    <a:cubicBezTo>
                      <a:pt x="54" y="244"/>
                      <a:pt x="58" y="244"/>
                      <a:pt x="58" y="245"/>
                    </a:cubicBezTo>
                    <a:cubicBezTo>
                      <a:pt x="58" y="246"/>
                      <a:pt x="53" y="247"/>
                      <a:pt x="53" y="248"/>
                    </a:cubicBezTo>
                    <a:cubicBezTo>
                      <a:pt x="53" y="249"/>
                      <a:pt x="55" y="249"/>
                      <a:pt x="55" y="251"/>
                    </a:cubicBezTo>
                    <a:cubicBezTo>
                      <a:pt x="55" y="251"/>
                      <a:pt x="52" y="252"/>
                      <a:pt x="52" y="252"/>
                    </a:cubicBezTo>
                    <a:cubicBezTo>
                      <a:pt x="51" y="253"/>
                      <a:pt x="51" y="254"/>
                      <a:pt x="50" y="255"/>
                    </a:cubicBezTo>
                    <a:cubicBezTo>
                      <a:pt x="50" y="256"/>
                      <a:pt x="48" y="255"/>
                      <a:pt x="48" y="257"/>
                    </a:cubicBezTo>
                    <a:cubicBezTo>
                      <a:pt x="47" y="258"/>
                      <a:pt x="49" y="260"/>
                      <a:pt x="51" y="260"/>
                    </a:cubicBezTo>
                    <a:cubicBezTo>
                      <a:pt x="53" y="261"/>
                      <a:pt x="55" y="262"/>
                      <a:pt x="58" y="264"/>
                    </a:cubicBezTo>
                    <a:cubicBezTo>
                      <a:pt x="59" y="265"/>
                      <a:pt x="60" y="266"/>
                      <a:pt x="61" y="266"/>
                    </a:cubicBezTo>
                    <a:cubicBezTo>
                      <a:pt x="62" y="268"/>
                      <a:pt x="62" y="267"/>
                      <a:pt x="64" y="266"/>
                    </a:cubicBezTo>
                    <a:cubicBezTo>
                      <a:pt x="67" y="266"/>
                      <a:pt x="70" y="269"/>
                      <a:pt x="73" y="269"/>
                    </a:cubicBezTo>
                    <a:cubicBezTo>
                      <a:pt x="76" y="269"/>
                      <a:pt x="79" y="271"/>
                      <a:pt x="82" y="272"/>
                    </a:cubicBezTo>
                    <a:cubicBezTo>
                      <a:pt x="85" y="273"/>
                      <a:pt x="87" y="272"/>
                      <a:pt x="90" y="272"/>
                    </a:cubicBezTo>
                    <a:cubicBezTo>
                      <a:pt x="91" y="273"/>
                      <a:pt x="92" y="274"/>
                      <a:pt x="92" y="275"/>
                    </a:cubicBezTo>
                    <a:cubicBezTo>
                      <a:pt x="92" y="276"/>
                      <a:pt x="93" y="276"/>
                      <a:pt x="94" y="276"/>
                    </a:cubicBezTo>
                    <a:cubicBezTo>
                      <a:pt x="97" y="277"/>
                      <a:pt x="99" y="282"/>
                      <a:pt x="103" y="280"/>
                    </a:cubicBezTo>
                    <a:cubicBezTo>
                      <a:pt x="104" y="279"/>
                      <a:pt x="106" y="278"/>
                      <a:pt x="105" y="277"/>
                    </a:cubicBezTo>
                    <a:cubicBezTo>
                      <a:pt x="104" y="276"/>
                      <a:pt x="103" y="275"/>
                      <a:pt x="102" y="274"/>
                    </a:cubicBezTo>
                    <a:cubicBezTo>
                      <a:pt x="100" y="272"/>
                      <a:pt x="99" y="270"/>
                      <a:pt x="100" y="267"/>
                    </a:cubicBezTo>
                    <a:cubicBezTo>
                      <a:pt x="100" y="265"/>
                      <a:pt x="99" y="263"/>
                      <a:pt x="97" y="262"/>
                    </a:cubicBezTo>
                    <a:cubicBezTo>
                      <a:pt x="95" y="261"/>
                      <a:pt x="98" y="259"/>
                      <a:pt x="99" y="258"/>
                    </a:cubicBezTo>
                    <a:cubicBezTo>
                      <a:pt x="100" y="256"/>
                      <a:pt x="100" y="254"/>
                      <a:pt x="103" y="254"/>
                    </a:cubicBezTo>
                    <a:cubicBezTo>
                      <a:pt x="104" y="254"/>
                      <a:pt x="105" y="253"/>
                      <a:pt x="106" y="252"/>
                    </a:cubicBezTo>
                    <a:cubicBezTo>
                      <a:pt x="107" y="251"/>
                      <a:pt x="108" y="251"/>
                      <a:pt x="109" y="250"/>
                    </a:cubicBezTo>
                    <a:cubicBezTo>
                      <a:pt x="108" y="250"/>
                      <a:pt x="106" y="249"/>
                      <a:pt x="106" y="248"/>
                    </a:cubicBezTo>
                    <a:cubicBezTo>
                      <a:pt x="106" y="247"/>
                      <a:pt x="108" y="248"/>
                      <a:pt x="108" y="248"/>
                    </a:cubicBezTo>
                    <a:cubicBezTo>
                      <a:pt x="108" y="247"/>
                      <a:pt x="106" y="244"/>
                      <a:pt x="105" y="243"/>
                    </a:cubicBezTo>
                    <a:cubicBezTo>
                      <a:pt x="104" y="241"/>
                      <a:pt x="103" y="241"/>
                      <a:pt x="101" y="241"/>
                    </a:cubicBezTo>
                    <a:cubicBezTo>
                      <a:pt x="98" y="241"/>
                      <a:pt x="100" y="239"/>
                      <a:pt x="98" y="238"/>
                    </a:cubicBezTo>
                    <a:cubicBezTo>
                      <a:pt x="97" y="237"/>
                      <a:pt x="94" y="237"/>
                      <a:pt x="96" y="235"/>
                    </a:cubicBezTo>
                    <a:cubicBezTo>
                      <a:pt x="97" y="233"/>
                      <a:pt x="99" y="232"/>
                      <a:pt x="97" y="231"/>
                    </a:cubicBezTo>
                    <a:cubicBezTo>
                      <a:pt x="96" y="229"/>
                      <a:pt x="98" y="228"/>
                      <a:pt x="99" y="227"/>
                    </a:cubicBezTo>
                    <a:cubicBezTo>
                      <a:pt x="99" y="226"/>
                      <a:pt x="101" y="223"/>
                      <a:pt x="101" y="224"/>
                    </a:cubicBezTo>
                    <a:cubicBezTo>
                      <a:pt x="102" y="225"/>
                      <a:pt x="103" y="227"/>
                      <a:pt x="104" y="228"/>
                    </a:cubicBezTo>
                    <a:cubicBezTo>
                      <a:pt x="106" y="228"/>
                      <a:pt x="107" y="227"/>
                      <a:pt x="107" y="226"/>
                    </a:cubicBezTo>
                    <a:cubicBezTo>
                      <a:pt x="106" y="224"/>
                      <a:pt x="106" y="223"/>
                      <a:pt x="108" y="222"/>
                    </a:cubicBezTo>
                    <a:cubicBezTo>
                      <a:pt x="110" y="221"/>
                      <a:pt x="110" y="219"/>
                      <a:pt x="112" y="219"/>
                    </a:cubicBezTo>
                    <a:cubicBezTo>
                      <a:pt x="114" y="218"/>
                      <a:pt x="116" y="215"/>
                      <a:pt x="118" y="216"/>
                    </a:cubicBezTo>
                    <a:cubicBezTo>
                      <a:pt x="120" y="216"/>
                      <a:pt x="120" y="218"/>
                      <a:pt x="122" y="216"/>
                    </a:cubicBezTo>
                    <a:cubicBezTo>
                      <a:pt x="124" y="215"/>
                      <a:pt x="124" y="216"/>
                      <a:pt x="126" y="217"/>
                    </a:cubicBezTo>
                    <a:cubicBezTo>
                      <a:pt x="128" y="217"/>
                      <a:pt x="130" y="217"/>
                      <a:pt x="132" y="218"/>
                    </a:cubicBezTo>
                    <a:cubicBezTo>
                      <a:pt x="134" y="219"/>
                      <a:pt x="134" y="221"/>
                      <a:pt x="136" y="223"/>
                    </a:cubicBezTo>
                    <a:cubicBezTo>
                      <a:pt x="136" y="223"/>
                      <a:pt x="136" y="220"/>
                      <a:pt x="138" y="221"/>
                    </a:cubicBezTo>
                    <a:cubicBezTo>
                      <a:pt x="139" y="221"/>
                      <a:pt x="140" y="223"/>
                      <a:pt x="142" y="223"/>
                    </a:cubicBezTo>
                    <a:cubicBezTo>
                      <a:pt x="143" y="224"/>
                      <a:pt x="144" y="222"/>
                      <a:pt x="145" y="221"/>
                    </a:cubicBezTo>
                    <a:cubicBezTo>
                      <a:pt x="147" y="219"/>
                      <a:pt x="148" y="221"/>
                      <a:pt x="150" y="221"/>
                    </a:cubicBezTo>
                    <a:cubicBezTo>
                      <a:pt x="152" y="221"/>
                      <a:pt x="153" y="219"/>
                      <a:pt x="155" y="220"/>
                    </a:cubicBezTo>
                    <a:cubicBezTo>
                      <a:pt x="157" y="221"/>
                      <a:pt x="158" y="222"/>
                      <a:pt x="160" y="223"/>
                    </a:cubicBezTo>
                    <a:cubicBezTo>
                      <a:pt x="162" y="224"/>
                      <a:pt x="161" y="223"/>
                      <a:pt x="163" y="222"/>
                    </a:cubicBezTo>
                    <a:cubicBezTo>
                      <a:pt x="164" y="221"/>
                      <a:pt x="168" y="222"/>
                      <a:pt x="169" y="222"/>
                    </a:cubicBezTo>
                    <a:cubicBezTo>
                      <a:pt x="170" y="222"/>
                      <a:pt x="172" y="220"/>
                      <a:pt x="172" y="219"/>
                    </a:cubicBezTo>
                    <a:cubicBezTo>
                      <a:pt x="172" y="217"/>
                      <a:pt x="169" y="217"/>
                      <a:pt x="168" y="216"/>
                    </a:cubicBezTo>
                    <a:cubicBezTo>
                      <a:pt x="161" y="213"/>
                      <a:pt x="171" y="214"/>
                      <a:pt x="169" y="210"/>
                    </a:cubicBezTo>
                    <a:cubicBezTo>
                      <a:pt x="168" y="209"/>
                      <a:pt x="166" y="209"/>
                      <a:pt x="169" y="208"/>
                    </a:cubicBezTo>
                    <a:cubicBezTo>
                      <a:pt x="170" y="207"/>
                      <a:pt x="172" y="208"/>
                      <a:pt x="173" y="207"/>
                    </a:cubicBezTo>
                    <a:cubicBezTo>
                      <a:pt x="177" y="207"/>
                      <a:pt x="166" y="202"/>
                      <a:pt x="171" y="200"/>
                    </a:cubicBezTo>
                    <a:cubicBezTo>
                      <a:pt x="172" y="200"/>
                      <a:pt x="174" y="200"/>
                      <a:pt x="175" y="200"/>
                    </a:cubicBezTo>
                    <a:cubicBezTo>
                      <a:pt x="178" y="200"/>
                      <a:pt x="180" y="200"/>
                      <a:pt x="183" y="199"/>
                    </a:cubicBezTo>
                    <a:cubicBezTo>
                      <a:pt x="185" y="198"/>
                      <a:pt x="187" y="198"/>
                      <a:pt x="189" y="198"/>
                    </a:cubicBezTo>
                    <a:cubicBezTo>
                      <a:pt x="191" y="197"/>
                      <a:pt x="193" y="196"/>
                      <a:pt x="196" y="196"/>
                    </a:cubicBezTo>
                    <a:cubicBezTo>
                      <a:pt x="200" y="195"/>
                      <a:pt x="204" y="194"/>
                      <a:pt x="208" y="192"/>
                    </a:cubicBezTo>
                    <a:cubicBezTo>
                      <a:pt x="211" y="190"/>
                      <a:pt x="217" y="190"/>
                      <a:pt x="219" y="194"/>
                    </a:cubicBezTo>
                    <a:cubicBezTo>
                      <a:pt x="220" y="196"/>
                      <a:pt x="219" y="196"/>
                      <a:pt x="220" y="198"/>
                    </a:cubicBezTo>
                    <a:cubicBezTo>
                      <a:pt x="220" y="201"/>
                      <a:pt x="224" y="198"/>
                      <a:pt x="226" y="199"/>
                    </a:cubicBezTo>
                    <a:cubicBezTo>
                      <a:pt x="227" y="199"/>
                      <a:pt x="226" y="200"/>
                      <a:pt x="227" y="200"/>
                    </a:cubicBezTo>
                    <a:cubicBezTo>
                      <a:pt x="228" y="201"/>
                      <a:pt x="228" y="200"/>
                      <a:pt x="228" y="200"/>
                    </a:cubicBezTo>
                    <a:cubicBezTo>
                      <a:pt x="229" y="199"/>
                      <a:pt x="230" y="200"/>
                      <a:pt x="231" y="201"/>
                    </a:cubicBezTo>
                    <a:cubicBezTo>
                      <a:pt x="232" y="201"/>
                      <a:pt x="232" y="201"/>
                      <a:pt x="231" y="202"/>
                    </a:cubicBezTo>
                    <a:cubicBezTo>
                      <a:pt x="230" y="205"/>
                      <a:pt x="237" y="203"/>
                      <a:pt x="239" y="202"/>
                    </a:cubicBezTo>
                    <a:cubicBezTo>
                      <a:pt x="239" y="202"/>
                      <a:pt x="248" y="197"/>
                      <a:pt x="248" y="198"/>
                    </a:cubicBezTo>
                    <a:cubicBezTo>
                      <a:pt x="248" y="199"/>
                      <a:pt x="246" y="201"/>
                      <a:pt x="248" y="202"/>
                    </a:cubicBezTo>
                    <a:cubicBezTo>
                      <a:pt x="250" y="202"/>
                      <a:pt x="251" y="203"/>
                      <a:pt x="252" y="204"/>
                    </a:cubicBezTo>
                    <a:cubicBezTo>
                      <a:pt x="255" y="207"/>
                      <a:pt x="256" y="210"/>
                      <a:pt x="258" y="213"/>
                    </a:cubicBezTo>
                    <a:cubicBezTo>
                      <a:pt x="260" y="216"/>
                      <a:pt x="261" y="219"/>
                      <a:pt x="263" y="221"/>
                    </a:cubicBezTo>
                    <a:cubicBezTo>
                      <a:pt x="266" y="224"/>
                      <a:pt x="266" y="217"/>
                      <a:pt x="269" y="220"/>
                    </a:cubicBezTo>
                    <a:cubicBezTo>
                      <a:pt x="273" y="224"/>
                      <a:pt x="275" y="222"/>
                      <a:pt x="280" y="221"/>
                    </a:cubicBezTo>
                    <a:cubicBezTo>
                      <a:pt x="282" y="220"/>
                      <a:pt x="283" y="223"/>
                      <a:pt x="284" y="224"/>
                    </a:cubicBezTo>
                    <a:cubicBezTo>
                      <a:pt x="285" y="226"/>
                      <a:pt x="287" y="226"/>
                      <a:pt x="288" y="228"/>
                    </a:cubicBezTo>
                    <a:cubicBezTo>
                      <a:pt x="289" y="230"/>
                      <a:pt x="291" y="230"/>
                      <a:pt x="293" y="230"/>
                    </a:cubicBezTo>
                    <a:cubicBezTo>
                      <a:pt x="296" y="229"/>
                      <a:pt x="295" y="230"/>
                      <a:pt x="296" y="231"/>
                    </a:cubicBezTo>
                    <a:cubicBezTo>
                      <a:pt x="298" y="235"/>
                      <a:pt x="304" y="230"/>
                      <a:pt x="307" y="230"/>
                    </a:cubicBezTo>
                    <a:cubicBezTo>
                      <a:pt x="310" y="229"/>
                      <a:pt x="313" y="226"/>
                      <a:pt x="316" y="225"/>
                    </a:cubicBezTo>
                    <a:cubicBezTo>
                      <a:pt x="320" y="222"/>
                      <a:pt x="322" y="222"/>
                      <a:pt x="327" y="223"/>
                    </a:cubicBezTo>
                    <a:cubicBezTo>
                      <a:pt x="329" y="223"/>
                      <a:pt x="329" y="224"/>
                      <a:pt x="331" y="226"/>
                    </a:cubicBezTo>
                    <a:cubicBezTo>
                      <a:pt x="332" y="227"/>
                      <a:pt x="334" y="227"/>
                      <a:pt x="336" y="227"/>
                    </a:cubicBezTo>
                    <a:cubicBezTo>
                      <a:pt x="338" y="227"/>
                      <a:pt x="339" y="228"/>
                      <a:pt x="341" y="228"/>
                    </a:cubicBezTo>
                    <a:cubicBezTo>
                      <a:pt x="343" y="230"/>
                      <a:pt x="344" y="228"/>
                      <a:pt x="346" y="227"/>
                    </a:cubicBezTo>
                    <a:cubicBezTo>
                      <a:pt x="349" y="224"/>
                      <a:pt x="344" y="222"/>
                      <a:pt x="346" y="219"/>
                    </a:cubicBezTo>
                    <a:cubicBezTo>
                      <a:pt x="347" y="217"/>
                      <a:pt x="351" y="213"/>
                      <a:pt x="353" y="214"/>
                    </a:cubicBezTo>
                    <a:cubicBezTo>
                      <a:pt x="357" y="216"/>
                      <a:pt x="362" y="216"/>
                      <a:pt x="366" y="218"/>
                    </a:cubicBezTo>
                    <a:cubicBezTo>
                      <a:pt x="368" y="219"/>
                      <a:pt x="367" y="221"/>
                      <a:pt x="368" y="222"/>
                    </a:cubicBezTo>
                    <a:cubicBezTo>
                      <a:pt x="369" y="225"/>
                      <a:pt x="371" y="225"/>
                      <a:pt x="374" y="226"/>
                    </a:cubicBezTo>
                    <a:cubicBezTo>
                      <a:pt x="378" y="227"/>
                      <a:pt x="382" y="224"/>
                      <a:pt x="386" y="225"/>
                    </a:cubicBezTo>
                    <a:cubicBezTo>
                      <a:pt x="387" y="225"/>
                      <a:pt x="389" y="225"/>
                      <a:pt x="390" y="226"/>
                    </a:cubicBezTo>
                    <a:cubicBezTo>
                      <a:pt x="392" y="227"/>
                      <a:pt x="394" y="227"/>
                      <a:pt x="396" y="229"/>
                    </a:cubicBezTo>
                    <a:cubicBezTo>
                      <a:pt x="401" y="233"/>
                      <a:pt x="409" y="233"/>
                      <a:pt x="415" y="231"/>
                    </a:cubicBezTo>
                    <a:cubicBezTo>
                      <a:pt x="419" y="230"/>
                      <a:pt x="422" y="228"/>
                      <a:pt x="426" y="227"/>
                    </a:cubicBezTo>
                    <a:cubicBezTo>
                      <a:pt x="428" y="225"/>
                      <a:pt x="431" y="227"/>
                      <a:pt x="433" y="227"/>
                    </a:cubicBezTo>
                    <a:cubicBezTo>
                      <a:pt x="435" y="228"/>
                      <a:pt x="436" y="226"/>
                      <a:pt x="438" y="227"/>
                    </a:cubicBezTo>
                    <a:cubicBezTo>
                      <a:pt x="439" y="228"/>
                      <a:pt x="443" y="231"/>
                      <a:pt x="445" y="230"/>
                    </a:cubicBezTo>
                    <a:cubicBezTo>
                      <a:pt x="446" y="230"/>
                      <a:pt x="448" y="229"/>
                      <a:pt x="449" y="228"/>
                    </a:cubicBezTo>
                    <a:cubicBezTo>
                      <a:pt x="452" y="227"/>
                      <a:pt x="453" y="227"/>
                      <a:pt x="453" y="225"/>
                    </a:cubicBezTo>
                    <a:cubicBezTo>
                      <a:pt x="453" y="221"/>
                      <a:pt x="456" y="217"/>
                      <a:pt x="458" y="215"/>
                    </a:cubicBezTo>
                    <a:cubicBezTo>
                      <a:pt x="459" y="214"/>
                      <a:pt x="460" y="212"/>
                      <a:pt x="459" y="211"/>
                    </a:cubicBezTo>
                    <a:cubicBezTo>
                      <a:pt x="458" y="210"/>
                      <a:pt x="455" y="210"/>
                      <a:pt x="457" y="208"/>
                    </a:cubicBezTo>
                    <a:cubicBezTo>
                      <a:pt x="460" y="205"/>
                      <a:pt x="465" y="205"/>
                      <a:pt x="470" y="204"/>
                    </a:cubicBezTo>
                    <a:cubicBezTo>
                      <a:pt x="472" y="204"/>
                      <a:pt x="474" y="204"/>
                      <a:pt x="476" y="205"/>
                    </a:cubicBezTo>
                    <a:cubicBezTo>
                      <a:pt x="478" y="206"/>
                      <a:pt x="481" y="206"/>
                      <a:pt x="483" y="207"/>
                    </a:cubicBezTo>
                    <a:cubicBezTo>
                      <a:pt x="486" y="208"/>
                      <a:pt x="487" y="212"/>
                      <a:pt x="489" y="215"/>
                    </a:cubicBezTo>
                    <a:cubicBezTo>
                      <a:pt x="490" y="218"/>
                      <a:pt x="492" y="221"/>
                      <a:pt x="493" y="224"/>
                    </a:cubicBezTo>
                    <a:cubicBezTo>
                      <a:pt x="493" y="225"/>
                      <a:pt x="493" y="227"/>
                      <a:pt x="494" y="229"/>
                    </a:cubicBezTo>
                    <a:cubicBezTo>
                      <a:pt x="494" y="230"/>
                      <a:pt x="497" y="230"/>
                      <a:pt x="498" y="230"/>
                    </a:cubicBezTo>
                    <a:cubicBezTo>
                      <a:pt x="502" y="231"/>
                      <a:pt x="507" y="233"/>
                      <a:pt x="508" y="237"/>
                    </a:cubicBezTo>
                    <a:cubicBezTo>
                      <a:pt x="509" y="240"/>
                      <a:pt x="510" y="242"/>
                      <a:pt x="514" y="242"/>
                    </a:cubicBezTo>
                    <a:cubicBezTo>
                      <a:pt x="515" y="242"/>
                      <a:pt x="517" y="242"/>
                      <a:pt x="518" y="242"/>
                    </a:cubicBezTo>
                    <a:cubicBezTo>
                      <a:pt x="520" y="242"/>
                      <a:pt x="520" y="240"/>
                      <a:pt x="522" y="240"/>
                    </a:cubicBezTo>
                    <a:cubicBezTo>
                      <a:pt x="525" y="240"/>
                      <a:pt x="528" y="237"/>
                      <a:pt x="530" y="241"/>
                    </a:cubicBezTo>
                    <a:cubicBezTo>
                      <a:pt x="530" y="243"/>
                      <a:pt x="530" y="243"/>
                      <a:pt x="529" y="244"/>
                    </a:cubicBezTo>
                    <a:cubicBezTo>
                      <a:pt x="527" y="246"/>
                      <a:pt x="527" y="247"/>
                      <a:pt x="526" y="249"/>
                    </a:cubicBezTo>
                    <a:cubicBezTo>
                      <a:pt x="525" y="252"/>
                      <a:pt x="523" y="255"/>
                      <a:pt x="521" y="258"/>
                    </a:cubicBezTo>
                    <a:cubicBezTo>
                      <a:pt x="520" y="260"/>
                      <a:pt x="519" y="259"/>
                      <a:pt x="518" y="258"/>
                    </a:cubicBezTo>
                    <a:cubicBezTo>
                      <a:pt x="516" y="257"/>
                      <a:pt x="516" y="258"/>
                      <a:pt x="514" y="259"/>
                    </a:cubicBezTo>
                    <a:cubicBezTo>
                      <a:pt x="513" y="259"/>
                      <a:pt x="511" y="260"/>
                      <a:pt x="511" y="260"/>
                    </a:cubicBezTo>
                    <a:cubicBezTo>
                      <a:pt x="510" y="261"/>
                      <a:pt x="513" y="265"/>
                      <a:pt x="513" y="267"/>
                    </a:cubicBezTo>
                    <a:cubicBezTo>
                      <a:pt x="512" y="268"/>
                      <a:pt x="512" y="270"/>
                      <a:pt x="512" y="271"/>
                    </a:cubicBezTo>
                    <a:cubicBezTo>
                      <a:pt x="511" y="273"/>
                      <a:pt x="509" y="272"/>
                      <a:pt x="509" y="274"/>
                    </a:cubicBezTo>
                    <a:cubicBezTo>
                      <a:pt x="511" y="273"/>
                      <a:pt x="512" y="274"/>
                      <a:pt x="514" y="272"/>
                    </a:cubicBezTo>
                    <a:cubicBezTo>
                      <a:pt x="515" y="270"/>
                      <a:pt x="517" y="272"/>
                      <a:pt x="519" y="272"/>
                    </a:cubicBezTo>
                    <a:cubicBezTo>
                      <a:pt x="523" y="274"/>
                      <a:pt x="527" y="272"/>
                      <a:pt x="531" y="269"/>
                    </a:cubicBezTo>
                    <a:cubicBezTo>
                      <a:pt x="534" y="266"/>
                      <a:pt x="537" y="262"/>
                      <a:pt x="540" y="259"/>
                    </a:cubicBezTo>
                    <a:cubicBezTo>
                      <a:pt x="543" y="255"/>
                      <a:pt x="546" y="251"/>
                      <a:pt x="549" y="247"/>
                    </a:cubicBezTo>
                    <a:cubicBezTo>
                      <a:pt x="554" y="240"/>
                      <a:pt x="559" y="235"/>
                      <a:pt x="558" y="226"/>
                    </a:cubicBezTo>
                    <a:cubicBezTo>
                      <a:pt x="558" y="222"/>
                      <a:pt x="559" y="220"/>
                      <a:pt x="561" y="217"/>
                    </a:cubicBezTo>
                    <a:cubicBezTo>
                      <a:pt x="562" y="215"/>
                      <a:pt x="562" y="214"/>
                      <a:pt x="563" y="212"/>
                    </a:cubicBezTo>
                    <a:cubicBezTo>
                      <a:pt x="563" y="212"/>
                      <a:pt x="563" y="211"/>
                      <a:pt x="563" y="210"/>
                    </a:cubicBezTo>
                    <a:cubicBezTo>
                      <a:pt x="563" y="209"/>
                      <a:pt x="561" y="208"/>
                      <a:pt x="561" y="207"/>
                    </a:cubicBezTo>
                    <a:cubicBezTo>
                      <a:pt x="561" y="207"/>
                      <a:pt x="563" y="208"/>
                      <a:pt x="563" y="207"/>
                    </a:cubicBezTo>
                    <a:cubicBezTo>
                      <a:pt x="562" y="206"/>
                      <a:pt x="562" y="205"/>
                      <a:pt x="561" y="205"/>
                    </a:cubicBezTo>
                    <a:cubicBezTo>
                      <a:pt x="560" y="204"/>
                      <a:pt x="558" y="201"/>
                      <a:pt x="557" y="200"/>
                    </a:cubicBezTo>
                    <a:cubicBezTo>
                      <a:pt x="556" y="200"/>
                      <a:pt x="551" y="198"/>
                      <a:pt x="550" y="199"/>
                    </a:cubicBezTo>
                    <a:cubicBezTo>
                      <a:pt x="550" y="200"/>
                      <a:pt x="551" y="201"/>
                      <a:pt x="550" y="201"/>
                    </a:cubicBezTo>
                    <a:cubicBezTo>
                      <a:pt x="548" y="201"/>
                      <a:pt x="548" y="203"/>
                      <a:pt x="547" y="203"/>
                    </a:cubicBezTo>
                    <a:cubicBezTo>
                      <a:pt x="545" y="205"/>
                      <a:pt x="544" y="202"/>
                      <a:pt x="544" y="201"/>
                    </a:cubicBezTo>
                    <a:cubicBezTo>
                      <a:pt x="544" y="199"/>
                      <a:pt x="546" y="198"/>
                      <a:pt x="543" y="199"/>
                    </a:cubicBezTo>
                    <a:cubicBezTo>
                      <a:pt x="540" y="200"/>
                      <a:pt x="544" y="202"/>
                      <a:pt x="540" y="202"/>
                    </a:cubicBezTo>
                    <a:cubicBezTo>
                      <a:pt x="539" y="202"/>
                      <a:pt x="541" y="197"/>
                      <a:pt x="540" y="196"/>
                    </a:cubicBezTo>
                    <a:cubicBezTo>
                      <a:pt x="540" y="197"/>
                      <a:pt x="529" y="197"/>
                      <a:pt x="534" y="194"/>
                    </a:cubicBezTo>
                    <a:cubicBezTo>
                      <a:pt x="538" y="191"/>
                      <a:pt x="542" y="188"/>
                      <a:pt x="546" y="185"/>
                    </a:cubicBezTo>
                    <a:cubicBezTo>
                      <a:pt x="547" y="184"/>
                      <a:pt x="548" y="182"/>
                      <a:pt x="549" y="181"/>
                    </a:cubicBezTo>
                    <a:cubicBezTo>
                      <a:pt x="552" y="179"/>
                      <a:pt x="555" y="177"/>
                      <a:pt x="557" y="175"/>
                    </a:cubicBezTo>
                    <a:cubicBezTo>
                      <a:pt x="558" y="174"/>
                      <a:pt x="559" y="172"/>
                      <a:pt x="561" y="171"/>
                    </a:cubicBezTo>
                    <a:cubicBezTo>
                      <a:pt x="563" y="169"/>
                      <a:pt x="565" y="167"/>
                      <a:pt x="567" y="165"/>
                    </a:cubicBezTo>
                    <a:cubicBezTo>
                      <a:pt x="571" y="162"/>
                      <a:pt x="577" y="162"/>
                      <a:pt x="582" y="162"/>
                    </a:cubicBezTo>
                    <a:cubicBezTo>
                      <a:pt x="583" y="162"/>
                      <a:pt x="584" y="162"/>
                      <a:pt x="585" y="162"/>
                    </a:cubicBezTo>
                    <a:cubicBezTo>
                      <a:pt x="586" y="163"/>
                      <a:pt x="586" y="164"/>
                      <a:pt x="587" y="164"/>
                    </a:cubicBezTo>
                    <a:cubicBezTo>
                      <a:pt x="588" y="163"/>
                      <a:pt x="590" y="163"/>
                      <a:pt x="591" y="162"/>
                    </a:cubicBezTo>
                    <a:cubicBezTo>
                      <a:pt x="592" y="162"/>
                      <a:pt x="593" y="163"/>
                      <a:pt x="594" y="163"/>
                    </a:cubicBezTo>
                    <a:cubicBezTo>
                      <a:pt x="595" y="163"/>
                      <a:pt x="596" y="163"/>
                      <a:pt x="597" y="163"/>
                    </a:cubicBezTo>
                    <a:cubicBezTo>
                      <a:pt x="597" y="162"/>
                      <a:pt x="598" y="163"/>
                      <a:pt x="599" y="163"/>
                    </a:cubicBezTo>
                    <a:cubicBezTo>
                      <a:pt x="601" y="163"/>
                      <a:pt x="601" y="160"/>
                      <a:pt x="604" y="160"/>
                    </a:cubicBezTo>
                    <a:cubicBezTo>
                      <a:pt x="605" y="160"/>
                      <a:pt x="607" y="160"/>
                      <a:pt x="608" y="160"/>
                    </a:cubicBezTo>
                    <a:cubicBezTo>
                      <a:pt x="609" y="161"/>
                      <a:pt x="610" y="162"/>
                      <a:pt x="611" y="162"/>
                    </a:cubicBezTo>
                    <a:cubicBezTo>
                      <a:pt x="612" y="163"/>
                      <a:pt x="616" y="161"/>
                      <a:pt x="616" y="164"/>
                    </a:cubicBezTo>
                    <a:cubicBezTo>
                      <a:pt x="616" y="164"/>
                      <a:pt x="613" y="164"/>
                      <a:pt x="613" y="165"/>
                    </a:cubicBezTo>
                    <a:cubicBezTo>
                      <a:pt x="612" y="167"/>
                      <a:pt x="616" y="166"/>
                      <a:pt x="616" y="166"/>
                    </a:cubicBezTo>
                    <a:cubicBezTo>
                      <a:pt x="618" y="166"/>
                      <a:pt x="620" y="166"/>
                      <a:pt x="621" y="166"/>
                    </a:cubicBezTo>
                    <a:cubicBezTo>
                      <a:pt x="622" y="165"/>
                      <a:pt x="622" y="165"/>
                      <a:pt x="623" y="164"/>
                    </a:cubicBezTo>
                    <a:cubicBezTo>
                      <a:pt x="624" y="164"/>
                      <a:pt x="625" y="165"/>
                      <a:pt x="627" y="165"/>
                    </a:cubicBezTo>
                    <a:cubicBezTo>
                      <a:pt x="628" y="165"/>
                      <a:pt x="635" y="163"/>
                      <a:pt x="631" y="162"/>
                    </a:cubicBezTo>
                    <a:cubicBezTo>
                      <a:pt x="629" y="162"/>
                      <a:pt x="628" y="163"/>
                      <a:pt x="628" y="160"/>
                    </a:cubicBezTo>
                    <a:cubicBezTo>
                      <a:pt x="628" y="159"/>
                      <a:pt x="630" y="156"/>
                      <a:pt x="631" y="155"/>
                    </a:cubicBezTo>
                    <a:cubicBezTo>
                      <a:pt x="633" y="154"/>
                      <a:pt x="634" y="153"/>
                      <a:pt x="636" y="151"/>
                    </a:cubicBezTo>
                    <a:cubicBezTo>
                      <a:pt x="637" y="150"/>
                      <a:pt x="639" y="150"/>
                      <a:pt x="640" y="148"/>
                    </a:cubicBezTo>
                    <a:cubicBezTo>
                      <a:pt x="641" y="146"/>
                      <a:pt x="642" y="145"/>
                      <a:pt x="644" y="145"/>
                    </a:cubicBezTo>
                    <a:cubicBezTo>
                      <a:pt x="646" y="145"/>
                      <a:pt x="649" y="144"/>
                      <a:pt x="651" y="144"/>
                    </a:cubicBezTo>
                    <a:cubicBezTo>
                      <a:pt x="653" y="144"/>
                      <a:pt x="654" y="146"/>
                      <a:pt x="655" y="146"/>
                    </a:cubicBezTo>
                    <a:cubicBezTo>
                      <a:pt x="656" y="145"/>
                      <a:pt x="657" y="143"/>
                      <a:pt x="658" y="144"/>
                    </a:cubicBezTo>
                    <a:cubicBezTo>
                      <a:pt x="659" y="145"/>
                      <a:pt x="656" y="148"/>
                      <a:pt x="656" y="149"/>
                    </a:cubicBezTo>
                    <a:cubicBezTo>
                      <a:pt x="656" y="151"/>
                      <a:pt x="657" y="149"/>
                      <a:pt x="659" y="150"/>
                    </a:cubicBezTo>
                    <a:cubicBezTo>
                      <a:pt x="659" y="150"/>
                      <a:pt x="657" y="152"/>
                      <a:pt x="657" y="153"/>
                    </a:cubicBezTo>
                    <a:cubicBezTo>
                      <a:pt x="657" y="154"/>
                      <a:pt x="664" y="149"/>
                      <a:pt x="664" y="149"/>
                    </a:cubicBezTo>
                    <a:cubicBezTo>
                      <a:pt x="665" y="148"/>
                      <a:pt x="666" y="147"/>
                      <a:pt x="668" y="146"/>
                    </a:cubicBezTo>
                    <a:cubicBezTo>
                      <a:pt x="669" y="145"/>
                      <a:pt x="672" y="147"/>
                      <a:pt x="672" y="145"/>
                    </a:cubicBezTo>
                    <a:cubicBezTo>
                      <a:pt x="671" y="143"/>
                      <a:pt x="672" y="139"/>
                      <a:pt x="675" y="139"/>
                    </a:cubicBezTo>
                    <a:cubicBezTo>
                      <a:pt x="676" y="138"/>
                      <a:pt x="678" y="137"/>
                      <a:pt x="679" y="138"/>
                    </a:cubicBezTo>
                    <a:cubicBezTo>
                      <a:pt x="680" y="138"/>
                      <a:pt x="682" y="140"/>
                      <a:pt x="683" y="139"/>
                    </a:cubicBezTo>
                    <a:cubicBezTo>
                      <a:pt x="681" y="140"/>
                      <a:pt x="678" y="139"/>
                      <a:pt x="677" y="142"/>
                    </a:cubicBezTo>
                    <a:cubicBezTo>
                      <a:pt x="677" y="143"/>
                      <a:pt x="677" y="144"/>
                      <a:pt x="677" y="145"/>
                    </a:cubicBezTo>
                    <a:cubicBezTo>
                      <a:pt x="677" y="146"/>
                      <a:pt x="675" y="146"/>
                      <a:pt x="676" y="147"/>
                    </a:cubicBezTo>
                    <a:cubicBezTo>
                      <a:pt x="676" y="148"/>
                      <a:pt x="677" y="148"/>
                      <a:pt x="676" y="149"/>
                    </a:cubicBezTo>
                    <a:cubicBezTo>
                      <a:pt x="675" y="149"/>
                      <a:pt x="674" y="150"/>
                      <a:pt x="675" y="151"/>
                    </a:cubicBezTo>
                    <a:cubicBezTo>
                      <a:pt x="675" y="151"/>
                      <a:pt x="669" y="153"/>
                      <a:pt x="669" y="154"/>
                    </a:cubicBezTo>
                    <a:cubicBezTo>
                      <a:pt x="667" y="155"/>
                      <a:pt x="666" y="157"/>
                      <a:pt x="664" y="158"/>
                    </a:cubicBezTo>
                    <a:cubicBezTo>
                      <a:pt x="662" y="160"/>
                      <a:pt x="660" y="161"/>
                      <a:pt x="658" y="163"/>
                    </a:cubicBezTo>
                    <a:cubicBezTo>
                      <a:pt x="654" y="166"/>
                      <a:pt x="651" y="173"/>
                      <a:pt x="646" y="173"/>
                    </a:cubicBezTo>
                    <a:cubicBezTo>
                      <a:pt x="645" y="173"/>
                      <a:pt x="641" y="174"/>
                      <a:pt x="641" y="175"/>
                    </a:cubicBezTo>
                    <a:cubicBezTo>
                      <a:pt x="641" y="178"/>
                      <a:pt x="641" y="179"/>
                      <a:pt x="638" y="181"/>
                    </a:cubicBezTo>
                    <a:cubicBezTo>
                      <a:pt x="634" y="184"/>
                      <a:pt x="634" y="190"/>
                      <a:pt x="635" y="195"/>
                    </a:cubicBezTo>
                    <a:cubicBezTo>
                      <a:pt x="636" y="200"/>
                      <a:pt x="635" y="206"/>
                      <a:pt x="638" y="210"/>
                    </a:cubicBezTo>
                    <a:cubicBezTo>
                      <a:pt x="639" y="212"/>
                      <a:pt x="639" y="215"/>
                      <a:pt x="639" y="217"/>
                    </a:cubicBezTo>
                    <a:cubicBezTo>
                      <a:pt x="639" y="217"/>
                      <a:pt x="639" y="219"/>
                      <a:pt x="640" y="219"/>
                    </a:cubicBezTo>
                    <a:cubicBezTo>
                      <a:pt x="641" y="219"/>
                      <a:pt x="639" y="222"/>
                      <a:pt x="640" y="222"/>
                    </a:cubicBezTo>
                    <a:cubicBezTo>
                      <a:pt x="640" y="222"/>
                      <a:pt x="645" y="218"/>
                      <a:pt x="645" y="217"/>
                    </a:cubicBezTo>
                    <a:cubicBezTo>
                      <a:pt x="647" y="215"/>
                      <a:pt x="648" y="213"/>
                      <a:pt x="649" y="210"/>
                    </a:cubicBezTo>
                    <a:cubicBezTo>
                      <a:pt x="650" y="208"/>
                      <a:pt x="654" y="206"/>
                      <a:pt x="655" y="206"/>
                    </a:cubicBezTo>
                    <a:cubicBezTo>
                      <a:pt x="658" y="208"/>
                      <a:pt x="655" y="202"/>
                      <a:pt x="656" y="201"/>
                    </a:cubicBezTo>
                    <a:cubicBezTo>
                      <a:pt x="658" y="198"/>
                      <a:pt x="659" y="197"/>
                      <a:pt x="662" y="197"/>
                    </a:cubicBezTo>
                    <a:cubicBezTo>
                      <a:pt x="665" y="197"/>
                      <a:pt x="669" y="197"/>
                      <a:pt x="667" y="194"/>
                    </a:cubicBezTo>
                    <a:cubicBezTo>
                      <a:pt x="664" y="191"/>
                      <a:pt x="666" y="188"/>
                      <a:pt x="669" y="186"/>
                    </a:cubicBezTo>
                    <a:cubicBezTo>
                      <a:pt x="670" y="185"/>
                      <a:pt x="670" y="187"/>
                      <a:pt x="671" y="187"/>
                    </a:cubicBezTo>
                    <a:cubicBezTo>
                      <a:pt x="673" y="187"/>
                      <a:pt x="673" y="184"/>
                      <a:pt x="673" y="183"/>
                    </a:cubicBezTo>
                    <a:cubicBezTo>
                      <a:pt x="671" y="181"/>
                      <a:pt x="669" y="180"/>
                      <a:pt x="671" y="177"/>
                    </a:cubicBezTo>
                    <a:cubicBezTo>
                      <a:pt x="671" y="177"/>
                      <a:pt x="674" y="176"/>
                      <a:pt x="673" y="175"/>
                    </a:cubicBezTo>
                    <a:cubicBezTo>
                      <a:pt x="672" y="175"/>
                      <a:pt x="671" y="173"/>
                      <a:pt x="670" y="173"/>
                    </a:cubicBezTo>
                    <a:cubicBezTo>
                      <a:pt x="669" y="173"/>
                      <a:pt x="670" y="174"/>
                      <a:pt x="669" y="174"/>
                    </a:cubicBezTo>
                    <a:cubicBezTo>
                      <a:pt x="667" y="174"/>
                      <a:pt x="666" y="173"/>
                      <a:pt x="667" y="171"/>
                    </a:cubicBezTo>
                    <a:cubicBezTo>
                      <a:pt x="668" y="169"/>
                      <a:pt x="670" y="168"/>
                      <a:pt x="672" y="165"/>
                    </a:cubicBezTo>
                    <a:cubicBezTo>
                      <a:pt x="673" y="163"/>
                      <a:pt x="673" y="160"/>
                      <a:pt x="676" y="158"/>
                    </a:cubicBezTo>
                    <a:cubicBezTo>
                      <a:pt x="677" y="157"/>
                      <a:pt x="677" y="159"/>
                      <a:pt x="677" y="159"/>
                    </a:cubicBezTo>
                    <a:cubicBezTo>
                      <a:pt x="679" y="159"/>
                      <a:pt x="679" y="157"/>
                      <a:pt x="680" y="158"/>
                    </a:cubicBezTo>
                    <a:cubicBezTo>
                      <a:pt x="681" y="158"/>
                      <a:pt x="681" y="159"/>
                      <a:pt x="682" y="158"/>
                    </a:cubicBezTo>
                    <a:cubicBezTo>
                      <a:pt x="684" y="157"/>
                      <a:pt x="685" y="156"/>
                      <a:pt x="687" y="155"/>
                    </a:cubicBezTo>
                    <a:cubicBezTo>
                      <a:pt x="690" y="154"/>
                      <a:pt x="686" y="158"/>
                      <a:pt x="688" y="159"/>
                    </a:cubicBezTo>
                    <a:cubicBezTo>
                      <a:pt x="688" y="160"/>
                      <a:pt x="692" y="156"/>
                      <a:pt x="693" y="156"/>
                    </a:cubicBezTo>
                    <a:cubicBezTo>
                      <a:pt x="695" y="155"/>
                      <a:pt x="697" y="154"/>
                      <a:pt x="700" y="154"/>
                    </a:cubicBezTo>
                    <a:cubicBezTo>
                      <a:pt x="702" y="154"/>
                      <a:pt x="704" y="154"/>
                      <a:pt x="705" y="156"/>
                    </a:cubicBezTo>
                    <a:cubicBezTo>
                      <a:pt x="706" y="156"/>
                      <a:pt x="707" y="157"/>
                      <a:pt x="708" y="158"/>
                    </a:cubicBezTo>
                    <a:cubicBezTo>
                      <a:pt x="709" y="159"/>
                      <a:pt x="709" y="156"/>
                      <a:pt x="710" y="156"/>
                    </a:cubicBezTo>
                    <a:cubicBezTo>
                      <a:pt x="718" y="149"/>
                      <a:pt x="727" y="146"/>
                      <a:pt x="736" y="142"/>
                    </a:cubicBezTo>
                    <a:cubicBezTo>
                      <a:pt x="738" y="141"/>
                      <a:pt x="741" y="140"/>
                      <a:pt x="742" y="138"/>
                    </a:cubicBezTo>
                    <a:cubicBezTo>
                      <a:pt x="743" y="136"/>
                      <a:pt x="743" y="139"/>
                      <a:pt x="745" y="139"/>
                    </a:cubicBezTo>
                    <a:cubicBezTo>
                      <a:pt x="746" y="139"/>
                      <a:pt x="748" y="139"/>
                      <a:pt x="749" y="139"/>
                    </a:cubicBezTo>
                    <a:cubicBezTo>
                      <a:pt x="750" y="140"/>
                      <a:pt x="751" y="141"/>
                      <a:pt x="752" y="141"/>
                    </a:cubicBezTo>
                    <a:cubicBezTo>
                      <a:pt x="755" y="141"/>
                      <a:pt x="755" y="137"/>
                      <a:pt x="754" y="135"/>
                    </a:cubicBezTo>
                    <a:cubicBezTo>
                      <a:pt x="754" y="134"/>
                      <a:pt x="750" y="132"/>
                      <a:pt x="751" y="131"/>
                    </a:cubicBezTo>
                    <a:cubicBezTo>
                      <a:pt x="751" y="130"/>
                      <a:pt x="749" y="125"/>
                      <a:pt x="748" y="126"/>
                    </a:cubicBezTo>
                    <a:cubicBezTo>
                      <a:pt x="748" y="127"/>
                      <a:pt x="746" y="125"/>
                      <a:pt x="745" y="125"/>
                    </a:cubicBezTo>
                    <a:cubicBezTo>
                      <a:pt x="744" y="124"/>
                      <a:pt x="745" y="123"/>
                      <a:pt x="744" y="122"/>
                    </a:cubicBezTo>
                    <a:cubicBezTo>
                      <a:pt x="744" y="121"/>
                      <a:pt x="741" y="122"/>
                      <a:pt x="741" y="122"/>
                    </a:cubicBezTo>
                    <a:cubicBezTo>
                      <a:pt x="740" y="123"/>
                      <a:pt x="737" y="122"/>
                      <a:pt x="738" y="121"/>
                    </a:cubicBezTo>
                    <a:cubicBezTo>
                      <a:pt x="738" y="120"/>
                      <a:pt x="741" y="121"/>
                      <a:pt x="742" y="121"/>
                    </a:cubicBezTo>
                    <a:cubicBezTo>
                      <a:pt x="742" y="120"/>
                      <a:pt x="739" y="120"/>
                      <a:pt x="739" y="120"/>
                    </a:cubicBezTo>
                    <a:cubicBezTo>
                      <a:pt x="739" y="117"/>
                      <a:pt x="747" y="122"/>
                      <a:pt x="748" y="122"/>
                    </a:cubicBezTo>
                    <a:cubicBezTo>
                      <a:pt x="750" y="123"/>
                      <a:pt x="756" y="121"/>
                      <a:pt x="758" y="119"/>
                    </a:cubicBezTo>
                    <a:cubicBezTo>
                      <a:pt x="759" y="118"/>
                      <a:pt x="757" y="118"/>
                      <a:pt x="757" y="117"/>
                    </a:cubicBezTo>
                    <a:cubicBezTo>
                      <a:pt x="757" y="117"/>
                      <a:pt x="761" y="117"/>
                      <a:pt x="761" y="115"/>
                    </a:cubicBezTo>
                    <a:cubicBezTo>
                      <a:pt x="760" y="114"/>
                      <a:pt x="758" y="113"/>
                      <a:pt x="759" y="112"/>
                    </a:cubicBezTo>
                    <a:cubicBezTo>
                      <a:pt x="759" y="111"/>
                      <a:pt x="761" y="109"/>
                      <a:pt x="761" y="109"/>
                    </a:cubicBezTo>
                    <a:cubicBezTo>
                      <a:pt x="762" y="109"/>
                      <a:pt x="766" y="110"/>
                      <a:pt x="766" y="109"/>
                    </a:cubicBezTo>
                    <a:cubicBezTo>
                      <a:pt x="765" y="110"/>
                      <a:pt x="762" y="111"/>
                      <a:pt x="763" y="112"/>
                    </a:cubicBezTo>
                    <a:cubicBezTo>
                      <a:pt x="764" y="113"/>
                      <a:pt x="765" y="114"/>
                      <a:pt x="765" y="114"/>
                    </a:cubicBezTo>
                    <a:cubicBezTo>
                      <a:pt x="765" y="115"/>
                      <a:pt x="764" y="116"/>
                      <a:pt x="765" y="116"/>
                    </a:cubicBezTo>
                    <a:cubicBezTo>
                      <a:pt x="767" y="116"/>
                      <a:pt x="769" y="115"/>
                      <a:pt x="771" y="115"/>
                    </a:cubicBezTo>
                    <a:cubicBezTo>
                      <a:pt x="773" y="115"/>
                      <a:pt x="775" y="115"/>
                      <a:pt x="777" y="116"/>
                    </a:cubicBezTo>
                    <a:cubicBezTo>
                      <a:pt x="778" y="117"/>
                      <a:pt x="778" y="117"/>
                      <a:pt x="778" y="119"/>
                    </a:cubicBezTo>
                    <a:cubicBezTo>
                      <a:pt x="778" y="120"/>
                      <a:pt x="782" y="121"/>
                      <a:pt x="783" y="121"/>
                    </a:cubicBezTo>
                    <a:cubicBezTo>
                      <a:pt x="784" y="122"/>
                      <a:pt x="790" y="126"/>
                      <a:pt x="791" y="124"/>
                    </a:cubicBezTo>
                    <a:cubicBezTo>
                      <a:pt x="790" y="127"/>
                      <a:pt x="796" y="124"/>
                      <a:pt x="796" y="124"/>
                    </a:cubicBezTo>
                    <a:cubicBezTo>
                      <a:pt x="796" y="123"/>
                      <a:pt x="792" y="123"/>
                      <a:pt x="793" y="122"/>
                    </a:cubicBezTo>
                    <a:cubicBezTo>
                      <a:pt x="793" y="120"/>
                      <a:pt x="796" y="122"/>
                      <a:pt x="796" y="122"/>
                    </a:cubicBezTo>
                    <a:cubicBezTo>
                      <a:pt x="796" y="120"/>
                      <a:pt x="795" y="122"/>
                      <a:pt x="796" y="119"/>
                    </a:cubicBezTo>
                    <a:cubicBezTo>
                      <a:pt x="796" y="118"/>
                      <a:pt x="796" y="117"/>
                      <a:pt x="796" y="116"/>
                    </a:cubicBezTo>
                    <a:cubicBezTo>
                      <a:pt x="795" y="115"/>
                      <a:pt x="794" y="115"/>
                      <a:pt x="794" y="114"/>
                    </a:cubicBezTo>
                    <a:cubicBezTo>
                      <a:pt x="794" y="114"/>
                      <a:pt x="801" y="116"/>
                      <a:pt x="802" y="115"/>
                    </a:cubicBezTo>
                    <a:cubicBezTo>
                      <a:pt x="802" y="115"/>
                      <a:pt x="801" y="114"/>
                      <a:pt x="800" y="114"/>
                    </a:cubicBezTo>
                    <a:cubicBezTo>
                      <a:pt x="801" y="114"/>
                      <a:pt x="804" y="115"/>
                      <a:pt x="805" y="114"/>
                    </a:cubicBezTo>
                    <a:cubicBezTo>
                      <a:pt x="805" y="113"/>
                      <a:pt x="805" y="112"/>
                      <a:pt x="806" y="111"/>
                    </a:cubicBezTo>
                    <a:cubicBezTo>
                      <a:pt x="806" y="111"/>
                      <a:pt x="809" y="111"/>
                      <a:pt x="809" y="111"/>
                    </a:cubicBezTo>
                    <a:cubicBezTo>
                      <a:pt x="809" y="111"/>
                      <a:pt x="808" y="111"/>
                      <a:pt x="808" y="111"/>
                    </a:cubicBezTo>
                    <a:cubicBezTo>
                      <a:pt x="807" y="110"/>
                      <a:pt x="810" y="111"/>
                      <a:pt x="808" y="111"/>
                    </a:cubicBezTo>
                    <a:close/>
                    <a:moveTo>
                      <a:pt x="405" y="192"/>
                    </a:moveTo>
                    <a:cubicBezTo>
                      <a:pt x="404" y="195"/>
                      <a:pt x="404" y="198"/>
                      <a:pt x="403" y="201"/>
                    </a:cubicBezTo>
                    <a:cubicBezTo>
                      <a:pt x="402" y="203"/>
                      <a:pt x="399" y="202"/>
                      <a:pt x="399" y="204"/>
                    </a:cubicBezTo>
                    <a:cubicBezTo>
                      <a:pt x="399" y="204"/>
                      <a:pt x="401" y="204"/>
                      <a:pt x="402" y="204"/>
                    </a:cubicBezTo>
                    <a:cubicBezTo>
                      <a:pt x="402" y="204"/>
                      <a:pt x="393" y="210"/>
                      <a:pt x="392" y="210"/>
                    </a:cubicBezTo>
                    <a:cubicBezTo>
                      <a:pt x="391" y="211"/>
                      <a:pt x="390" y="212"/>
                      <a:pt x="388" y="212"/>
                    </a:cubicBezTo>
                    <a:cubicBezTo>
                      <a:pt x="387" y="213"/>
                      <a:pt x="386" y="215"/>
                      <a:pt x="385" y="216"/>
                    </a:cubicBezTo>
                    <a:cubicBezTo>
                      <a:pt x="384" y="217"/>
                      <a:pt x="377" y="219"/>
                      <a:pt x="376" y="217"/>
                    </a:cubicBezTo>
                    <a:cubicBezTo>
                      <a:pt x="376" y="216"/>
                      <a:pt x="383" y="214"/>
                      <a:pt x="384" y="213"/>
                    </a:cubicBezTo>
                    <a:cubicBezTo>
                      <a:pt x="387" y="211"/>
                      <a:pt x="390" y="208"/>
                      <a:pt x="393" y="206"/>
                    </a:cubicBezTo>
                    <a:cubicBezTo>
                      <a:pt x="395" y="205"/>
                      <a:pt x="395" y="202"/>
                      <a:pt x="397" y="201"/>
                    </a:cubicBezTo>
                    <a:cubicBezTo>
                      <a:pt x="399" y="198"/>
                      <a:pt x="401" y="195"/>
                      <a:pt x="402" y="192"/>
                    </a:cubicBezTo>
                    <a:cubicBezTo>
                      <a:pt x="402" y="190"/>
                      <a:pt x="402" y="190"/>
                      <a:pt x="404" y="189"/>
                    </a:cubicBezTo>
                    <a:cubicBezTo>
                      <a:pt x="406" y="188"/>
                      <a:pt x="405" y="191"/>
                      <a:pt x="405" y="192"/>
                    </a:cubicBezTo>
                    <a:cubicBezTo>
                      <a:pt x="404" y="193"/>
                      <a:pt x="405" y="190"/>
                      <a:pt x="405" y="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  <p:sp>
            <p:nvSpPr>
              <p:cNvPr id="319" name="Freeform 721">
                <a:extLst>
                  <a:ext uri="{FF2B5EF4-FFF2-40B4-BE49-F238E27FC236}">
                    <a16:creationId xmlns:a16="http://schemas.microsoft.com/office/drawing/2014/main" id="{BD049E69-63E1-48B6-8CDB-73D5AD6519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99286" y="3113302"/>
                <a:ext cx="70082" cy="149721"/>
              </a:xfrm>
              <a:custGeom>
                <a:avLst/>
                <a:gdLst>
                  <a:gd name="T0" fmla="*/ 13 w 15"/>
                  <a:gd name="T1" fmla="*/ 26 h 32"/>
                  <a:gd name="T2" fmla="*/ 10 w 15"/>
                  <a:gd name="T3" fmla="*/ 13 h 32"/>
                  <a:gd name="T4" fmla="*/ 9 w 15"/>
                  <a:gd name="T5" fmla="*/ 4 h 32"/>
                  <a:gd name="T6" fmla="*/ 9 w 15"/>
                  <a:gd name="T7" fmla="*/ 1 h 32"/>
                  <a:gd name="T8" fmla="*/ 6 w 15"/>
                  <a:gd name="T9" fmla="*/ 0 h 32"/>
                  <a:gd name="T10" fmla="*/ 7 w 15"/>
                  <a:gd name="T11" fmla="*/ 3 h 32"/>
                  <a:gd name="T12" fmla="*/ 6 w 15"/>
                  <a:gd name="T13" fmla="*/ 5 h 32"/>
                  <a:gd name="T14" fmla="*/ 4 w 15"/>
                  <a:gd name="T15" fmla="*/ 7 h 32"/>
                  <a:gd name="T16" fmla="*/ 4 w 15"/>
                  <a:gd name="T17" fmla="*/ 9 h 32"/>
                  <a:gd name="T18" fmla="*/ 2 w 15"/>
                  <a:gd name="T19" fmla="*/ 14 h 32"/>
                  <a:gd name="T20" fmla="*/ 5 w 15"/>
                  <a:gd name="T21" fmla="*/ 20 h 32"/>
                  <a:gd name="T22" fmla="*/ 6 w 15"/>
                  <a:gd name="T23" fmla="*/ 32 h 32"/>
                  <a:gd name="T24" fmla="*/ 15 w 15"/>
                  <a:gd name="T25" fmla="*/ 32 h 32"/>
                  <a:gd name="T26" fmla="*/ 13 w 15"/>
                  <a:gd name="T27" fmla="*/ 26 h 32"/>
                  <a:gd name="T28" fmla="*/ 13 w 15"/>
                  <a:gd name="T29" fmla="*/ 2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32">
                    <a:moveTo>
                      <a:pt x="13" y="26"/>
                    </a:moveTo>
                    <a:cubicBezTo>
                      <a:pt x="13" y="22"/>
                      <a:pt x="9" y="17"/>
                      <a:pt x="10" y="13"/>
                    </a:cubicBezTo>
                    <a:cubicBezTo>
                      <a:pt x="11" y="10"/>
                      <a:pt x="10" y="7"/>
                      <a:pt x="9" y="4"/>
                    </a:cubicBezTo>
                    <a:cubicBezTo>
                      <a:pt x="9" y="3"/>
                      <a:pt x="9" y="2"/>
                      <a:pt x="9" y="1"/>
                    </a:cubicBezTo>
                    <a:cubicBezTo>
                      <a:pt x="9" y="0"/>
                      <a:pt x="6" y="0"/>
                      <a:pt x="6" y="0"/>
                    </a:cubicBezTo>
                    <a:cubicBezTo>
                      <a:pt x="6" y="1"/>
                      <a:pt x="7" y="2"/>
                      <a:pt x="7" y="3"/>
                    </a:cubicBezTo>
                    <a:cubicBezTo>
                      <a:pt x="8" y="4"/>
                      <a:pt x="7" y="5"/>
                      <a:pt x="6" y="5"/>
                    </a:cubicBezTo>
                    <a:cubicBezTo>
                      <a:pt x="5" y="6"/>
                      <a:pt x="4" y="5"/>
                      <a:pt x="4" y="7"/>
                    </a:cubicBezTo>
                    <a:cubicBezTo>
                      <a:pt x="4" y="8"/>
                      <a:pt x="4" y="8"/>
                      <a:pt x="4" y="9"/>
                    </a:cubicBezTo>
                    <a:cubicBezTo>
                      <a:pt x="3" y="11"/>
                      <a:pt x="3" y="13"/>
                      <a:pt x="2" y="14"/>
                    </a:cubicBezTo>
                    <a:cubicBezTo>
                      <a:pt x="0" y="15"/>
                      <a:pt x="4" y="18"/>
                      <a:pt x="5" y="20"/>
                    </a:cubicBezTo>
                    <a:cubicBezTo>
                      <a:pt x="6" y="22"/>
                      <a:pt x="4" y="32"/>
                      <a:pt x="6" y="32"/>
                    </a:cubicBezTo>
                    <a:cubicBezTo>
                      <a:pt x="9" y="32"/>
                      <a:pt x="12" y="32"/>
                      <a:pt x="15" y="32"/>
                    </a:cubicBezTo>
                    <a:cubicBezTo>
                      <a:pt x="15" y="30"/>
                      <a:pt x="14" y="28"/>
                      <a:pt x="13" y="26"/>
                    </a:cubicBezTo>
                    <a:cubicBezTo>
                      <a:pt x="13" y="24"/>
                      <a:pt x="13" y="27"/>
                      <a:pt x="13" y="2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0" name="Freeform 722">
                <a:extLst>
                  <a:ext uri="{FF2B5EF4-FFF2-40B4-BE49-F238E27FC236}">
                    <a16:creationId xmlns:a16="http://schemas.microsoft.com/office/drawing/2014/main" id="{902331F1-1A50-40F5-967E-130957B652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13620" y="3258242"/>
                <a:ext cx="70082" cy="108308"/>
              </a:xfrm>
              <a:custGeom>
                <a:avLst/>
                <a:gdLst>
                  <a:gd name="T0" fmla="*/ 12 w 15"/>
                  <a:gd name="T1" fmla="*/ 1 h 23"/>
                  <a:gd name="T2" fmla="*/ 7 w 15"/>
                  <a:gd name="T3" fmla="*/ 1 h 23"/>
                  <a:gd name="T4" fmla="*/ 2 w 15"/>
                  <a:gd name="T5" fmla="*/ 2 h 23"/>
                  <a:gd name="T6" fmla="*/ 1 w 15"/>
                  <a:gd name="T7" fmla="*/ 7 h 23"/>
                  <a:gd name="T8" fmla="*/ 2 w 15"/>
                  <a:gd name="T9" fmla="*/ 11 h 23"/>
                  <a:gd name="T10" fmla="*/ 1 w 15"/>
                  <a:gd name="T11" fmla="*/ 23 h 23"/>
                  <a:gd name="T12" fmla="*/ 4 w 15"/>
                  <a:gd name="T13" fmla="*/ 20 h 23"/>
                  <a:gd name="T14" fmla="*/ 7 w 15"/>
                  <a:gd name="T15" fmla="*/ 20 h 23"/>
                  <a:gd name="T16" fmla="*/ 9 w 15"/>
                  <a:gd name="T17" fmla="*/ 23 h 23"/>
                  <a:gd name="T18" fmla="*/ 9 w 15"/>
                  <a:gd name="T19" fmla="*/ 20 h 23"/>
                  <a:gd name="T20" fmla="*/ 6 w 15"/>
                  <a:gd name="T21" fmla="*/ 16 h 23"/>
                  <a:gd name="T22" fmla="*/ 4 w 15"/>
                  <a:gd name="T23" fmla="*/ 7 h 23"/>
                  <a:gd name="T24" fmla="*/ 9 w 15"/>
                  <a:gd name="T25" fmla="*/ 3 h 23"/>
                  <a:gd name="T26" fmla="*/ 15 w 15"/>
                  <a:gd name="T27" fmla="*/ 6 h 23"/>
                  <a:gd name="T28" fmla="*/ 12 w 15"/>
                  <a:gd name="T29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23">
                    <a:moveTo>
                      <a:pt x="12" y="1"/>
                    </a:moveTo>
                    <a:cubicBezTo>
                      <a:pt x="11" y="1"/>
                      <a:pt x="9" y="1"/>
                      <a:pt x="7" y="1"/>
                    </a:cubicBezTo>
                    <a:cubicBezTo>
                      <a:pt x="5" y="1"/>
                      <a:pt x="3" y="0"/>
                      <a:pt x="2" y="2"/>
                    </a:cubicBezTo>
                    <a:cubicBezTo>
                      <a:pt x="2" y="4"/>
                      <a:pt x="1" y="5"/>
                      <a:pt x="1" y="7"/>
                    </a:cubicBezTo>
                    <a:cubicBezTo>
                      <a:pt x="1" y="8"/>
                      <a:pt x="2" y="9"/>
                      <a:pt x="2" y="11"/>
                    </a:cubicBezTo>
                    <a:cubicBezTo>
                      <a:pt x="2" y="12"/>
                      <a:pt x="0" y="23"/>
                      <a:pt x="1" y="23"/>
                    </a:cubicBezTo>
                    <a:cubicBezTo>
                      <a:pt x="3" y="22"/>
                      <a:pt x="1" y="19"/>
                      <a:pt x="4" y="20"/>
                    </a:cubicBezTo>
                    <a:cubicBezTo>
                      <a:pt x="5" y="20"/>
                      <a:pt x="7" y="19"/>
                      <a:pt x="7" y="20"/>
                    </a:cubicBezTo>
                    <a:cubicBezTo>
                      <a:pt x="8" y="20"/>
                      <a:pt x="8" y="23"/>
                      <a:pt x="9" y="23"/>
                    </a:cubicBezTo>
                    <a:cubicBezTo>
                      <a:pt x="9" y="23"/>
                      <a:pt x="9" y="20"/>
                      <a:pt x="9" y="20"/>
                    </a:cubicBezTo>
                    <a:cubicBezTo>
                      <a:pt x="9" y="18"/>
                      <a:pt x="7" y="17"/>
                      <a:pt x="6" y="16"/>
                    </a:cubicBezTo>
                    <a:cubicBezTo>
                      <a:pt x="5" y="14"/>
                      <a:pt x="2" y="9"/>
                      <a:pt x="4" y="7"/>
                    </a:cubicBezTo>
                    <a:cubicBezTo>
                      <a:pt x="7" y="5"/>
                      <a:pt x="6" y="4"/>
                      <a:pt x="9" y="3"/>
                    </a:cubicBezTo>
                    <a:cubicBezTo>
                      <a:pt x="11" y="2"/>
                      <a:pt x="14" y="4"/>
                      <a:pt x="15" y="6"/>
                    </a:cubicBezTo>
                    <a:cubicBezTo>
                      <a:pt x="14" y="4"/>
                      <a:pt x="13" y="2"/>
                      <a:pt x="12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1" name="Freeform 723">
                <a:extLst>
                  <a:ext uri="{FF2B5EF4-FFF2-40B4-BE49-F238E27FC236}">
                    <a16:creationId xmlns:a16="http://schemas.microsoft.com/office/drawing/2014/main" id="{1E424D60-DDD6-49BB-BCA1-6F6B2CB6F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4097" y="3576798"/>
                <a:ext cx="98752" cy="117866"/>
              </a:xfrm>
              <a:custGeom>
                <a:avLst/>
                <a:gdLst>
                  <a:gd name="T0" fmla="*/ 5 w 21"/>
                  <a:gd name="T1" fmla="*/ 1 h 25"/>
                  <a:gd name="T2" fmla="*/ 4 w 21"/>
                  <a:gd name="T3" fmla="*/ 7 h 25"/>
                  <a:gd name="T4" fmla="*/ 1 w 21"/>
                  <a:gd name="T5" fmla="*/ 9 h 25"/>
                  <a:gd name="T6" fmla="*/ 3 w 21"/>
                  <a:gd name="T7" fmla="*/ 11 h 25"/>
                  <a:gd name="T8" fmla="*/ 2 w 21"/>
                  <a:gd name="T9" fmla="*/ 14 h 25"/>
                  <a:gd name="T10" fmla="*/ 3 w 21"/>
                  <a:gd name="T11" fmla="*/ 16 h 25"/>
                  <a:gd name="T12" fmla="*/ 1 w 21"/>
                  <a:gd name="T13" fmla="*/ 20 h 25"/>
                  <a:gd name="T14" fmla="*/ 3 w 21"/>
                  <a:gd name="T15" fmla="*/ 21 h 25"/>
                  <a:gd name="T16" fmla="*/ 0 w 21"/>
                  <a:gd name="T17" fmla="*/ 24 h 25"/>
                  <a:gd name="T18" fmla="*/ 2 w 21"/>
                  <a:gd name="T19" fmla="*/ 23 h 25"/>
                  <a:gd name="T20" fmla="*/ 3 w 21"/>
                  <a:gd name="T21" fmla="*/ 24 h 25"/>
                  <a:gd name="T22" fmla="*/ 6 w 21"/>
                  <a:gd name="T23" fmla="*/ 22 h 25"/>
                  <a:gd name="T24" fmla="*/ 8 w 21"/>
                  <a:gd name="T25" fmla="*/ 22 h 25"/>
                  <a:gd name="T26" fmla="*/ 9 w 21"/>
                  <a:gd name="T27" fmla="*/ 22 h 25"/>
                  <a:gd name="T28" fmla="*/ 12 w 21"/>
                  <a:gd name="T29" fmla="*/ 21 h 25"/>
                  <a:gd name="T30" fmla="*/ 14 w 21"/>
                  <a:gd name="T31" fmla="*/ 20 h 25"/>
                  <a:gd name="T32" fmla="*/ 17 w 21"/>
                  <a:gd name="T33" fmla="*/ 18 h 25"/>
                  <a:gd name="T34" fmla="*/ 20 w 21"/>
                  <a:gd name="T35" fmla="*/ 20 h 25"/>
                  <a:gd name="T36" fmla="*/ 19 w 21"/>
                  <a:gd name="T37" fmla="*/ 16 h 25"/>
                  <a:gd name="T38" fmla="*/ 17 w 21"/>
                  <a:gd name="T39" fmla="*/ 12 h 25"/>
                  <a:gd name="T40" fmla="*/ 12 w 21"/>
                  <a:gd name="T41" fmla="*/ 0 h 25"/>
                  <a:gd name="T42" fmla="*/ 5 w 21"/>
                  <a:gd name="T43" fmla="*/ 1 h 25"/>
                  <a:gd name="T44" fmla="*/ 5 w 21"/>
                  <a:gd name="T4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" h="25">
                    <a:moveTo>
                      <a:pt x="5" y="1"/>
                    </a:moveTo>
                    <a:cubicBezTo>
                      <a:pt x="3" y="2"/>
                      <a:pt x="2" y="6"/>
                      <a:pt x="4" y="7"/>
                    </a:cubicBezTo>
                    <a:cubicBezTo>
                      <a:pt x="7" y="10"/>
                      <a:pt x="2" y="9"/>
                      <a:pt x="1" y="9"/>
                    </a:cubicBezTo>
                    <a:cubicBezTo>
                      <a:pt x="1" y="9"/>
                      <a:pt x="3" y="11"/>
                      <a:pt x="3" y="11"/>
                    </a:cubicBezTo>
                    <a:cubicBezTo>
                      <a:pt x="3" y="13"/>
                      <a:pt x="3" y="13"/>
                      <a:pt x="2" y="14"/>
                    </a:cubicBezTo>
                    <a:cubicBezTo>
                      <a:pt x="2" y="14"/>
                      <a:pt x="3" y="15"/>
                      <a:pt x="3" y="16"/>
                    </a:cubicBezTo>
                    <a:cubicBezTo>
                      <a:pt x="2" y="17"/>
                      <a:pt x="1" y="20"/>
                      <a:pt x="1" y="20"/>
                    </a:cubicBezTo>
                    <a:cubicBezTo>
                      <a:pt x="1" y="20"/>
                      <a:pt x="3" y="20"/>
                      <a:pt x="3" y="21"/>
                    </a:cubicBezTo>
                    <a:cubicBezTo>
                      <a:pt x="3" y="21"/>
                      <a:pt x="0" y="23"/>
                      <a:pt x="0" y="24"/>
                    </a:cubicBezTo>
                    <a:cubicBezTo>
                      <a:pt x="0" y="24"/>
                      <a:pt x="1" y="23"/>
                      <a:pt x="2" y="23"/>
                    </a:cubicBezTo>
                    <a:cubicBezTo>
                      <a:pt x="2" y="23"/>
                      <a:pt x="2" y="25"/>
                      <a:pt x="3" y="24"/>
                    </a:cubicBezTo>
                    <a:cubicBezTo>
                      <a:pt x="3" y="23"/>
                      <a:pt x="5" y="22"/>
                      <a:pt x="6" y="22"/>
                    </a:cubicBezTo>
                    <a:cubicBezTo>
                      <a:pt x="7" y="21"/>
                      <a:pt x="6" y="25"/>
                      <a:pt x="8" y="22"/>
                    </a:cubicBezTo>
                    <a:cubicBezTo>
                      <a:pt x="9" y="20"/>
                      <a:pt x="8" y="21"/>
                      <a:pt x="9" y="22"/>
                    </a:cubicBezTo>
                    <a:cubicBezTo>
                      <a:pt x="9" y="22"/>
                      <a:pt x="12" y="21"/>
                      <a:pt x="12" y="21"/>
                    </a:cubicBezTo>
                    <a:cubicBezTo>
                      <a:pt x="14" y="21"/>
                      <a:pt x="13" y="20"/>
                      <a:pt x="14" y="20"/>
                    </a:cubicBezTo>
                    <a:cubicBezTo>
                      <a:pt x="16" y="20"/>
                      <a:pt x="16" y="19"/>
                      <a:pt x="17" y="18"/>
                    </a:cubicBezTo>
                    <a:cubicBezTo>
                      <a:pt x="18" y="16"/>
                      <a:pt x="19" y="19"/>
                      <a:pt x="20" y="20"/>
                    </a:cubicBezTo>
                    <a:cubicBezTo>
                      <a:pt x="21" y="20"/>
                      <a:pt x="19" y="16"/>
                      <a:pt x="19" y="16"/>
                    </a:cubicBezTo>
                    <a:cubicBezTo>
                      <a:pt x="18" y="15"/>
                      <a:pt x="17" y="14"/>
                      <a:pt x="17" y="12"/>
                    </a:cubicBezTo>
                    <a:cubicBezTo>
                      <a:pt x="17" y="7"/>
                      <a:pt x="14" y="4"/>
                      <a:pt x="12" y="0"/>
                    </a:cubicBezTo>
                    <a:cubicBezTo>
                      <a:pt x="10" y="2"/>
                      <a:pt x="8" y="1"/>
                      <a:pt x="5" y="1"/>
                    </a:cubicBezTo>
                    <a:cubicBezTo>
                      <a:pt x="5" y="2"/>
                      <a:pt x="6" y="1"/>
                      <a:pt x="5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2" name="Freeform 724">
                <a:extLst>
                  <a:ext uri="{FF2B5EF4-FFF2-40B4-BE49-F238E27FC236}">
                    <a16:creationId xmlns:a16="http://schemas.microsoft.com/office/drawing/2014/main" id="{56F6A090-E349-43B7-936F-E9BB7E24D5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02685" y="3450969"/>
                <a:ext cx="149721" cy="144943"/>
              </a:xfrm>
              <a:custGeom>
                <a:avLst/>
                <a:gdLst>
                  <a:gd name="T0" fmla="*/ 32 w 32"/>
                  <a:gd name="T1" fmla="*/ 3 h 31"/>
                  <a:gd name="T2" fmla="*/ 29 w 32"/>
                  <a:gd name="T3" fmla="*/ 1 h 31"/>
                  <a:gd name="T4" fmla="*/ 27 w 32"/>
                  <a:gd name="T5" fmla="*/ 4 h 31"/>
                  <a:gd name="T6" fmla="*/ 25 w 32"/>
                  <a:gd name="T7" fmla="*/ 5 h 31"/>
                  <a:gd name="T8" fmla="*/ 20 w 32"/>
                  <a:gd name="T9" fmla="*/ 6 h 31"/>
                  <a:gd name="T10" fmla="*/ 20 w 32"/>
                  <a:gd name="T11" fmla="*/ 10 h 31"/>
                  <a:gd name="T12" fmla="*/ 13 w 32"/>
                  <a:gd name="T13" fmla="*/ 9 h 31"/>
                  <a:gd name="T14" fmla="*/ 10 w 32"/>
                  <a:gd name="T15" fmla="*/ 12 h 31"/>
                  <a:gd name="T16" fmla="*/ 0 w 32"/>
                  <a:gd name="T17" fmla="*/ 19 h 31"/>
                  <a:gd name="T18" fmla="*/ 6 w 32"/>
                  <a:gd name="T19" fmla="*/ 21 h 31"/>
                  <a:gd name="T20" fmla="*/ 5 w 32"/>
                  <a:gd name="T21" fmla="*/ 24 h 31"/>
                  <a:gd name="T22" fmla="*/ 6 w 32"/>
                  <a:gd name="T23" fmla="*/ 26 h 31"/>
                  <a:gd name="T24" fmla="*/ 3 w 32"/>
                  <a:gd name="T25" fmla="*/ 29 h 31"/>
                  <a:gd name="T26" fmla="*/ 5 w 32"/>
                  <a:gd name="T27" fmla="*/ 30 h 31"/>
                  <a:gd name="T28" fmla="*/ 5 w 32"/>
                  <a:gd name="T29" fmla="*/ 31 h 31"/>
                  <a:gd name="T30" fmla="*/ 9 w 32"/>
                  <a:gd name="T31" fmla="*/ 31 h 31"/>
                  <a:gd name="T32" fmla="*/ 12 w 32"/>
                  <a:gd name="T33" fmla="*/ 31 h 31"/>
                  <a:gd name="T34" fmla="*/ 14 w 32"/>
                  <a:gd name="T35" fmla="*/ 28 h 31"/>
                  <a:gd name="T36" fmla="*/ 21 w 32"/>
                  <a:gd name="T37" fmla="*/ 27 h 31"/>
                  <a:gd name="T38" fmla="*/ 16 w 32"/>
                  <a:gd name="T39" fmla="*/ 22 h 31"/>
                  <a:gd name="T40" fmla="*/ 20 w 32"/>
                  <a:gd name="T41" fmla="*/ 19 h 31"/>
                  <a:gd name="T42" fmla="*/ 27 w 32"/>
                  <a:gd name="T43" fmla="*/ 14 h 31"/>
                  <a:gd name="T44" fmla="*/ 27 w 32"/>
                  <a:gd name="T45" fmla="*/ 8 h 31"/>
                  <a:gd name="T46" fmla="*/ 32 w 32"/>
                  <a:gd name="T47" fmla="*/ 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2" h="31">
                    <a:moveTo>
                      <a:pt x="32" y="3"/>
                    </a:moveTo>
                    <a:cubicBezTo>
                      <a:pt x="31" y="2"/>
                      <a:pt x="30" y="0"/>
                      <a:pt x="29" y="1"/>
                    </a:cubicBezTo>
                    <a:cubicBezTo>
                      <a:pt x="28" y="1"/>
                      <a:pt x="28" y="3"/>
                      <a:pt x="27" y="4"/>
                    </a:cubicBezTo>
                    <a:cubicBezTo>
                      <a:pt x="27" y="4"/>
                      <a:pt x="26" y="3"/>
                      <a:pt x="25" y="5"/>
                    </a:cubicBezTo>
                    <a:cubicBezTo>
                      <a:pt x="24" y="6"/>
                      <a:pt x="22" y="6"/>
                      <a:pt x="20" y="6"/>
                    </a:cubicBezTo>
                    <a:cubicBezTo>
                      <a:pt x="18" y="7"/>
                      <a:pt x="22" y="9"/>
                      <a:pt x="20" y="10"/>
                    </a:cubicBezTo>
                    <a:cubicBezTo>
                      <a:pt x="17" y="11"/>
                      <a:pt x="16" y="9"/>
                      <a:pt x="13" y="9"/>
                    </a:cubicBezTo>
                    <a:cubicBezTo>
                      <a:pt x="12" y="8"/>
                      <a:pt x="10" y="11"/>
                      <a:pt x="10" y="12"/>
                    </a:cubicBezTo>
                    <a:cubicBezTo>
                      <a:pt x="7" y="15"/>
                      <a:pt x="1" y="15"/>
                      <a:pt x="0" y="19"/>
                    </a:cubicBezTo>
                    <a:cubicBezTo>
                      <a:pt x="0" y="19"/>
                      <a:pt x="6" y="21"/>
                      <a:pt x="6" y="21"/>
                    </a:cubicBezTo>
                    <a:cubicBezTo>
                      <a:pt x="6" y="22"/>
                      <a:pt x="5" y="24"/>
                      <a:pt x="5" y="24"/>
                    </a:cubicBezTo>
                    <a:cubicBezTo>
                      <a:pt x="5" y="26"/>
                      <a:pt x="6" y="25"/>
                      <a:pt x="6" y="26"/>
                    </a:cubicBezTo>
                    <a:cubicBezTo>
                      <a:pt x="6" y="25"/>
                      <a:pt x="2" y="28"/>
                      <a:pt x="3" y="29"/>
                    </a:cubicBezTo>
                    <a:cubicBezTo>
                      <a:pt x="3" y="29"/>
                      <a:pt x="5" y="30"/>
                      <a:pt x="5" y="30"/>
                    </a:cubicBezTo>
                    <a:cubicBezTo>
                      <a:pt x="6" y="30"/>
                      <a:pt x="5" y="30"/>
                      <a:pt x="5" y="31"/>
                    </a:cubicBezTo>
                    <a:cubicBezTo>
                      <a:pt x="5" y="30"/>
                      <a:pt x="9" y="30"/>
                      <a:pt x="9" y="31"/>
                    </a:cubicBezTo>
                    <a:cubicBezTo>
                      <a:pt x="10" y="31"/>
                      <a:pt x="11" y="31"/>
                      <a:pt x="12" y="31"/>
                    </a:cubicBezTo>
                    <a:cubicBezTo>
                      <a:pt x="12" y="31"/>
                      <a:pt x="13" y="29"/>
                      <a:pt x="14" y="28"/>
                    </a:cubicBezTo>
                    <a:cubicBezTo>
                      <a:pt x="17" y="28"/>
                      <a:pt x="19" y="29"/>
                      <a:pt x="21" y="27"/>
                    </a:cubicBezTo>
                    <a:cubicBezTo>
                      <a:pt x="21" y="25"/>
                      <a:pt x="16" y="23"/>
                      <a:pt x="16" y="22"/>
                    </a:cubicBezTo>
                    <a:cubicBezTo>
                      <a:pt x="17" y="21"/>
                      <a:pt x="18" y="20"/>
                      <a:pt x="20" y="19"/>
                    </a:cubicBezTo>
                    <a:cubicBezTo>
                      <a:pt x="22" y="17"/>
                      <a:pt x="24" y="15"/>
                      <a:pt x="27" y="14"/>
                    </a:cubicBezTo>
                    <a:cubicBezTo>
                      <a:pt x="29" y="12"/>
                      <a:pt x="26" y="9"/>
                      <a:pt x="27" y="8"/>
                    </a:cubicBezTo>
                    <a:cubicBezTo>
                      <a:pt x="29" y="6"/>
                      <a:pt x="30" y="4"/>
                      <a:pt x="32" y="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3" name="Freeform 725">
                <a:extLst>
                  <a:ext uri="{FF2B5EF4-FFF2-40B4-BE49-F238E27FC236}">
                    <a16:creationId xmlns:a16="http://schemas.microsoft.com/office/drawing/2014/main" id="{4B41AC52-9F2C-404E-9155-907A43787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6335" y="3081445"/>
                <a:ext cx="111495" cy="116272"/>
              </a:xfrm>
              <a:custGeom>
                <a:avLst/>
                <a:gdLst>
                  <a:gd name="T0" fmla="*/ 21 w 24"/>
                  <a:gd name="T1" fmla="*/ 8 h 25"/>
                  <a:gd name="T2" fmla="*/ 18 w 24"/>
                  <a:gd name="T3" fmla="*/ 5 h 25"/>
                  <a:gd name="T4" fmla="*/ 15 w 24"/>
                  <a:gd name="T5" fmla="*/ 6 h 25"/>
                  <a:gd name="T6" fmla="*/ 16 w 24"/>
                  <a:gd name="T7" fmla="*/ 1 h 25"/>
                  <a:gd name="T8" fmla="*/ 10 w 24"/>
                  <a:gd name="T9" fmla="*/ 1 h 25"/>
                  <a:gd name="T10" fmla="*/ 10 w 24"/>
                  <a:gd name="T11" fmla="*/ 2 h 25"/>
                  <a:gd name="T12" fmla="*/ 9 w 24"/>
                  <a:gd name="T13" fmla="*/ 3 h 25"/>
                  <a:gd name="T14" fmla="*/ 11 w 24"/>
                  <a:gd name="T15" fmla="*/ 4 h 25"/>
                  <a:gd name="T16" fmla="*/ 9 w 24"/>
                  <a:gd name="T17" fmla="*/ 5 h 25"/>
                  <a:gd name="T18" fmla="*/ 2 w 24"/>
                  <a:gd name="T19" fmla="*/ 6 h 25"/>
                  <a:gd name="T20" fmla="*/ 3 w 24"/>
                  <a:gd name="T21" fmla="*/ 7 h 25"/>
                  <a:gd name="T22" fmla="*/ 2 w 24"/>
                  <a:gd name="T23" fmla="*/ 8 h 25"/>
                  <a:gd name="T24" fmla="*/ 2 w 24"/>
                  <a:gd name="T25" fmla="*/ 8 h 25"/>
                  <a:gd name="T26" fmla="*/ 1 w 24"/>
                  <a:gd name="T27" fmla="*/ 8 h 25"/>
                  <a:gd name="T28" fmla="*/ 3 w 24"/>
                  <a:gd name="T29" fmla="*/ 10 h 25"/>
                  <a:gd name="T30" fmla="*/ 6 w 24"/>
                  <a:gd name="T31" fmla="*/ 13 h 25"/>
                  <a:gd name="T32" fmla="*/ 5 w 24"/>
                  <a:gd name="T33" fmla="*/ 17 h 25"/>
                  <a:gd name="T34" fmla="*/ 1 w 24"/>
                  <a:gd name="T35" fmla="*/ 20 h 25"/>
                  <a:gd name="T36" fmla="*/ 3 w 24"/>
                  <a:gd name="T37" fmla="*/ 20 h 25"/>
                  <a:gd name="T38" fmla="*/ 0 w 24"/>
                  <a:gd name="T39" fmla="*/ 22 h 25"/>
                  <a:gd name="T40" fmla="*/ 3 w 24"/>
                  <a:gd name="T41" fmla="*/ 21 h 25"/>
                  <a:gd name="T42" fmla="*/ 2 w 24"/>
                  <a:gd name="T43" fmla="*/ 24 h 25"/>
                  <a:gd name="T44" fmla="*/ 4 w 24"/>
                  <a:gd name="T45" fmla="*/ 23 h 25"/>
                  <a:gd name="T46" fmla="*/ 4 w 24"/>
                  <a:gd name="T47" fmla="*/ 25 h 25"/>
                  <a:gd name="T48" fmla="*/ 8 w 24"/>
                  <a:gd name="T49" fmla="*/ 24 h 25"/>
                  <a:gd name="T50" fmla="*/ 17 w 24"/>
                  <a:gd name="T51" fmla="*/ 20 h 25"/>
                  <a:gd name="T52" fmla="*/ 22 w 24"/>
                  <a:gd name="T53" fmla="*/ 16 h 25"/>
                  <a:gd name="T54" fmla="*/ 21 w 24"/>
                  <a:gd name="T55" fmla="*/ 8 h 25"/>
                  <a:gd name="T56" fmla="*/ 21 w 24"/>
                  <a:gd name="T57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4" h="25">
                    <a:moveTo>
                      <a:pt x="21" y="8"/>
                    </a:moveTo>
                    <a:cubicBezTo>
                      <a:pt x="20" y="8"/>
                      <a:pt x="19" y="5"/>
                      <a:pt x="18" y="5"/>
                    </a:cubicBezTo>
                    <a:cubicBezTo>
                      <a:pt x="16" y="6"/>
                      <a:pt x="17" y="7"/>
                      <a:pt x="15" y="6"/>
                    </a:cubicBezTo>
                    <a:cubicBezTo>
                      <a:pt x="11" y="5"/>
                      <a:pt x="15" y="3"/>
                      <a:pt x="16" y="1"/>
                    </a:cubicBezTo>
                    <a:cubicBezTo>
                      <a:pt x="14" y="1"/>
                      <a:pt x="11" y="0"/>
                      <a:pt x="10" y="1"/>
                    </a:cubicBezTo>
                    <a:cubicBezTo>
                      <a:pt x="10" y="1"/>
                      <a:pt x="12" y="1"/>
                      <a:pt x="10" y="2"/>
                    </a:cubicBezTo>
                    <a:cubicBezTo>
                      <a:pt x="10" y="2"/>
                      <a:pt x="8" y="3"/>
                      <a:pt x="9" y="3"/>
                    </a:cubicBezTo>
                    <a:cubicBezTo>
                      <a:pt x="9" y="4"/>
                      <a:pt x="11" y="3"/>
                      <a:pt x="11" y="4"/>
                    </a:cubicBezTo>
                    <a:cubicBezTo>
                      <a:pt x="12" y="5"/>
                      <a:pt x="9" y="5"/>
                      <a:pt x="9" y="5"/>
                    </a:cubicBezTo>
                    <a:cubicBezTo>
                      <a:pt x="7" y="6"/>
                      <a:pt x="3" y="5"/>
                      <a:pt x="2" y="6"/>
                    </a:cubicBezTo>
                    <a:cubicBezTo>
                      <a:pt x="2" y="6"/>
                      <a:pt x="3" y="6"/>
                      <a:pt x="3" y="7"/>
                    </a:cubicBezTo>
                    <a:cubicBezTo>
                      <a:pt x="3" y="7"/>
                      <a:pt x="1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8"/>
                      <a:pt x="1" y="8"/>
                      <a:pt x="1" y="8"/>
                    </a:cubicBezTo>
                    <a:cubicBezTo>
                      <a:pt x="1" y="9"/>
                      <a:pt x="5" y="9"/>
                      <a:pt x="3" y="10"/>
                    </a:cubicBezTo>
                    <a:cubicBezTo>
                      <a:pt x="0" y="12"/>
                      <a:pt x="4" y="13"/>
                      <a:pt x="6" y="13"/>
                    </a:cubicBezTo>
                    <a:cubicBezTo>
                      <a:pt x="7" y="13"/>
                      <a:pt x="5" y="16"/>
                      <a:pt x="5" y="17"/>
                    </a:cubicBezTo>
                    <a:cubicBezTo>
                      <a:pt x="4" y="17"/>
                      <a:pt x="2" y="21"/>
                      <a:pt x="1" y="20"/>
                    </a:cubicBezTo>
                    <a:cubicBezTo>
                      <a:pt x="1" y="20"/>
                      <a:pt x="3" y="20"/>
                      <a:pt x="3" y="20"/>
                    </a:cubicBezTo>
                    <a:cubicBezTo>
                      <a:pt x="2" y="21"/>
                      <a:pt x="1" y="20"/>
                      <a:pt x="0" y="22"/>
                    </a:cubicBezTo>
                    <a:cubicBezTo>
                      <a:pt x="0" y="22"/>
                      <a:pt x="3" y="21"/>
                      <a:pt x="3" y="21"/>
                    </a:cubicBezTo>
                    <a:cubicBezTo>
                      <a:pt x="3" y="21"/>
                      <a:pt x="2" y="23"/>
                      <a:pt x="2" y="24"/>
                    </a:cubicBezTo>
                    <a:cubicBezTo>
                      <a:pt x="2" y="24"/>
                      <a:pt x="4" y="23"/>
                      <a:pt x="4" y="23"/>
                    </a:cubicBezTo>
                    <a:cubicBezTo>
                      <a:pt x="4" y="23"/>
                      <a:pt x="4" y="24"/>
                      <a:pt x="4" y="25"/>
                    </a:cubicBezTo>
                    <a:cubicBezTo>
                      <a:pt x="5" y="25"/>
                      <a:pt x="7" y="24"/>
                      <a:pt x="8" y="24"/>
                    </a:cubicBezTo>
                    <a:cubicBezTo>
                      <a:pt x="11" y="23"/>
                      <a:pt x="14" y="20"/>
                      <a:pt x="17" y="20"/>
                    </a:cubicBezTo>
                    <a:cubicBezTo>
                      <a:pt x="21" y="20"/>
                      <a:pt x="20" y="19"/>
                      <a:pt x="22" y="16"/>
                    </a:cubicBezTo>
                    <a:cubicBezTo>
                      <a:pt x="24" y="13"/>
                      <a:pt x="21" y="11"/>
                      <a:pt x="21" y="8"/>
                    </a:cubicBezTo>
                    <a:cubicBezTo>
                      <a:pt x="20" y="8"/>
                      <a:pt x="21" y="9"/>
                      <a:pt x="21" y="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4" name="Freeform 726">
                <a:extLst>
                  <a:ext uri="{FF2B5EF4-FFF2-40B4-BE49-F238E27FC236}">
                    <a16:creationId xmlns:a16="http://schemas.microsoft.com/office/drawing/2014/main" id="{7A1B5278-6F02-4AE3-8DF5-7F3AF1454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2081" y="3076669"/>
                <a:ext cx="74861" cy="46190"/>
              </a:xfrm>
              <a:custGeom>
                <a:avLst/>
                <a:gdLst>
                  <a:gd name="T0" fmla="*/ 1 w 16"/>
                  <a:gd name="T1" fmla="*/ 6 h 10"/>
                  <a:gd name="T2" fmla="*/ 4 w 16"/>
                  <a:gd name="T3" fmla="*/ 8 h 10"/>
                  <a:gd name="T4" fmla="*/ 5 w 16"/>
                  <a:gd name="T5" fmla="*/ 7 h 10"/>
                  <a:gd name="T6" fmla="*/ 8 w 16"/>
                  <a:gd name="T7" fmla="*/ 8 h 10"/>
                  <a:gd name="T8" fmla="*/ 11 w 16"/>
                  <a:gd name="T9" fmla="*/ 4 h 10"/>
                  <a:gd name="T10" fmla="*/ 11 w 16"/>
                  <a:gd name="T11" fmla="*/ 2 h 10"/>
                  <a:gd name="T12" fmla="*/ 7 w 16"/>
                  <a:gd name="T13" fmla="*/ 1 h 10"/>
                  <a:gd name="T14" fmla="*/ 4 w 16"/>
                  <a:gd name="T15" fmla="*/ 2 h 10"/>
                  <a:gd name="T16" fmla="*/ 1 w 16"/>
                  <a:gd name="T17" fmla="*/ 6 h 10"/>
                  <a:gd name="T18" fmla="*/ 1 w 16"/>
                  <a:gd name="T1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0">
                    <a:moveTo>
                      <a:pt x="1" y="6"/>
                    </a:moveTo>
                    <a:cubicBezTo>
                      <a:pt x="0" y="7"/>
                      <a:pt x="3" y="8"/>
                      <a:pt x="4" y="8"/>
                    </a:cubicBezTo>
                    <a:cubicBezTo>
                      <a:pt x="4" y="8"/>
                      <a:pt x="5" y="7"/>
                      <a:pt x="5" y="7"/>
                    </a:cubicBezTo>
                    <a:cubicBezTo>
                      <a:pt x="6" y="6"/>
                      <a:pt x="7" y="7"/>
                      <a:pt x="8" y="8"/>
                    </a:cubicBezTo>
                    <a:cubicBezTo>
                      <a:pt x="10" y="10"/>
                      <a:pt x="16" y="5"/>
                      <a:pt x="11" y="4"/>
                    </a:cubicBezTo>
                    <a:cubicBezTo>
                      <a:pt x="12" y="4"/>
                      <a:pt x="11" y="2"/>
                      <a:pt x="11" y="2"/>
                    </a:cubicBezTo>
                    <a:cubicBezTo>
                      <a:pt x="10" y="0"/>
                      <a:pt x="9" y="0"/>
                      <a:pt x="7" y="1"/>
                    </a:cubicBezTo>
                    <a:cubicBezTo>
                      <a:pt x="6" y="1"/>
                      <a:pt x="4" y="1"/>
                      <a:pt x="4" y="2"/>
                    </a:cubicBezTo>
                    <a:cubicBezTo>
                      <a:pt x="3" y="3"/>
                      <a:pt x="1" y="4"/>
                      <a:pt x="1" y="6"/>
                    </a:cubicBezTo>
                    <a:cubicBezTo>
                      <a:pt x="1" y="6"/>
                      <a:pt x="1" y="5"/>
                      <a:pt x="1" y="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5" name="Freeform 727">
                <a:extLst>
                  <a:ext uri="{FF2B5EF4-FFF2-40B4-BE49-F238E27FC236}">
                    <a16:creationId xmlns:a16="http://schemas.microsoft.com/office/drawing/2014/main" id="{4F37BF03-0C92-4B10-ADD5-D84370DAFB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5005" y="3427077"/>
                <a:ext cx="293070" cy="215025"/>
              </a:xfrm>
              <a:custGeom>
                <a:avLst/>
                <a:gdLst>
                  <a:gd name="T0" fmla="*/ 58 w 63"/>
                  <a:gd name="T1" fmla="*/ 8 h 46"/>
                  <a:gd name="T2" fmla="*/ 52 w 63"/>
                  <a:gd name="T3" fmla="*/ 6 h 46"/>
                  <a:gd name="T4" fmla="*/ 49 w 63"/>
                  <a:gd name="T5" fmla="*/ 6 h 46"/>
                  <a:gd name="T6" fmla="*/ 45 w 63"/>
                  <a:gd name="T7" fmla="*/ 6 h 46"/>
                  <a:gd name="T8" fmla="*/ 40 w 63"/>
                  <a:gd name="T9" fmla="*/ 4 h 46"/>
                  <a:gd name="T10" fmla="*/ 38 w 63"/>
                  <a:gd name="T11" fmla="*/ 2 h 46"/>
                  <a:gd name="T12" fmla="*/ 35 w 63"/>
                  <a:gd name="T13" fmla="*/ 2 h 46"/>
                  <a:gd name="T14" fmla="*/ 31 w 63"/>
                  <a:gd name="T15" fmla="*/ 2 h 46"/>
                  <a:gd name="T16" fmla="*/ 27 w 63"/>
                  <a:gd name="T17" fmla="*/ 2 h 46"/>
                  <a:gd name="T18" fmla="*/ 17 w 63"/>
                  <a:gd name="T19" fmla="*/ 1 h 46"/>
                  <a:gd name="T20" fmla="*/ 8 w 63"/>
                  <a:gd name="T21" fmla="*/ 0 h 46"/>
                  <a:gd name="T22" fmla="*/ 2 w 63"/>
                  <a:gd name="T23" fmla="*/ 3 h 46"/>
                  <a:gd name="T24" fmla="*/ 2 w 63"/>
                  <a:gd name="T25" fmla="*/ 6 h 46"/>
                  <a:gd name="T26" fmla="*/ 2 w 63"/>
                  <a:gd name="T27" fmla="*/ 11 h 46"/>
                  <a:gd name="T28" fmla="*/ 5 w 63"/>
                  <a:gd name="T29" fmla="*/ 10 h 46"/>
                  <a:gd name="T30" fmla="*/ 7 w 63"/>
                  <a:gd name="T31" fmla="*/ 12 h 46"/>
                  <a:gd name="T32" fmla="*/ 12 w 63"/>
                  <a:gd name="T33" fmla="*/ 11 h 46"/>
                  <a:gd name="T34" fmla="*/ 14 w 63"/>
                  <a:gd name="T35" fmla="*/ 14 h 46"/>
                  <a:gd name="T36" fmla="*/ 13 w 63"/>
                  <a:gd name="T37" fmla="*/ 20 h 46"/>
                  <a:gd name="T38" fmla="*/ 12 w 63"/>
                  <a:gd name="T39" fmla="*/ 25 h 46"/>
                  <a:gd name="T40" fmla="*/ 12 w 63"/>
                  <a:gd name="T41" fmla="*/ 28 h 46"/>
                  <a:gd name="T42" fmla="*/ 10 w 63"/>
                  <a:gd name="T43" fmla="*/ 33 h 46"/>
                  <a:gd name="T44" fmla="*/ 10 w 63"/>
                  <a:gd name="T45" fmla="*/ 38 h 46"/>
                  <a:gd name="T46" fmla="*/ 17 w 63"/>
                  <a:gd name="T47" fmla="*/ 44 h 46"/>
                  <a:gd name="T48" fmla="*/ 20 w 63"/>
                  <a:gd name="T49" fmla="*/ 45 h 46"/>
                  <a:gd name="T50" fmla="*/ 21 w 63"/>
                  <a:gd name="T51" fmla="*/ 43 h 46"/>
                  <a:gd name="T52" fmla="*/ 24 w 63"/>
                  <a:gd name="T53" fmla="*/ 42 h 46"/>
                  <a:gd name="T54" fmla="*/ 36 w 63"/>
                  <a:gd name="T55" fmla="*/ 41 h 46"/>
                  <a:gd name="T56" fmla="*/ 39 w 63"/>
                  <a:gd name="T57" fmla="*/ 38 h 46"/>
                  <a:gd name="T58" fmla="*/ 43 w 63"/>
                  <a:gd name="T59" fmla="*/ 35 h 46"/>
                  <a:gd name="T60" fmla="*/ 47 w 63"/>
                  <a:gd name="T61" fmla="*/ 30 h 46"/>
                  <a:gd name="T62" fmla="*/ 45 w 63"/>
                  <a:gd name="T63" fmla="*/ 26 h 46"/>
                  <a:gd name="T64" fmla="*/ 48 w 63"/>
                  <a:gd name="T65" fmla="*/ 21 h 46"/>
                  <a:gd name="T66" fmla="*/ 50 w 63"/>
                  <a:gd name="T67" fmla="*/ 19 h 46"/>
                  <a:gd name="T68" fmla="*/ 51 w 63"/>
                  <a:gd name="T69" fmla="*/ 17 h 46"/>
                  <a:gd name="T70" fmla="*/ 60 w 63"/>
                  <a:gd name="T71" fmla="*/ 13 h 46"/>
                  <a:gd name="T72" fmla="*/ 63 w 63"/>
                  <a:gd name="T73" fmla="*/ 9 h 46"/>
                  <a:gd name="T74" fmla="*/ 58 w 63"/>
                  <a:gd name="T75" fmla="*/ 8 h 46"/>
                  <a:gd name="T76" fmla="*/ 58 w 63"/>
                  <a:gd name="T77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3" h="46">
                    <a:moveTo>
                      <a:pt x="58" y="8"/>
                    </a:moveTo>
                    <a:cubicBezTo>
                      <a:pt x="55" y="8"/>
                      <a:pt x="54" y="7"/>
                      <a:pt x="52" y="6"/>
                    </a:cubicBezTo>
                    <a:cubicBezTo>
                      <a:pt x="51" y="5"/>
                      <a:pt x="50" y="6"/>
                      <a:pt x="49" y="6"/>
                    </a:cubicBezTo>
                    <a:cubicBezTo>
                      <a:pt x="48" y="6"/>
                      <a:pt x="46" y="6"/>
                      <a:pt x="45" y="6"/>
                    </a:cubicBezTo>
                    <a:cubicBezTo>
                      <a:pt x="43" y="5"/>
                      <a:pt x="41" y="4"/>
                      <a:pt x="40" y="4"/>
                    </a:cubicBezTo>
                    <a:cubicBezTo>
                      <a:pt x="39" y="3"/>
                      <a:pt x="39" y="3"/>
                      <a:pt x="38" y="2"/>
                    </a:cubicBezTo>
                    <a:cubicBezTo>
                      <a:pt x="37" y="3"/>
                      <a:pt x="36" y="2"/>
                      <a:pt x="35" y="2"/>
                    </a:cubicBezTo>
                    <a:cubicBezTo>
                      <a:pt x="33" y="1"/>
                      <a:pt x="32" y="2"/>
                      <a:pt x="31" y="2"/>
                    </a:cubicBezTo>
                    <a:cubicBezTo>
                      <a:pt x="29" y="2"/>
                      <a:pt x="28" y="2"/>
                      <a:pt x="27" y="2"/>
                    </a:cubicBezTo>
                    <a:cubicBezTo>
                      <a:pt x="24" y="2"/>
                      <a:pt x="21" y="1"/>
                      <a:pt x="17" y="1"/>
                    </a:cubicBezTo>
                    <a:cubicBezTo>
                      <a:pt x="15" y="1"/>
                      <a:pt x="11" y="0"/>
                      <a:pt x="8" y="0"/>
                    </a:cubicBezTo>
                    <a:cubicBezTo>
                      <a:pt x="7" y="1"/>
                      <a:pt x="4" y="2"/>
                      <a:pt x="2" y="3"/>
                    </a:cubicBezTo>
                    <a:cubicBezTo>
                      <a:pt x="0" y="4"/>
                      <a:pt x="1" y="5"/>
                      <a:pt x="2" y="6"/>
                    </a:cubicBezTo>
                    <a:cubicBezTo>
                      <a:pt x="2" y="8"/>
                      <a:pt x="2" y="9"/>
                      <a:pt x="2" y="11"/>
                    </a:cubicBezTo>
                    <a:cubicBezTo>
                      <a:pt x="3" y="11"/>
                      <a:pt x="5" y="10"/>
                      <a:pt x="5" y="10"/>
                    </a:cubicBezTo>
                    <a:cubicBezTo>
                      <a:pt x="6" y="10"/>
                      <a:pt x="5" y="12"/>
                      <a:pt x="7" y="12"/>
                    </a:cubicBezTo>
                    <a:cubicBezTo>
                      <a:pt x="9" y="12"/>
                      <a:pt x="10" y="11"/>
                      <a:pt x="12" y="11"/>
                    </a:cubicBezTo>
                    <a:cubicBezTo>
                      <a:pt x="14" y="10"/>
                      <a:pt x="16" y="13"/>
                      <a:pt x="14" y="14"/>
                    </a:cubicBezTo>
                    <a:cubicBezTo>
                      <a:pt x="12" y="16"/>
                      <a:pt x="13" y="17"/>
                      <a:pt x="13" y="20"/>
                    </a:cubicBezTo>
                    <a:cubicBezTo>
                      <a:pt x="12" y="21"/>
                      <a:pt x="13" y="24"/>
                      <a:pt x="12" y="25"/>
                    </a:cubicBezTo>
                    <a:cubicBezTo>
                      <a:pt x="9" y="25"/>
                      <a:pt x="10" y="26"/>
                      <a:pt x="12" y="28"/>
                    </a:cubicBezTo>
                    <a:cubicBezTo>
                      <a:pt x="13" y="29"/>
                      <a:pt x="10" y="31"/>
                      <a:pt x="10" y="33"/>
                    </a:cubicBezTo>
                    <a:cubicBezTo>
                      <a:pt x="12" y="35"/>
                      <a:pt x="10" y="36"/>
                      <a:pt x="10" y="38"/>
                    </a:cubicBezTo>
                    <a:cubicBezTo>
                      <a:pt x="13" y="37"/>
                      <a:pt x="15" y="42"/>
                      <a:pt x="17" y="44"/>
                    </a:cubicBezTo>
                    <a:cubicBezTo>
                      <a:pt x="17" y="45"/>
                      <a:pt x="19" y="46"/>
                      <a:pt x="20" y="45"/>
                    </a:cubicBezTo>
                    <a:cubicBezTo>
                      <a:pt x="20" y="45"/>
                      <a:pt x="21" y="44"/>
                      <a:pt x="21" y="43"/>
                    </a:cubicBezTo>
                    <a:cubicBezTo>
                      <a:pt x="22" y="43"/>
                      <a:pt x="24" y="42"/>
                      <a:pt x="24" y="42"/>
                    </a:cubicBezTo>
                    <a:cubicBezTo>
                      <a:pt x="28" y="41"/>
                      <a:pt x="32" y="42"/>
                      <a:pt x="36" y="41"/>
                    </a:cubicBezTo>
                    <a:cubicBezTo>
                      <a:pt x="37" y="40"/>
                      <a:pt x="37" y="39"/>
                      <a:pt x="39" y="38"/>
                    </a:cubicBezTo>
                    <a:cubicBezTo>
                      <a:pt x="41" y="37"/>
                      <a:pt x="42" y="36"/>
                      <a:pt x="43" y="35"/>
                    </a:cubicBezTo>
                    <a:cubicBezTo>
                      <a:pt x="44" y="32"/>
                      <a:pt x="45" y="31"/>
                      <a:pt x="47" y="30"/>
                    </a:cubicBezTo>
                    <a:cubicBezTo>
                      <a:pt x="48" y="29"/>
                      <a:pt x="46" y="27"/>
                      <a:pt x="45" y="26"/>
                    </a:cubicBezTo>
                    <a:cubicBezTo>
                      <a:pt x="45" y="25"/>
                      <a:pt x="47" y="22"/>
                      <a:pt x="48" y="21"/>
                    </a:cubicBezTo>
                    <a:cubicBezTo>
                      <a:pt x="48" y="21"/>
                      <a:pt x="49" y="20"/>
                      <a:pt x="50" y="19"/>
                    </a:cubicBezTo>
                    <a:cubicBezTo>
                      <a:pt x="50" y="19"/>
                      <a:pt x="50" y="17"/>
                      <a:pt x="51" y="17"/>
                    </a:cubicBezTo>
                    <a:cubicBezTo>
                      <a:pt x="54" y="15"/>
                      <a:pt x="57" y="14"/>
                      <a:pt x="60" y="13"/>
                    </a:cubicBezTo>
                    <a:cubicBezTo>
                      <a:pt x="61" y="12"/>
                      <a:pt x="63" y="11"/>
                      <a:pt x="63" y="9"/>
                    </a:cubicBezTo>
                    <a:cubicBezTo>
                      <a:pt x="62" y="7"/>
                      <a:pt x="60" y="9"/>
                      <a:pt x="58" y="8"/>
                    </a:cubicBezTo>
                    <a:cubicBezTo>
                      <a:pt x="55" y="8"/>
                      <a:pt x="60" y="9"/>
                      <a:pt x="58" y="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6" name="Freeform 728">
                <a:extLst>
                  <a:ext uri="{FF2B5EF4-FFF2-40B4-BE49-F238E27FC236}">
                    <a16:creationId xmlns:a16="http://schemas.microsoft.com/office/drawing/2014/main" id="{0F84FE84-9966-4C77-B711-696A1A6AFA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5005" y="3473269"/>
                <a:ext cx="74861" cy="141758"/>
              </a:xfrm>
              <a:custGeom>
                <a:avLst/>
                <a:gdLst>
                  <a:gd name="T0" fmla="*/ 11 w 16"/>
                  <a:gd name="T1" fmla="*/ 25 h 30"/>
                  <a:gd name="T2" fmla="*/ 11 w 16"/>
                  <a:gd name="T3" fmla="*/ 21 h 30"/>
                  <a:gd name="T4" fmla="*/ 10 w 16"/>
                  <a:gd name="T5" fmla="*/ 16 h 30"/>
                  <a:gd name="T6" fmla="*/ 12 w 16"/>
                  <a:gd name="T7" fmla="*/ 14 h 30"/>
                  <a:gd name="T8" fmla="*/ 13 w 16"/>
                  <a:gd name="T9" fmla="*/ 9 h 30"/>
                  <a:gd name="T10" fmla="*/ 14 w 16"/>
                  <a:gd name="T11" fmla="*/ 4 h 30"/>
                  <a:gd name="T12" fmla="*/ 12 w 16"/>
                  <a:gd name="T13" fmla="*/ 1 h 30"/>
                  <a:gd name="T14" fmla="*/ 7 w 16"/>
                  <a:gd name="T15" fmla="*/ 2 h 30"/>
                  <a:gd name="T16" fmla="*/ 5 w 16"/>
                  <a:gd name="T17" fmla="*/ 0 h 30"/>
                  <a:gd name="T18" fmla="*/ 4 w 16"/>
                  <a:gd name="T19" fmla="*/ 0 h 30"/>
                  <a:gd name="T20" fmla="*/ 3 w 16"/>
                  <a:gd name="T21" fmla="*/ 4 h 30"/>
                  <a:gd name="T22" fmla="*/ 3 w 16"/>
                  <a:gd name="T23" fmla="*/ 8 h 30"/>
                  <a:gd name="T24" fmla="*/ 2 w 16"/>
                  <a:gd name="T25" fmla="*/ 13 h 30"/>
                  <a:gd name="T26" fmla="*/ 0 w 16"/>
                  <a:gd name="T27" fmla="*/ 20 h 30"/>
                  <a:gd name="T28" fmla="*/ 2 w 16"/>
                  <a:gd name="T29" fmla="*/ 22 h 30"/>
                  <a:gd name="T30" fmla="*/ 2 w 16"/>
                  <a:gd name="T31" fmla="*/ 28 h 30"/>
                  <a:gd name="T32" fmla="*/ 6 w 16"/>
                  <a:gd name="T33" fmla="*/ 30 h 30"/>
                  <a:gd name="T34" fmla="*/ 11 w 16"/>
                  <a:gd name="T35" fmla="*/ 25 h 30"/>
                  <a:gd name="T36" fmla="*/ 11 w 16"/>
                  <a:gd name="T37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" h="30">
                    <a:moveTo>
                      <a:pt x="11" y="25"/>
                    </a:moveTo>
                    <a:cubicBezTo>
                      <a:pt x="12" y="23"/>
                      <a:pt x="10" y="22"/>
                      <a:pt x="11" y="21"/>
                    </a:cubicBezTo>
                    <a:cubicBezTo>
                      <a:pt x="12" y="18"/>
                      <a:pt x="12" y="18"/>
                      <a:pt x="10" y="16"/>
                    </a:cubicBezTo>
                    <a:cubicBezTo>
                      <a:pt x="9" y="14"/>
                      <a:pt x="11" y="15"/>
                      <a:pt x="12" y="14"/>
                    </a:cubicBezTo>
                    <a:cubicBezTo>
                      <a:pt x="13" y="13"/>
                      <a:pt x="13" y="10"/>
                      <a:pt x="13" y="9"/>
                    </a:cubicBezTo>
                    <a:cubicBezTo>
                      <a:pt x="13" y="6"/>
                      <a:pt x="12" y="6"/>
                      <a:pt x="14" y="4"/>
                    </a:cubicBezTo>
                    <a:cubicBezTo>
                      <a:pt x="16" y="3"/>
                      <a:pt x="14" y="0"/>
                      <a:pt x="12" y="1"/>
                    </a:cubicBezTo>
                    <a:cubicBezTo>
                      <a:pt x="10" y="1"/>
                      <a:pt x="9" y="2"/>
                      <a:pt x="7" y="2"/>
                    </a:cubicBezTo>
                    <a:cubicBezTo>
                      <a:pt x="5" y="2"/>
                      <a:pt x="6" y="0"/>
                      <a:pt x="5" y="0"/>
                    </a:cubicBezTo>
                    <a:cubicBezTo>
                      <a:pt x="6" y="0"/>
                      <a:pt x="3" y="0"/>
                      <a:pt x="4" y="0"/>
                    </a:cubicBezTo>
                    <a:cubicBezTo>
                      <a:pt x="2" y="1"/>
                      <a:pt x="3" y="2"/>
                      <a:pt x="3" y="4"/>
                    </a:cubicBezTo>
                    <a:cubicBezTo>
                      <a:pt x="3" y="5"/>
                      <a:pt x="3" y="7"/>
                      <a:pt x="3" y="8"/>
                    </a:cubicBezTo>
                    <a:cubicBezTo>
                      <a:pt x="2" y="10"/>
                      <a:pt x="2" y="12"/>
                      <a:pt x="2" y="13"/>
                    </a:cubicBezTo>
                    <a:cubicBezTo>
                      <a:pt x="1" y="16"/>
                      <a:pt x="0" y="17"/>
                      <a:pt x="0" y="20"/>
                    </a:cubicBezTo>
                    <a:cubicBezTo>
                      <a:pt x="1" y="21"/>
                      <a:pt x="2" y="20"/>
                      <a:pt x="2" y="22"/>
                    </a:cubicBezTo>
                    <a:cubicBezTo>
                      <a:pt x="3" y="23"/>
                      <a:pt x="2" y="26"/>
                      <a:pt x="2" y="28"/>
                    </a:cubicBezTo>
                    <a:cubicBezTo>
                      <a:pt x="2" y="30"/>
                      <a:pt x="4" y="30"/>
                      <a:pt x="6" y="30"/>
                    </a:cubicBezTo>
                    <a:cubicBezTo>
                      <a:pt x="10" y="30"/>
                      <a:pt x="9" y="27"/>
                      <a:pt x="11" y="25"/>
                    </a:cubicBezTo>
                    <a:cubicBezTo>
                      <a:pt x="12" y="23"/>
                      <a:pt x="10" y="26"/>
                      <a:pt x="11" y="2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7" name="Freeform 729">
                <a:extLst>
                  <a:ext uri="{FF2B5EF4-FFF2-40B4-BE49-F238E27FC236}">
                    <a16:creationId xmlns:a16="http://schemas.microsoft.com/office/drawing/2014/main" id="{04D6482F-7DF4-4FA3-9E0A-90B2EC4377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6514" y="4755449"/>
                <a:ext cx="246881" cy="412529"/>
              </a:xfrm>
              <a:custGeom>
                <a:avLst/>
                <a:gdLst>
                  <a:gd name="T0" fmla="*/ 52 w 53"/>
                  <a:gd name="T1" fmla="*/ 23 h 88"/>
                  <a:gd name="T2" fmla="*/ 50 w 53"/>
                  <a:gd name="T3" fmla="*/ 3 h 88"/>
                  <a:gd name="T4" fmla="*/ 46 w 53"/>
                  <a:gd name="T5" fmla="*/ 3 h 88"/>
                  <a:gd name="T6" fmla="*/ 41 w 53"/>
                  <a:gd name="T7" fmla="*/ 6 h 88"/>
                  <a:gd name="T8" fmla="*/ 38 w 53"/>
                  <a:gd name="T9" fmla="*/ 7 h 88"/>
                  <a:gd name="T10" fmla="*/ 32 w 53"/>
                  <a:gd name="T11" fmla="*/ 7 h 88"/>
                  <a:gd name="T12" fmla="*/ 28 w 53"/>
                  <a:gd name="T13" fmla="*/ 7 h 88"/>
                  <a:gd name="T14" fmla="*/ 23 w 53"/>
                  <a:gd name="T15" fmla="*/ 7 h 88"/>
                  <a:gd name="T16" fmla="*/ 24 w 53"/>
                  <a:gd name="T17" fmla="*/ 18 h 88"/>
                  <a:gd name="T18" fmla="*/ 25 w 53"/>
                  <a:gd name="T19" fmla="*/ 20 h 88"/>
                  <a:gd name="T20" fmla="*/ 27 w 53"/>
                  <a:gd name="T21" fmla="*/ 22 h 88"/>
                  <a:gd name="T22" fmla="*/ 27 w 53"/>
                  <a:gd name="T23" fmla="*/ 28 h 88"/>
                  <a:gd name="T24" fmla="*/ 25 w 53"/>
                  <a:gd name="T25" fmla="*/ 31 h 88"/>
                  <a:gd name="T26" fmla="*/ 24 w 53"/>
                  <a:gd name="T27" fmla="*/ 35 h 88"/>
                  <a:gd name="T28" fmla="*/ 20 w 53"/>
                  <a:gd name="T29" fmla="*/ 31 h 88"/>
                  <a:gd name="T30" fmla="*/ 21 w 53"/>
                  <a:gd name="T31" fmla="*/ 25 h 88"/>
                  <a:gd name="T32" fmla="*/ 16 w 53"/>
                  <a:gd name="T33" fmla="*/ 22 h 88"/>
                  <a:gd name="T34" fmla="*/ 13 w 53"/>
                  <a:gd name="T35" fmla="*/ 20 h 88"/>
                  <a:gd name="T36" fmla="*/ 2 w 53"/>
                  <a:gd name="T37" fmla="*/ 24 h 88"/>
                  <a:gd name="T38" fmla="*/ 0 w 53"/>
                  <a:gd name="T39" fmla="*/ 26 h 88"/>
                  <a:gd name="T40" fmla="*/ 1 w 53"/>
                  <a:gd name="T41" fmla="*/ 30 h 88"/>
                  <a:gd name="T42" fmla="*/ 12 w 53"/>
                  <a:gd name="T43" fmla="*/ 35 h 88"/>
                  <a:gd name="T44" fmla="*/ 13 w 53"/>
                  <a:gd name="T45" fmla="*/ 44 h 88"/>
                  <a:gd name="T46" fmla="*/ 12 w 53"/>
                  <a:gd name="T47" fmla="*/ 52 h 88"/>
                  <a:gd name="T48" fmla="*/ 6 w 53"/>
                  <a:gd name="T49" fmla="*/ 62 h 88"/>
                  <a:gd name="T50" fmla="*/ 6 w 53"/>
                  <a:gd name="T51" fmla="*/ 69 h 88"/>
                  <a:gd name="T52" fmla="*/ 8 w 53"/>
                  <a:gd name="T53" fmla="*/ 78 h 88"/>
                  <a:gd name="T54" fmla="*/ 9 w 53"/>
                  <a:gd name="T55" fmla="*/ 87 h 88"/>
                  <a:gd name="T56" fmla="*/ 12 w 53"/>
                  <a:gd name="T57" fmla="*/ 86 h 88"/>
                  <a:gd name="T58" fmla="*/ 13 w 53"/>
                  <a:gd name="T59" fmla="*/ 83 h 88"/>
                  <a:gd name="T60" fmla="*/ 11 w 53"/>
                  <a:gd name="T61" fmla="*/ 83 h 88"/>
                  <a:gd name="T62" fmla="*/ 16 w 53"/>
                  <a:gd name="T63" fmla="*/ 77 h 88"/>
                  <a:gd name="T64" fmla="*/ 25 w 53"/>
                  <a:gd name="T65" fmla="*/ 72 h 88"/>
                  <a:gd name="T66" fmla="*/ 25 w 53"/>
                  <a:gd name="T67" fmla="*/ 64 h 88"/>
                  <a:gd name="T68" fmla="*/ 21 w 53"/>
                  <a:gd name="T69" fmla="*/ 48 h 88"/>
                  <a:gd name="T70" fmla="*/ 24 w 53"/>
                  <a:gd name="T71" fmla="*/ 48 h 88"/>
                  <a:gd name="T72" fmla="*/ 29 w 53"/>
                  <a:gd name="T73" fmla="*/ 44 h 88"/>
                  <a:gd name="T74" fmla="*/ 35 w 53"/>
                  <a:gd name="T75" fmla="*/ 38 h 88"/>
                  <a:gd name="T76" fmla="*/ 40 w 53"/>
                  <a:gd name="T77" fmla="*/ 36 h 88"/>
                  <a:gd name="T78" fmla="*/ 46 w 53"/>
                  <a:gd name="T79" fmla="*/ 32 h 88"/>
                  <a:gd name="T80" fmla="*/ 52 w 53"/>
                  <a:gd name="T81" fmla="*/ 23 h 88"/>
                  <a:gd name="T82" fmla="*/ 52 w 53"/>
                  <a:gd name="T83" fmla="*/ 23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3" h="88">
                    <a:moveTo>
                      <a:pt x="52" y="23"/>
                    </a:moveTo>
                    <a:cubicBezTo>
                      <a:pt x="49" y="17"/>
                      <a:pt x="50" y="9"/>
                      <a:pt x="50" y="3"/>
                    </a:cubicBezTo>
                    <a:cubicBezTo>
                      <a:pt x="50" y="0"/>
                      <a:pt x="48" y="2"/>
                      <a:pt x="46" y="3"/>
                    </a:cubicBezTo>
                    <a:cubicBezTo>
                      <a:pt x="45" y="4"/>
                      <a:pt x="43" y="6"/>
                      <a:pt x="41" y="6"/>
                    </a:cubicBezTo>
                    <a:cubicBezTo>
                      <a:pt x="40" y="6"/>
                      <a:pt x="38" y="5"/>
                      <a:pt x="38" y="7"/>
                    </a:cubicBezTo>
                    <a:cubicBezTo>
                      <a:pt x="36" y="10"/>
                      <a:pt x="34" y="7"/>
                      <a:pt x="32" y="7"/>
                    </a:cubicBezTo>
                    <a:cubicBezTo>
                      <a:pt x="30" y="7"/>
                      <a:pt x="30" y="9"/>
                      <a:pt x="28" y="7"/>
                    </a:cubicBezTo>
                    <a:cubicBezTo>
                      <a:pt x="27" y="7"/>
                      <a:pt x="24" y="7"/>
                      <a:pt x="23" y="7"/>
                    </a:cubicBezTo>
                    <a:cubicBezTo>
                      <a:pt x="20" y="7"/>
                      <a:pt x="21" y="16"/>
                      <a:pt x="24" y="18"/>
                    </a:cubicBezTo>
                    <a:cubicBezTo>
                      <a:pt x="24" y="18"/>
                      <a:pt x="24" y="20"/>
                      <a:pt x="25" y="20"/>
                    </a:cubicBezTo>
                    <a:cubicBezTo>
                      <a:pt x="25" y="21"/>
                      <a:pt x="26" y="21"/>
                      <a:pt x="27" y="22"/>
                    </a:cubicBezTo>
                    <a:cubicBezTo>
                      <a:pt x="27" y="24"/>
                      <a:pt x="27" y="27"/>
                      <a:pt x="27" y="28"/>
                    </a:cubicBezTo>
                    <a:cubicBezTo>
                      <a:pt x="27" y="30"/>
                      <a:pt x="28" y="31"/>
                      <a:pt x="25" y="31"/>
                    </a:cubicBezTo>
                    <a:cubicBezTo>
                      <a:pt x="24" y="31"/>
                      <a:pt x="24" y="34"/>
                      <a:pt x="24" y="35"/>
                    </a:cubicBezTo>
                    <a:cubicBezTo>
                      <a:pt x="23" y="34"/>
                      <a:pt x="21" y="32"/>
                      <a:pt x="20" y="31"/>
                    </a:cubicBezTo>
                    <a:cubicBezTo>
                      <a:pt x="19" y="29"/>
                      <a:pt x="21" y="27"/>
                      <a:pt x="21" y="25"/>
                    </a:cubicBezTo>
                    <a:cubicBezTo>
                      <a:pt x="22" y="20"/>
                      <a:pt x="19" y="24"/>
                      <a:pt x="16" y="22"/>
                    </a:cubicBezTo>
                    <a:cubicBezTo>
                      <a:pt x="15" y="21"/>
                      <a:pt x="15" y="19"/>
                      <a:pt x="13" y="20"/>
                    </a:cubicBezTo>
                    <a:cubicBezTo>
                      <a:pt x="9" y="22"/>
                      <a:pt x="6" y="23"/>
                      <a:pt x="2" y="24"/>
                    </a:cubicBezTo>
                    <a:cubicBezTo>
                      <a:pt x="1" y="25"/>
                      <a:pt x="0" y="25"/>
                      <a:pt x="0" y="26"/>
                    </a:cubicBezTo>
                    <a:cubicBezTo>
                      <a:pt x="0" y="27"/>
                      <a:pt x="1" y="29"/>
                      <a:pt x="1" y="30"/>
                    </a:cubicBezTo>
                    <a:cubicBezTo>
                      <a:pt x="4" y="30"/>
                      <a:pt x="12" y="32"/>
                      <a:pt x="12" y="35"/>
                    </a:cubicBezTo>
                    <a:cubicBezTo>
                      <a:pt x="13" y="38"/>
                      <a:pt x="13" y="41"/>
                      <a:pt x="13" y="44"/>
                    </a:cubicBezTo>
                    <a:cubicBezTo>
                      <a:pt x="12" y="46"/>
                      <a:pt x="14" y="49"/>
                      <a:pt x="12" y="52"/>
                    </a:cubicBezTo>
                    <a:cubicBezTo>
                      <a:pt x="10" y="55"/>
                      <a:pt x="8" y="59"/>
                      <a:pt x="6" y="62"/>
                    </a:cubicBezTo>
                    <a:cubicBezTo>
                      <a:pt x="4" y="64"/>
                      <a:pt x="6" y="68"/>
                      <a:pt x="6" y="69"/>
                    </a:cubicBezTo>
                    <a:cubicBezTo>
                      <a:pt x="8" y="73"/>
                      <a:pt x="8" y="75"/>
                      <a:pt x="8" y="78"/>
                    </a:cubicBezTo>
                    <a:cubicBezTo>
                      <a:pt x="8" y="81"/>
                      <a:pt x="8" y="84"/>
                      <a:pt x="9" y="87"/>
                    </a:cubicBezTo>
                    <a:cubicBezTo>
                      <a:pt x="9" y="88"/>
                      <a:pt x="12" y="87"/>
                      <a:pt x="12" y="86"/>
                    </a:cubicBezTo>
                    <a:cubicBezTo>
                      <a:pt x="13" y="85"/>
                      <a:pt x="13" y="83"/>
                      <a:pt x="13" y="83"/>
                    </a:cubicBezTo>
                    <a:cubicBezTo>
                      <a:pt x="12" y="83"/>
                      <a:pt x="11" y="83"/>
                      <a:pt x="11" y="83"/>
                    </a:cubicBezTo>
                    <a:cubicBezTo>
                      <a:pt x="11" y="80"/>
                      <a:pt x="14" y="78"/>
                      <a:pt x="16" y="77"/>
                    </a:cubicBezTo>
                    <a:cubicBezTo>
                      <a:pt x="19" y="76"/>
                      <a:pt x="23" y="75"/>
                      <a:pt x="25" y="72"/>
                    </a:cubicBezTo>
                    <a:cubicBezTo>
                      <a:pt x="25" y="71"/>
                      <a:pt x="25" y="66"/>
                      <a:pt x="25" y="64"/>
                    </a:cubicBezTo>
                    <a:cubicBezTo>
                      <a:pt x="25" y="62"/>
                      <a:pt x="21" y="48"/>
                      <a:pt x="21" y="48"/>
                    </a:cubicBezTo>
                    <a:cubicBezTo>
                      <a:pt x="22" y="47"/>
                      <a:pt x="22" y="50"/>
                      <a:pt x="24" y="48"/>
                    </a:cubicBezTo>
                    <a:cubicBezTo>
                      <a:pt x="26" y="46"/>
                      <a:pt x="27" y="45"/>
                      <a:pt x="29" y="44"/>
                    </a:cubicBezTo>
                    <a:cubicBezTo>
                      <a:pt x="31" y="43"/>
                      <a:pt x="32" y="37"/>
                      <a:pt x="35" y="38"/>
                    </a:cubicBezTo>
                    <a:cubicBezTo>
                      <a:pt x="36" y="38"/>
                      <a:pt x="38" y="36"/>
                      <a:pt x="40" y="36"/>
                    </a:cubicBezTo>
                    <a:cubicBezTo>
                      <a:pt x="42" y="35"/>
                      <a:pt x="44" y="34"/>
                      <a:pt x="46" y="32"/>
                    </a:cubicBezTo>
                    <a:cubicBezTo>
                      <a:pt x="47" y="31"/>
                      <a:pt x="53" y="25"/>
                      <a:pt x="52" y="23"/>
                    </a:cubicBezTo>
                    <a:cubicBezTo>
                      <a:pt x="51" y="22"/>
                      <a:pt x="52" y="24"/>
                      <a:pt x="52" y="2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8" name="Freeform 730">
                <a:extLst>
                  <a:ext uri="{FF2B5EF4-FFF2-40B4-BE49-F238E27FC236}">
                    <a16:creationId xmlns:a16="http://schemas.microsoft.com/office/drawing/2014/main" id="{8C735947-8DE2-47D6-97D4-A9CA0418B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2260" y="4742707"/>
                <a:ext cx="74861" cy="176799"/>
              </a:xfrm>
              <a:custGeom>
                <a:avLst/>
                <a:gdLst>
                  <a:gd name="T0" fmla="*/ 4 w 16"/>
                  <a:gd name="T1" fmla="*/ 25 h 38"/>
                  <a:gd name="T2" fmla="*/ 9 w 16"/>
                  <a:gd name="T3" fmla="*/ 26 h 38"/>
                  <a:gd name="T4" fmla="*/ 8 w 16"/>
                  <a:gd name="T5" fmla="*/ 31 h 38"/>
                  <a:gd name="T6" fmla="*/ 12 w 16"/>
                  <a:gd name="T7" fmla="*/ 38 h 38"/>
                  <a:gd name="T8" fmla="*/ 12 w 16"/>
                  <a:gd name="T9" fmla="*/ 34 h 38"/>
                  <a:gd name="T10" fmla="*/ 15 w 16"/>
                  <a:gd name="T11" fmla="*/ 33 h 38"/>
                  <a:gd name="T12" fmla="*/ 15 w 16"/>
                  <a:gd name="T13" fmla="*/ 27 h 38"/>
                  <a:gd name="T14" fmla="*/ 12 w 16"/>
                  <a:gd name="T15" fmla="*/ 22 h 38"/>
                  <a:gd name="T16" fmla="*/ 8 w 16"/>
                  <a:gd name="T17" fmla="*/ 20 h 38"/>
                  <a:gd name="T18" fmla="*/ 8 w 16"/>
                  <a:gd name="T19" fmla="*/ 16 h 38"/>
                  <a:gd name="T20" fmla="*/ 7 w 16"/>
                  <a:gd name="T21" fmla="*/ 14 h 38"/>
                  <a:gd name="T22" fmla="*/ 8 w 16"/>
                  <a:gd name="T23" fmla="*/ 8 h 38"/>
                  <a:gd name="T24" fmla="*/ 7 w 16"/>
                  <a:gd name="T25" fmla="*/ 3 h 38"/>
                  <a:gd name="T26" fmla="*/ 7 w 16"/>
                  <a:gd name="T27" fmla="*/ 1 h 38"/>
                  <a:gd name="T28" fmla="*/ 2 w 16"/>
                  <a:gd name="T29" fmla="*/ 0 h 38"/>
                  <a:gd name="T30" fmla="*/ 4 w 16"/>
                  <a:gd name="T31" fmla="*/ 6 h 38"/>
                  <a:gd name="T32" fmla="*/ 4 w 16"/>
                  <a:gd name="T33" fmla="*/ 14 h 38"/>
                  <a:gd name="T34" fmla="*/ 2 w 16"/>
                  <a:gd name="T35" fmla="*/ 16 h 38"/>
                  <a:gd name="T36" fmla="*/ 1 w 16"/>
                  <a:gd name="T37" fmla="*/ 20 h 38"/>
                  <a:gd name="T38" fmla="*/ 4 w 16"/>
                  <a:gd name="T39" fmla="*/ 25 h 38"/>
                  <a:gd name="T40" fmla="*/ 4 w 16"/>
                  <a:gd name="T41" fmla="*/ 2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" h="38">
                    <a:moveTo>
                      <a:pt x="4" y="25"/>
                    </a:moveTo>
                    <a:cubicBezTo>
                      <a:pt x="6" y="26"/>
                      <a:pt x="9" y="24"/>
                      <a:pt x="9" y="26"/>
                    </a:cubicBezTo>
                    <a:cubicBezTo>
                      <a:pt x="10" y="28"/>
                      <a:pt x="9" y="29"/>
                      <a:pt x="8" y="31"/>
                    </a:cubicBezTo>
                    <a:cubicBezTo>
                      <a:pt x="6" y="33"/>
                      <a:pt x="10" y="36"/>
                      <a:pt x="12" y="38"/>
                    </a:cubicBezTo>
                    <a:cubicBezTo>
                      <a:pt x="13" y="37"/>
                      <a:pt x="12" y="35"/>
                      <a:pt x="12" y="34"/>
                    </a:cubicBezTo>
                    <a:cubicBezTo>
                      <a:pt x="13" y="33"/>
                      <a:pt x="16" y="35"/>
                      <a:pt x="15" y="33"/>
                    </a:cubicBezTo>
                    <a:cubicBezTo>
                      <a:pt x="15" y="31"/>
                      <a:pt x="15" y="29"/>
                      <a:pt x="15" y="27"/>
                    </a:cubicBezTo>
                    <a:cubicBezTo>
                      <a:pt x="14" y="25"/>
                      <a:pt x="13" y="24"/>
                      <a:pt x="12" y="22"/>
                    </a:cubicBezTo>
                    <a:cubicBezTo>
                      <a:pt x="11" y="25"/>
                      <a:pt x="8" y="21"/>
                      <a:pt x="8" y="20"/>
                    </a:cubicBezTo>
                    <a:cubicBezTo>
                      <a:pt x="8" y="18"/>
                      <a:pt x="8" y="17"/>
                      <a:pt x="8" y="16"/>
                    </a:cubicBezTo>
                    <a:cubicBezTo>
                      <a:pt x="8" y="14"/>
                      <a:pt x="8" y="15"/>
                      <a:pt x="7" y="14"/>
                    </a:cubicBezTo>
                    <a:cubicBezTo>
                      <a:pt x="6" y="14"/>
                      <a:pt x="8" y="8"/>
                      <a:pt x="8" y="8"/>
                    </a:cubicBezTo>
                    <a:cubicBezTo>
                      <a:pt x="8" y="6"/>
                      <a:pt x="7" y="5"/>
                      <a:pt x="7" y="3"/>
                    </a:cubicBezTo>
                    <a:cubicBezTo>
                      <a:pt x="6" y="2"/>
                      <a:pt x="5" y="0"/>
                      <a:pt x="7" y="1"/>
                    </a:cubicBezTo>
                    <a:cubicBezTo>
                      <a:pt x="6" y="0"/>
                      <a:pt x="3" y="0"/>
                      <a:pt x="2" y="0"/>
                    </a:cubicBezTo>
                    <a:cubicBezTo>
                      <a:pt x="2" y="1"/>
                      <a:pt x="6" y="5"/>
                      <a:pt x="4" y="6"/>
                    </a:cubicBezTo>
                    <a:cubicBezTo>
                      <a:pt x="1" y="7"/>
                      <a:pt x="2" y="12"/>
                      <a:pt x="4" y="14"/>
                    </a:cubicBezTo>
                    <a:cubicBezTo>
                      <a:pt x="4" y="15"/>
                      <a:pt x="2" y="15"/>
                      <a:pt x="2" y="16"/>
                    </a:cubicBezTo>
                    <a:cubicBezTo>
                      <a:pt x="1" y="16"/>
                      <a:pt x="1" y="19"/>
                      <a:pt x="1" y="20"/>
                    </a:cubicBezTo>
                    <a:cubicBezTo>
                      <a:pt x="0" y="22"/>
                      <a:pt x="3" y="24"/>
                      <a:pt x="4" y="25"/>
                    </a:cubicBezTo>
                    <a:cubicBezTo>
                      <a:pt x="5" y="26"/>
                      <a:pt x="4" y="24"/>
                      <a:pt x="4" y="2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9" name="Freeform 731">
                <a:extLst>
                  <a:ext uri="{FF2B5EF4-FFF2-40B4-BE49-F238E27FC236}">
                    <a16:creationId xmlns:a16="http://schemas.microsoft.com/office/drawing/2014/main" id="{E2F31B11-A9A7-44C1-8838-3329A0661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9010" y="4709259"/>
                <a:ext cx="280328" cy="234139"/>
              </a:xfrm>
              <a:custGeom>
                <a:avLst/>
                <a:gdLst>
                  <a:gd name="T0" fmla="*/ 56 w 60"/>
                  <a:gd name="T1" fmla="*/ 30 h 50"/>
                  <a:gd name="T2" fmla="*/ 55 w 60"/>
                  <a:gd name="T3" fmla="*/ 24 h 50"/>
                  <a:gd name="T4" fmla="*/ 57 w 60"/>
                  <a:gd name="T5" fmla="*/ 22 h 50"/>
                  <a:gd name="T6" fmla="*/ 57 w 60"/>
                  <a:gd name="T7" fmla="*/ 19 h 50"/>
                  <a:gd name="T8" fmla="*/ 58 w 60"/>
                  <a:gd name="T9" fmla="*/ 13 h 50"/>
                  <a:gd name="T10" fmla="*/ 56 w 60"/>
                  <a:gd name="T11" fmla="*/ 8 h 50"/>
                  <a:gd name="T12" fmla="*/ 51 w 60"/>
                  <a:gd name="T13" fmla="*/ 5 h 50"/>
                  <a:gd name="T14" fmla="*/ 48 w 60"/>
                  <a:gd name="T15" fmla="*/ 3 h 50"/>
                  <a:gd name="T16" fmla="*/ 45 w 60"/>
                  <a:gd name="T17" fmla="*/ 0 h 50"/>
                  <a:gd name="T18" fmla="*/ 38 w 60"/>
                  <a:gd name="T19" fmla="*/ 1 h 50"/>
                  <a:gd name="T20" fmla="*/ 34 w 60"/>
                  <a:gd name="T21" fmla="*/ 4 h 50"/>
                  <a:gd name="T22" fmla="*/ 35 w 60"/>
                  <a:gd name="T23" fmla="*/ 10 h 50"/>
                  <a:gd name="T24" fmla="*/ 33 w 60"/>
                  <a:gd name="T25" fmla="*/ 17 h 50"/>
                  <a:gd name="T26" fmla="*/ 37 w 60"/>
                  <a:gd name="T27" fmla="*/ 21 h 50"/>
                  <a:gd name="T28" fmla="*/ 40 w 60"/>
                  <a:gd name="T29" fmla="*/ 23 h 50"/>
                  <a:gd name="T30" fmla="*/ 39 w 60"/>
                  <a:gd name="T31" fmla="*/ 26 h 50"/>
                  <a:gd name="T32" fmla="*/ 35 w 60"/>
                  <a:gd name="T33" fmla="*/ 26 h 50"/>
                  <a:gd name="T34" fmla="*/ 31 w 60"/>
                  <a:gd name="T35" fmla="*/ 22 h 50"/>
                  <a:gd name="T36" fmla="*/ 27 w 60"/>
                  <a:gd name="T37" fmla="*/ 17 h 50"/>
                  <a:gd name="T38" fmla="*/ 20 w 60"/>
                  <a:gd name="T39" fmla="*/ 18 h 50"/>
                  <a:gd name="T40" fmla="*/ 16 w 60"/>
                  <a:gd name="T41" fmla="*/ 16 h 50"/>
                  <a:gd name="T42" fmla="*/ 14 w 60"/>
                  <a:gd name="T43" fmla="*/ 16 h 50"/>
                  <a:gd name="T44" fmla="*/ 11 w 60"/>
                  <a:gd name="T45" fmla="*/ 14 h 50"/>
                  <a:gd name="T46" fmla="*/ 11 w 60"/>
                  <a:gd name="T47" fmla="*/ 20 h 50"/>
                  <a:gd name="T48" fmla="*/ 10 w 60"/>
                  <a:gd name="T49" fmla="*/ 24 h 50"/>
                  <a:gd name="T50" fmla="*/ 2 w 60"/>
                  <a:gd name="T51" fmla="*/ 24 h 50"/>
                  <a:gd name="T52" fmla="*/ 1 w 60"/>
                  <a:gd name="T53" fmla="*/ 29 h 50"/>
                  <a:gd name="T54" fmla="*/ 3 w 60"/>
                  <a:gd name="T55" fmla="*/ 43 h 50"/>
                  <a:gd name="T56" fmla="*/ 8 w 60"/>
                  <a:gd name="T57" fmla="*/ 48 h 50"/>
                  <a:gd name="T58" fmla="*/ 16 w 60"/>
                  <a:gd name="T59" fmla="*/ 50 h 50"/>
                  <a:gd name="T60" fmla="*/ 18 w 60"/>
                  <a:gd name="T61" fmla="*/ 50 h 50"/>
                  <a:gd name="T62" fmla="*/ 22 w 60"/>
                  <a:gd name="T63" fmla="*/ 50 h 50"/>
                  <a:gd name="T64" fmla="*/ 28 w 60"/>
                  <a:gd name="T65" fmla="*/ 47 h 50"/>
                  <a:gd name="T66" fmla="*/ 31 w 60"/>
                  <a:gd name="T67" fmla="*/ 44 h 50"/>
                  <a:gd name="T68" fmla="*/ 35 w 60"/>
                  <a:gd name="T69" fmla="*/ 41 h 50"/>
                  <a:gd name="T70" fmla="*/ 37 w 60"/>
                  <a:gd name="T71" fmla="*/ 38 h 50"/>
                  <a:gd name="T72" fmla="*/ 43 w 60"/>
                  <a:gd name="T73" fmla="*/ 38 h 50"/>
                  <a:gd name="T74" fmla="*/ 42 w 60"/>
                  <a:gd name="T75" fmla="*/ 35 h 50"/>
                  <a:gd name="T76" fmla="*/ 46 w 60"/>
                  <a:gd name="T77" fmla="*/ 33 h 50"/>
                  <a:gd name="T78" fmla="*/ 56 w 60"/>
                  <a:gd name="T79" fmla="*/ 30 h 50"/>
                  <a:gd name="T80" fmla="*/ 56 w 60"/>
                  <a:gd name="T81" fmla="*/ 3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0" h="50">
                    <a:moveTo>
                      <a:pt x="56" y="30"/>
                    </a:moveTo>
                    <a:cubicBezTo>
                      <a:pt x="54" y="27"/>
                      <a:pt x="56" y="27"/>
                      <a:pt x="55" y="24"/>
                    </a:cubicBezTo>
                    <a:cubicBezTo>
                      <a:pt x="55" y="23"/>
                      <a:pt x="56" y="23"/>
                      <a:pt x="57" y="22"/>
                    </a:cubicBezTo>
                    <a:cubicBezTo>
                      <a:pt x="58" y="21"/>
                      <a:pt x="57" y="20"/>
                      <a:pt x="57" y="19"/>
                    </a:cubicBezTo>
                    <a:cubicBezTo>
                      <a:pt x="56" y="17"/>
                      <a:pt x="56" y="14"/>
                      <a:pt x="58" y="13"/>
                    </a:cubicBezTo>
                    <a:cubicBezTo>
                      <a:pt x="60" y="12"/>
                      <a:pt x="57" y="9"/>
                      <a:pt x="56" y="8"/>
                    </a:cubicBezTo>
                    <a:cubicBezTo>
                      <a:pt x="55" y="6"/>
                      <a:pt x="53" y="5"/>
                      <a:pt x="51" y="5"/>
                    </a:cubicBezTo>
                    <a:cubicBezTo>
                      <a:pt x="50" y="4"/>
                      <a:pt x="49" y="3"/>
                      <a:pt x="48" y="3"/>
                    </a:cubicBezTo>
                    <a:cubicBezTo>
                      <a:pt x="47" y="2"/>
                      <a:pt x="46" y="1"/>
                      <a:pt x="45" y="0"/>
                    </a:cubicBezTo>
                    <a:cubicBezTo>
                      <a:pt x="45" y="0"/>
                      <a:pt x="39" y="1"/>
                      <a:pt x="38" y="1"/>
                    </a:cubicBezTo>
                    <a:cubicBezTo>
                      <a:pt x="36" y="1"/>
                      <a:pt x="36" y="3"/>
                      <a:pt x="34" y="4"/>
                    </a:cubicBezTo>
                    <a:cubicBezTo>
                      <a:pt x="33" y="6"/>
                      <a:pt x="34" y="9"/>
                      <a:pt x="35" y="10"/>
                    </a:cubicBezTo>
                    <a:cubicBezTo>
                      <a:pt x="35" y="13"/>
                      <a:pt x="33" y="14"/>
                      <a:pt x="33" y="17"/>
                    </a:cubicBezTo>
                    <a:cubicBezTo>
                      <a:pt x="33" y="18"/>
                      <a:pt x="35" y="21"/>
                      <a:pt x="37" y="21"/>
                    </a:cubicBezTo>
                    <a:cubicBezTo>
                      <a:pt x="39" y="21"/>
                      <a:pt x="40" y="20"/>
                      <a:pt x="40" y="23"/>
                    </a:cubicBezTo>
                    <a:cubicBezTo>
                      <a:pt x="40" y="25"/>
                      <a:pt x="40" y="26"/>
                      <a:pt x="39" y="26"/>
                    </a:cubicBezTo>
                    <a:cubicBezTo>
                      <a:pt x="37" y="27"/>
                      <a:pt x="36" y="28"/>
                      <a:pt x="35" y="26"/>
                    </a:cubicBezTo>
                    <a:cubicBezTo>
                      <a:pt x="34" y="24"/>
                      <a:pt x="33" y="22"/>
                      <a:pt x="31" y="22"/>
                    </a:cubicBezTo>
                    <a:cubicBezTo>
                      <a:pt x="29" y="21"/>
                      <a:pt x="28" y="19"/>
                      <a:pt x="27" y="17"/>
                    </a:cubicBezTo>
                    <a:cubicBezTo>
                      <a:pt x="25" y="21"/>
                      <a:pt x="23" y="19"/>
                      <a:pt x="20" y="18"/>
                    </a:cubicBezTo>
                    <a:cubicBezTo>
                      <a:pt x="18" y="18"/>
                      <a:pt x="18" y="16"/>
                      <a:pt x="16" y="16"/>
                    </a:cubicBezTo>
                    <a:cubicBezTo>
                      <a:pt x="16" y="16"/>
                      <a:pt x="15" y="17"/>
                      <a:pt x="14" y="16"/>
                    </a:cubicBezTo>
                    <a:cubicBezTo>
                      <a:pt x="13" y="16"/>
                      <a:pt x="13" y="14"/>
                      <a:pt x="11" y="14"/>
                    </a:cubicBezTo>
                    <a:cubicBezTo>
                      <a:pt x="11" y="16"/>
                      <a:pt x="11" y="18"/>
                      <a:pt x="11" y="20"/>
                    </a:cubicBezTo>
                    <a:cubicBezTo>
                      <a:pt x="11" y="22"/>
                      <a:pt x="12" y="24"/>
                      <a:pt x="10" y="24"/>
                    </a:cubicBezTo>
                    <a:cubicBezTo>
                      <a:pt x="7" y="24"/>
                      <a:pt x="4" y="24"/>
                      <a:pt x="2" y="24"/>
                    </a:cubicBezTo>
                    <a:cubicBezTo>
                      <a:pt x="1" y="24"/>
                      <a:pt x="1" y="28"/>
                      <a:pt x="1" y="29"/>
                    </a:cubicBezTo>
                    <a:cubicBezTo>
                      <a:pt x="1" y="33"/>
                      <a:pt x="0" y="40"/>
                      <a:pt x="3" y="43"/>
                    </a:cubicBezTo>
                    <a:cubicBezTo>
                      <a:pt x="4" y="44"/>
                      <a:pt x="7" y="48"/>
                      <a:pt x="8" y="48"/>
                    </a:cubicBezTo>
                    <a:cubicBezTo>
                      <a:pt x="10" y="47"/>
                      <a:pt x="19" y="47"/>
                      <a:pt x="16" y="50"/>
                    </a:cubicBezTo>
                    <a:cubicBezTo>
                      <a:pt x="18" y="50"/>
                      <a:pt x="17" y="50"/>
                      <a:pt x="18" y="50"/>
                    </a:cubicBezTo>
                    <a:cubicBezTo>
                      <a:pt x="20" y="49"/>
                      <a:pt x="21" y="50"/>
                      <a:pt x="22" y="50"/>
                    </a:cubicBezTo>
                    <a:cubicBezTo>
                      <a:pt x="25" y="50"/>
                      <a:pt x="27" y="50"/>
                      <a:pt x="28" y="47"/>
                    </a:cubicBezTo>
                    <a:cubicBezTo>
                      <a:pt x="29" y="46"/>
                      <a:pt x="30" y="45"/>
                      <a:pt x="31" y="44"/>
                    </a:cubicBezTo>
                    <a:cubicBezTo>
                      <a:pt x="32" y="43"/>
                      <a:pt x="34" y="43"/>
                      <a:pt x="35" y="41"/>
                    </a:cubicBezTo>
                    <a:cubicBezTo>
                      <a:pt x="36" y="40"/>
                      <a:pt x="36" y="39"/>
                      <a:pt x="37" y="38"/>
                    </a:cubicBezTo>
                    <a:cubicBezTo>
                      <a:pt x="39" y="38"/>
                      <a:pt x="41" y="38"/>
                      <a:pt x="43" y="38"/>
                    </a:cubicBezTo>
                    <a:cubicBezTo>
                      <a:pt x="42" y="37"/>
                      <a:pt x="42" y="35"/>
                      <a:pt x="42" y="35"/>
                    </a:cubicBezTo>
                    <a:cubicBezTo>
                      <a:pt x="44" y="34"/>
                      <a:pt x="45" y="34"/>
                      <a:pt x="46" y="33"/>
                    </a:cubicBezTo>
                    <a:cubicBezTo>
                      <a:pt x="49" y="32"/>
                      <a:pt x="53" y="31"/>
                      <a:pt x="56" y="30"/>
                    </a:cubicBezTo>
                    <a:cubicBezTo>
                      <a:pt x="55" y="29"/>
                      <a:pt x="55" y="30"/>
                      <a:pt x="56" y="3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0" name="Freeform 732">
                <a:extLst>
                  <a:ext uri="{FF2B5EF4-FFF2-40B4-BE49-F238E27FC236}">
                    <a16:creationId xmlns:a16="http://schemas.microsoft.com/office/drawing/2014/main" id="{4B76961E-CDEF-4095-AE8E-792F8ECB0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5579" y="4919504"/>
                <a:ext cx="297849" cy="294664"/>
              </a:xfrm>
              <a:custGeom>
                <a:avLst/>
                <a:gdLst>
                  <a:gd name="T0" fmla="*/ 33 w 64"/>
                  <a:gd name="T1" fmla="*/ 5 h 63"/>
                  <a:gd name="T2" fmla="*/ 31 w 64"/>
                  <a:gd name="T3" fmla="*/ 2 h 63"/>
                  <a:gd name="T4" fmla="*/ 28 w 64"/>
                  <a:gd name="T5" fmla="*/ 2 h 63"/>
                  <a:gd name="T6" fmla="*/ 18 w 64"/>
                  <a:gd name="T7" fmla="*/ 2 h 63"/>
                  <a:gd name="T8" fmla="*/ 10 w 64"/>
                  <a:gd name="T9" fmla="*/ 2 h 63"/>
                  <a:gd name="T10" fmla="*/ 7 w 64"/>
                  <a:gd name="T11" fmla="*/ 0 h 63"/>
                  <a:gd name="T12" fmla="*/ 4 w 64"/>
                  <a:gd name="T13" fmla="*/ 2 h 63"/>
                  <a:gd name="T14" fmla="*/ 1 w 64"/>
                  <a:gd name="T15" fmla="*/ 2 h 63"/>
                  <a:gd name="T16" fmla="*/ 6 w 64"/>
                  <a:gd name="T17" fmla="*/ 14 h 63"/>
                  <a:gd name="T18" fmla="*/ 9 w 64"/>
                  <a:gd name="T19" fmla="*/ 21 h 63"/>
                  <a:gd name="T20" fmla="*/ 13 w 64"/>
                  <a:gd name="T21" fmla="*/ 29 h 63"/>
                  <a:gd name="T22" fmla="*/ 13 w 64"/>
                  <a:gd name="T23" fmla="*/ 34 h 63"/>
                  <a:gd name="T24" fmla="*/ 14 w 64"/>
                  <a:gd name="T25" fmla="*/ 42 h 63"/>
                  <a:gd name="T26" fmla="*/ 16 w 64"/>
                  <a:gd name="T27" fmla="*/ 51 h 63"/>
                  <a:gd name="T28" fmla="*/ 22 w 64"/>
                  <a:gd name="T29" fmla="*/ 61 h 63"/>
                  <a:gd name="T30" fmla="*/ 28 w 64"/>
                  <a:gd name="T31" fmla="*/ 62 h 63"/>
                  <a:gd name="T32" fmla="*/ 33 w 64"/>
                  <a:gd name="T33" fmla="*/ 62 h 63"/>
                  <a:gd name="T34" fmla="*/ 38 w 64"/>
                  <a:gd name="T35" fmla="*/ 58 h 63"/>
                  <a:gd name="T36" fmla="*/ 38 w 64"/>
                  <a:gd name="T37" fmla="*/ 40 h 63"/>
                  <a:gd name="T38" fmla="*/ 38 w 64"/>
                  <a:gd name="T39" fmla="*/ 28 h 63"/>
                  <a:gd name="T40" fmla="*/ 39 w 64"/>
                  <a:gd name="T41" fmla="*/ 26 h 63"/>
                  <a:gd name="T42" fmla="*/ 43 w 64"/>
                  <a:gd name="T43" fmla="*/ 26 h 63"/>
                  <a:gd name="T44" fmla="*/ 43 w 64"/>
                  <a:gd name="T45" fmla="*/ 7 h 63"/>
                  <a:gd name="T46" fmla="*/ 51 w 64"/>
                  <a:gd name="T47" fmla="*/ 6 h 63"/>
                  <a:gd name="T48" fmla="*/ 53 w 64"/>
                  <a:gd name="T49" fmla="*/ 5 h 63"/>
                  <a:gd name="T50" fmla="*/ 56 w 64"/>
                  <a:gd name="T51" fmla="*/ 8 h 63"/>
                  <a:gd name="T52" fmla="*/ 58 w 64"/>
                  <a:gd name="T53" fmla="*/ 6 h 63"/>
                  <a:gd name="T54" fmla="*/ 62 w 64"/>
                  <a:gd name="T55" fmla="*/ 5 h 63"/>
                  <a:gd name="T56" fmla="*/ 59 w 64"/>
                  <a:gd name="T57" fmla="*/ 2 h 63"/>
                  <a:gd name="T58" fmla="*/ 45 w 64"/>
                  <a:gd name="T59" fmla="*/ 5 h 63"/>
                  <a:gd name="T60" fmla="*/ 33 w 64"/>
                  <a:gd name="T61" fmla="*/ 5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4" h="63">
                    <a:moveTo>
                      <a:pt x="33" y="5"/>
                    </a:moveTo>
                    <a:cubicBezTo>
                      <a:pt x="32" y="5"/>
                      <a:pt x="31" y="2"/>
                      <a:pt x="31" y="2"/>
                    </a:cubicBezTo>
                    <a:cubicBezTo>
                      <a:pt x="30" y="2"/>
                      <a:pt x="29" y="2"/>
                      <a:pt x="28" y="2"/>
                    </a:cubicBezTo>
                    <a:cubicBezTo>
                      <a:pt x="25" y="2"/>
                      <a:pt x="21" y="2"/>
                      <a:pt x="18" y="2"/>
                    </a:cubicBezTo>
                    <a:cubicBezTo>
                      <a:pt x="15" y="2"/>
                      <a:pt x="13" y="2"/>
                      <a:pt x="10" y="2"/>
                    </a:cubicBezTo>
                    <a:cubicBezTo>
                      <a:pt x="9" y="2"/>
                      <a:pt x="9" y="0"/>
                      <a:pt x="7" y="0"/>
                    </a:cubicBezTo>
                    <a:cubicBezTo>
                      <a:pt x="6" y="0"/>
                      <a:pt x="5" y="2"/>
                      <a:pt x="4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0" y="7"/>
                      <a:pt x="4" y="9"/>
                      <a:pt x="6" y="14"/>
                    </a:cubicBezTo>
                    <a:cubicBezTo>
                      <a:pt x="7" y="16"/>
                      <a:pt x="8" y="19"/>
                      <a:pt x="9" y="21"/>
                    </a:cubicBezTo>
                    <a:cubicBezTo>
                      <a:pt x="10" y="24"/>
                      <a:pt x="12" y="26"/>
                      <a:pt x="13" y="29"/>
                    </a:cubicBezTo>
                    <a:cubicBezTo>
                      <a:pt x="13" y="30"/>
                      <a:pt x="13" y="33"/>
                      <a:pt x="13" y="34"/>
                    </a:cubicBezTo>
                    <a:cubicBezTo>
                      <a:pt x="13" y="37"/>
                      <a:pt x="14" y="39"/>
                      <a:pt x="14" y="42"/>
                    </a:cubicBezTo>
                    <a:cubicBezTo>
                      <a:pt x="15" y="45"/>
                      <a:pt x="15" y="48"/>
                      <a:pt x="16" y="51"/>
                    </a:cubicBezTo>
                    <a:cubicBezTo>
                      <a:pt x="17" y="55"/>
                      <a:pt x="20" y="58"/>
                      <a:pt x="22" y="61"/>
                    </a:cubicBezTo>
                    <a:cubicBezTo>
                      <a:pt x="25" y="58"/>
                      <a:pt x="25" y="60"/>
                      <a:pt x="28" y="62"/>
                    </a:cubicBezTo>
                    <a:cubicBezTo>
                      <a:pt x="29" y="63"/>
                      <a:pt x="32" y="63"/>
                      <a:pt x="33" y="62"/>
                    </a:cubicBezTo>
                    <a:cubicBezTo>
                      <a:pt x="36" y="62"/>
                      <a:pt x="38" y="61"/>
                      <a:pt x="38" y="58"/>
                    </a:cubicBezTo>
                    <a:cubicBezTo>
                      <a:pt x="38" y="52"/>
                      <a:pt x="38" y="46"/>
                      <a:pt x="38" y="40"/>
                    </a:cubicBezTo>
                    <a:cubicBezTo>
                      <a:pt x="38" y="36"/>
                      <a:pt x="38" y="32"/>
                      <a:pt x="38" y="28"/>
                    </a:cubicBezTo>
                    <a:cubicBezTo>
                      <a:pt x="38" y="27"/>
                      <a:pt x="38" y="26"/>
                      <a:pt x="39" y="26"/>
                    </a:cubicBezTo>
                    <a:cubicBezTo>
                      <a:pt x="39" y="26"/>
                      <a:pt x="43" y="26"/>
                      <a:pt x="43" y="26"/>
                    </a:cubicBezTo>
                    <a:cubicBezTo>
                      <a:pt x="43" y="20"/>
                      <a:pt x="43" y="13"/>
                      <a:pt x="43" y="7"/>
                    </a:cubicBezTo>
                    <a:cubicBezTo>
                      <a:pt x="46" y="8"/>
                      <a:pt x="48" y="6"/>
                      <a:pt x="51" y="6"/>
                    </a:cubicBezTo>
                    <a:cubicBezTo>
                      <a:pt x="51" y="5"/>
                      <a:pt x="52" y="5"/>
                      <a:pt x="53" y="5"/>
                    </a:cubicBezTo>
                    <a:cubicBezTo>
                      <a:pt x="53" y="5"/>
                      <a:pt x="55" y="8"/>
                      <a:pt x="56" y="8"/>
                    </a:cubicBezTo>
                    <a:cubicBezTo>
                      <a:pt x="57" y="7"/>
                      <a:pt x="56" y="6"/>
                      <a:pt x="58" y="6"/>
                    </a:cubicBezTo>
                    <a:cubicBezTo>
                      <a:pt x="59" y="6"/>
                      <a:pt x="60" y="5"/>
                      <a:pt x="62" y="5"/>
                    </a:cubicBezTo>
                    <a:cubicBezTo>
                      <a:pt x="64" y="4"/>
                      <a:pt x="60" y="2"/>
                      <a:pt x="59" y="2"/>
                    </a:cubicBezTo>
                    <a:cubicBezTo>
                      <a:pt x="54" y="2"/>
                      <a:pt x="50" y="5"/>
                      <a:pt x="45" y="5"/>
                    </a:cubicBezTo>
                    <a:cubicBezTo>
                      <a:pt x="41" y="5"/>
                      <a:pt x="37" y="5"/>
                      <a:pt x="33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1" name="Freeform 733">
                <a:extLst>
                  <a:ext uri="{FF2B5EF4-FFF2-40B4-BE49-F238E27FC236}">
                    <a16:creationId xmlns:a16="http://schemas.microsoft.com/office/drawing/2014/main" id="{B166E7B3-84BC-4CBF-8EE7-F07495CAE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3542" y="4390705"/>
                <a:ext cx="425271" cy="444384"/>
              </a:xfrm>
              <a:custGeom>
                <a:avLst/>
                <a:gdLst>
                  <a:gd name="T0" fmla="*/ 89 w 91"/>
                  <a:gd name="T1" fmla="*/ 10 h 95"/>
                  <a:gd name="T2" fmla="*/ 83 w 91"/>
                  <a:gd name="T3" fmla="*/ 4 h 95"/>
                  <a:gd name="T4" fmla="*/ 77 w 91"/>
                  <a:gd name="T5" fmla="*/ 6 h 95"/>
                  <a:gd name="T6" fmla="*/ 72 w 91"/>
                  <a:gd name="T7" fmla="*/ 1 h 95"/>
                  <a:gd name="T8" fmla="*/ 65 w 91"/>
                  <a:gd name="T9" fmla="*/ 1 h 95"/>
                  <a:gd name="T10" fmla="*/ 57 w 91"/>
                  <a:gd name="T11" fmla="*/ 2 h 95"/>
                  <a:gd name="T12" fmla="*/ 48 w 91"/>
                  <a:gd name="T13" fmla="*/ 6 h 95"/>
                  <a:gd name="T14" fmla="*/ 35 w 91"/>
                  <a:gd name="T15" fmla="*/ 2 h 95"/>
                  <a:gd name="T16" fmla="*/ 30 w 91"/>
                  <a:gd name="T17" fmla="*/ 12 h 95"/>
                  <a:gd name="T18" fmla="*/ 19 w 91"/>
                  <a:gd name="T19" fmla="*/ 35 h 95"/>
                  <a:gd name="T20" fmla="*/ 17 w 91"/>
                  <a:gd name="T21" fmla="*/ 48 h 95"/>
                  <a:gd name="T22" fmla="*/ 10 w 91"/>
                  <a:gd name="T23" fmla="*/ 49 h 95"/>
                  <a:gd name="T24" fmla="*/ 2 w 91"/>
                  <a:gd name="T25" fmla="*/ 55 h 95"/>
                  <a:gd name="T26" fmla="*/ 1 w 91"/>
                  <a:gd name="T27" fmla="*/ 59 h 95"/>
                  <a:gd name="T28" fmla="*/ 18 w 91"/>
                  <a:gd name="T29" fmla="*/ 57 h 95"/>
                  <a:gd name="T30" fmla="*/ 26 w 91"/>
                  <a:gd name="T31" fmla="*/ 68 h 95"/>
                  <a:gd name="T32" fmla="*/ 35 w 91"/>
                  <a:gd name="T33" fmla="*/ 63 h 95"/>
                  <a:gd name="T34" fmla="*/ 41 w 91"/>
                  <a:gd name="T35" fmla="*/ 64 h 95"/>
                  <a:gd name="T36" fmla="*/ 46 w 91"/>
                  <a:gd name="T37" fmla="*/ 70 h 95"/>
                  <a:gd name="T38" fmla="*/ 47 w 91"/>
                  <a:gd name="T39" fmla="*/ 78 h 95"/>
                  <a:gd name="T40" fmla="*/ 53 w 91"/>
                  <a:gd name="T41" fmla="*/ 82 h 95"/>
                  <a:gd name="T42" fmla="*/ 60 w 91"/>
                  <a:gd name="T43" fmla="*/ 84 h 95"/>
                  <a:gd name="T44" fmla="*/ 66 w 91"/>
                  <a:gd name="T45" fmla="*/ 87 h 95"/>
                  <a:gd name="T46" fmla="*/ 76 w 91"/>
                  <a:gd name="T47" fmla="*/ 90 h 95"/>
                  <a:gd name="T48" fmla="*/ 84 w 91"/>
                  <a:gd name="T49" fmla="*/ 94 h 95"/>
                  <a:gd name="T50" fmla="*/ 77 w 91"/>
                  <a:gd name="T51" fmla="*/ 85 h 95"/>
                  <a:gd name="T52" fmla="*/ 78 w 91"/>
                  <a:gd name="T53" fmla="*/ 73 h 95"/>
                  <a:gd name="T54" fmla="*/ 80 w 91"/>
                  <a:gd name="T55" fmla="*/ 70 h 95"/>
                  <a:gd name="T56" fmla="*/ 84 w 91"/>
                  <a:gd name="T57" fmla="*/ 63 h 95"/>
                  <a:gd name="T58" fmla="*/ 81 w 91"/>
                  <a:gd name="T59" fmla="*/ 55 h 95"/>
                  <a:gd name="T60" fmla="*/ 81 w 91"/>
                  <a:gd name="T61" fmla="*/ 45 h 95"/>
                  <a:gd name="T62" fmla="*/ 83 w 91"/>
                  <a:gd name="T63" fmla="*/ 28 h 95"/>
                  <a:gd name="T64" fmla="*/ 90 w 91"/>
                  <a:gd name="T65" fmla="*/ 18 h 95"/>
                  <a:gd name="T66" fmla="*/ 90 w 91"/>
                  <a:gd name="T67" fmla="*/ 1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1" h="95">
                    <a:moveTo>
                      <a:pt x="90" y="15"/>
                    </a:moveTo>
                    <a:cubicBezTo>
                      <a:pt x="89" y="14"/>
                      <a:pt x="89" y="12"/>
                      <a:pt x="89" y="10"/>
                    </a:cubicBezTo>
                    <a:cubicBezTo>
                      <a:pt x="89" y="9"/>
                      <a:pt x="87" y="8"/>
                      <a:pt x="86" y="7"/>
                    </a:cubicBezTo>
                    <a:cubicBezTo>
                      <a:pt x="86" y="6"/>
                      <a:pt x="84" y="4"/>
                      <a:pt x="83" y="4"/>
                    </a:cubicBezTo>
                    <a:cubicBezTo>
                      <a:pt x="82" y="4"/>
                      <a:pt x="82" y="6"/>
                      <a:pt x="80" y="5"/>
                    </a:cubicBezTo>
                    <a:cubicBezTo>
                      <a:pt x="78" y="4"/>
                      <a:pt x="79" y="5"/>
                      <a:pt x="77" y="6"/>
                    </a:cubicBezTo>
                    <a:cubicBezTo>
                      <a:pt x="77" y="6"/>
                      <a:pt x="75" y="5"/>
                      <a:pt x="75" y="4"/>
                    </a:cubicBezTo>
                    <a:cubicBezTo>
                      <a:pt x="74" y="3"/>
                      <a:pt x="73" y="2"/>
                      <a:pt x="72" y="1"/>
                    </a:cubicBezTo>
                    <a:cubicBezTo>
                      <a:pt x="71" y="0"/>
                      <a:pt x="70" y="2"/>
                      <a:pt x="69" y="2"/>
                    </a:cubicBezTo>
                    <a:cubicBezTo>
                      <a:pt x="68" y="3"/>
                      <a:pt x="66" y="2"/>
                      <a:pt x="65" y="1"/>
                    </a:cubicBezTo>
                    <a:cubicBezTo>
                      <a:pt x="63" y="0"/>
                      <a:pt x="63" y="1"/>
                      <a:pt x="61" y="2"/>
                    </a:cubicBezTo>
                    <a:cubicBezTo>
                      <a:pt x="60" y="3"/>
                      <a:pt x="58" y="2"/>
                      <a:pt x="57" y="2"/>
                    </a:cubicBezTo>
                    <a:cubicBezTo>
                      <a:pt x="56" y="3"/>
                      <a:pt x="53" y="3"/>
                      <a:pt x="52" y="3"/>
                    </a:cubicBezTo>
                    <a:cubicBezTo>
                      <a:pt x="49" y="1"/>
                      <a:pt x="51" y="6"/>
                      <a:pt x="48" y="6"/>
                    </a:cubicBezTo>
                    <a:cubicBezTo>
                      <a:pt x="46" y="7"/>
                      <a:pt x="42" y="6"/>
                      <a:pt x="40" y="5"/>
                    </a:cubicBezTo>
                    <a:cubicBezTo>
                      <a:pt x="38" y="4"/>
                      <a:pt x="37" y="2"/>
                      <a:pt x="35" y="2"/>
                    </a:cubicBezTo>
                    <a:cubicBezTo>
                      <a:pt x="34" y="1"/>
                      <a:pt x="32" y="3"/>
                      <a:pt x="31" y="4"/>
                    </a:cubicBezTo>
                    <a:cubicBezTo>
                      <a:pt x="29" y="6"/>
                      <a:pt x="31" y="9"/>
                      <a:pt x="30" y="12"/>
                    </a:cubicBezTo>
                    <a:cubicBezTo>
                      <a:pt x="27" y="17"/>
                      <a:pt x="27" y="23"/>
                      <a:pt x="24" y="27"/>
                    </a:cubicBezTo>
                    <a:cubicBezTo>
                      <a:pt x="22" y="30"/>
                      <a:pt x="21" y="32"/>
                      <a:pt x="19" y="35"/>
                    </a:cubicBezTo>
                    <a:cubicBezTo>
                      <a:pt x="18" y="37"/>
                      <a:pt x="18" y="39"/>
                      <a:pt x="18" y="41"/>
                    </a:cubicBezTo>
                    <a:cubicBezTo>
                      <a:pt x="18" y="44"/>
                      <a:pt x="19" y="46"/>
                      <a:pt x="17" y="48"/>
                    </a:cubicBezTo>
                    <a:cubicBezTo>
                      <a:pt x="16" y="48"/>
                      <a:pt x="11" y="51"/>
                      <a:pt x="11" y="51"/>
                    </a:cubicBezTo>
                    <a:cubicBezTo>
                      <a:pt x="10" y="51"/>
                      <a:pt x="12" y="48"/>
                      <a:pt x="10" y="49"/>
                    </a:cubicBezTo>
                    <a:cubicBezTo>
                      <a:pt x="7" y="51"/>
                      <a:pt x="7" y="53"/>
                      <a:pt x="5" y="50"/>
                    </a:cubicBezTo>
                    <a:cubicBezTo>
                      <a:pt x="4" y="51"/>
                      <a:pt x="2" y="53"/>
                      <a:pt x="2" y="55"/>
                    </a:cubicBezTo>
                    <a:cubicBezTo>
                      <a:pt x="2" y="55"/>
                      <a:pt x="2" y="56"/>
                      <a:pt x="1" y="56"/>
                    </a:cubicBezTo>
                    <a:cubicBezTo>
                      <a:pt x="0" y="57"/>
                      <a:pt x="1" y="58"/>
                      <a:pt x="1" y="59"/>
                    </a:cubicBezTo>
                    <a:cubicBezTo>
                      <a:pt x="5" y="56"/>
                      <a:pt x="8" y="57"/>
                      <a:pt x="13" y="57"/>
                    </a:cubicBezTo>
                    <a:cubicBezTo>
                      <a:pt x="15" y="57"/>
                      <a:pt x="16" y="57"/>
                      <a:pt x="18" y="57"/>
                    </a:cubicBezTo>
                    <a:cubicBezTo>
                      <a:pt x="20" y="57"/>
                      <a:pt x="21" y="60"/>
                      <a:pt x="22" y="62"/>
                    </a:cubicBezTo>
                    <a:cubicBezTo>
                      <a:pt x="23" y="64"/>
                      <a:pt x="24" y="67"/>
                      <a:pt x="26" y="68"/>
                    </a:cubicBezTo>
                    <a:cubicBezTo>
                      <a:pt x="27" y="69"/>
                      <a:pt x="31" y="68"/>
                      <a:pt x="33" y="67"/>
                    </a:cubicBezTo>
                    <a:cubicBezTo>
                      <a:pt x="34" y="67"/>
                      <a:pt x="34" y="64"/>
                      <a:pt x="35" y="63"/>
                    </a:cubicBezTo>
                    <a:cubicBezTo>
                      <a:pt x="35" y="61"/>
                      <a:pt x="38" y="62"/>
                      <a:pt x="39" y="62"/>
                    </a:cubicBezTo>
                    <a:cubicBezTo>
                      <a:pt x="39" y="64"/>
                      <a:pt x="39" y="64"/>
                      <a:pt x="41" y="64"/>
                    </a:cubicBezTo>
                    <a:cubicBezTo>
                      <a:pt x="42" y="64"/>
                      <a:pt x="45" y="63"/>
                      <a:pt x="45" y="65"/>
                    </a:cubicBezTo>
                    <a:cubicBezTo>
                      <a:pt x="45" y="67"/>
                      <a:pt x="46" y="68"/>
                      <a:pt x="46" y="70"/>
                    </a:cubicBezTo>
                    <a:cubicBezTo>
                      <a:pt x="46" y="71"/>
                      <a:pt x="46" y="72"/>
                      <a:pt x="45" y="74"/>
                    </a:cubicBezTo>
                    <a:cubicBezTo>
                      <a:pt x="45" y="75"/>
                      <a:pt x="46" y="77"/>
                      <a:pt x="47" y="78"/>
                    </a:cubicBezTo>
                    <a:cubicBezTo>
                      <a:pt x="48" y="79"/>
                      <a:pt x="47" y="81"/>
                      <a:pt x="47" y="82"/>
                    </a:cubicBezTo>
                    <a:cubicBezTo>
                      <a:pt x="47" y="85"/>
                      <a:pt x="52" y="82"/>
                      <a:pt x="53" y="82"/>
                    </a:cubicBezTo>
                    <a:cubicBezTo>
                      <a:pt x="55" y="82"/>
                      <a:pt x="56" y="82"/>
                      <a:pt x="57" y="83"/>
                    </a:cubicBezTo>
                    <a:cubicBezTo>
                      <a:pt x="59" y="85"/>
                      <a:pt x="58" y="84"/>
                      <a:pt x="60" y="84"/>
                    </a:cubicBezTo>
                    <a:cubicBezTo>
                      <a:pt x="62" y="84"/>
                      <a:pt x="62" y="85"/>
                      <a:pt x="63" y="86"/>
                    </a:cubicBezTo>
                    <a:cubicBezTo>
                      <a:pt x="64" y="86"/>
                      <a:pt x="65" y="87"/>
                      <a:pt x="66" y="87"/>
                    </a:cubicBezTo>
                    <a:cubicBezTo>
                      <a:pt x="69" y="88"/>
                      <a:pt x="70" y="88"/>
                      <a:pt x="71" y="85"/>
                    </a:cubicBezTo>
                    <a:cubicBezTo>
                      <a:pt x="72" y="88"/>
                      <a:pt x="73" y="89"/>
                      <a:pt x="76" y="90"/>
                    </a:cubicBezTo>
                    <a:cubicBezTo>
                      <a:pt x="78" y="91"/>
                      <a:pt x="78" y="94"/>
                      <a:pt x="80" y="95"/>
                    </a:cubicBezTo>
                    <a:cubicBezTo>
                      <a:pt x="80" y="95"/>
                      <a:pt x="84" y="94"/>
                      <a:pt x="84" y="94"/>
                    </a:cubicBezTo>
                    <a:cubicBezTo>
                      <a:pt x="84" y="92"/>
                      <a:pt x="85" y="88"/>
                      <a:pt x="83" y="89"/>
                    </a:cubicBezTo>
                    <a:cubicBezTo>
                      <a:pt x="80" y="90"/>
                      <a:pt x="78" y="88"/>
                      <a:pt x="77" y="85"/>
                    </a:cubicBezTo>
                    <a:cubicBezTo>
                      <a:pt x="77" y="83"/>
                      <a:pt x="79" y="80"/>
                      <a:pt x="78" y="77"/>
                    </a:cubicBezTo>
                    <a:cubicBezTo>
                      <a:pt x="78" y="76"/>
                      <a:pt x="77" y="74"/>
                      <a:pt x="78" y="73"/>
                    </a:cubicBezTo>
                    <a:cubicBezTo>
                      <a:pt x="78" y="73"/>
                      <a:pt x="78" y="72"/>
                      <a:pt x="79" y="72"/>
                    </a:cubicBezTo>
                    <a:cubicBezTo>
                      <a:pt x="80" y="72"/>
                      <a:pt x="79" y="70"/>
                      <a:pt x="80" y="70"/>
                    </a:cubicBezTo>
                    <a:cubicBezTo>
                      <a:pt x="81" y="68"/>
                      <a:pt x="86" y="68"/>
                      <a:pt x="87" y="68"/>
                    </a:cubicBezTo>
                    <a:cubicBezTo>
                      <a:pt x="85" y="67"/>
                      <a:pt x="86" y="64"/>
                      <a:pt x="84" y="63"/>
                    </a:cubicBezTo>
                    <a:cubicBezTo>
                      <a:pt x="83" y="62"/>
                      <a:pt x="82" y="61"/>
                      <a:pt x="82" y="60"/>
                    </a:cubicBezTo>
                    <a:cubicBezTo>
                      <a:pt x="82" y="58"/>
                      <a:pt x="82" y="56"/>
                      <a:pt x="81" y="55"/>
                    </a:cubicBezTo>
                    <a:cubicBezTo>
                      <a:pt x="81" y="53"/>
                      <a:pt x="80" y="52"/>
                      <a:pt x="80" y="50"/>
                    </a:cubicBezTo>
                    <a:cubicBezTo>
                      <a:pt x="80" y="49"/>
                      <a:pt x="80" y="44"/>
                      <a:pt x="81" y="45"/>
                    </a:cubicBezTo>
                    <a:cubicBezTo>
                      <a:pt x="80" y="41"/>
                      <a:pt x="80" y="39"/>
                      <a:pt x="82" y="35"/>
                    </a:cubicBezTo>
                    <a:cubicBezTo>
                      <a:pt x="83" y="32"/>
                      <a:pt x="83" y="31"/>
                      <a:pt x="83" y="28"/>
                    </a:cubicBezTo>
                    <a:cubicBezTo>
                      <a:pt x="83" y="25"/>
                      <a:pt x="85" y="23"/>
                      <a:pt x="87" y="21"/>
                    </a:cubicBezTo>
                    <a:cubicBezTo>
                      <a:pt x="88" y="20"/>
                      <a:pt x="89" y="19"/>
                      <a:pt x="90" y="18"/>
                    </a:cubicBezTo>
                    <a:cubicBezTo>
                      <a:pt x="91" y="17"/>
                      <a:pt x="91" y="17"/>
                      <a:pt x="90" y="15"/>
                    </a:cubicBezTo>
                    <a:cubicBezTo>
                      <a:pt x="89" y="15"/>
                      <a:pt x="91" y="16"/>
                      <a:pt x="90" y="1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2" name="Freeform 734">
                <a:extLst>
                  <a:ext uri="{FF2B5EF4-FFF2-40B4-BE49-F238E27FC236}">
                    <a16:creationId xmlns:a16="http://schemas.microsoft.com/office/drawing/2014/main" id="{D44948EC-A9D8-4E04-A0DC-CD119EBE56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8764" y="4653513"/>
                <a:ext cx="262808" cy="294664"/>
              </a:xfrm>
              <a:custGeom>
                <a:avLst/>
                <a:gdLst>
                  <a:gd name="T0" fmla="*/ 51 w 56"/>
                  <a:gd name="T1" fmla="*/ 27 h 63"/>
                  <a:gd name="T2" fmla="*/ 48 w 56"/>
                  <a:gd name="T3" fmla="*/ 26 h 63"/>
                  <a:gd name="T4" fmla="*/ 47 w 56"/>
                  <a:gd name="T5" fmla="*/ 21 h 63"/>
                  <a:gd name="T6" fmla="*/ 46 w 56"/>
                  <a:gd name="T7" fmla="*/ 12 h 63"/>
                  <a:gd name="T8" fmla="*/ 46 w 56"/>
                  <a:gd name="T9" fmla="*/ 8 h 63"/>
                  <a:gd name="T10" fmla="*/ 43 w 56"/>
                  <a:gd name="T11" fmla="*/ 8 h 63"/>
                  <a:gd name="T12" fmla="*/ 40 w 56"/>
                  <a:gd name="T13" fmla="*/ 6 h 63"/>
                  <a:gd name="T14" fmla="*/ 35 w 56"/>
                  <a:gd name="T15" fmla="*/ 8 h 63"/>
                  <a:gd name="T16" fmla="*/ 34 w 56"/>
                  <a:gd name="T17" fmla="*/ 11 h 63"/>
                  <a:gd name="T18" fmla="*/ 29 w 56"/>
                  <a:gd name="T19" fmla="*/ 12 h 63"/>
                  <a:gd name="T20" fmla="*/ 18 w 56"/>
                  <a:gd name="T21" fmla="*/ 1 h 63"/>
                  <a:gd name="T22" fmla="*/ 3 w 56"/>
                  <a:gd name="T23" fmla="*/ 2 h 63"/>
                  <a:gd name="T24" fmla="*/ 6 w 56"/>
                  <a:gd name="T25" fmla="*/ 12 h 63"/>
                  <a:gd name="T26" fmla="*/ 6 w 56"/>
                  <a:gd name="T27" fmla="*/ 16 h 63"/>
                  <a:gd name="T28" fmla="*/ 6 w 56"/>
                  <a:gd name="T29" fmla="*/ 20 h 63"/>
                  <a:gd name="T30" fmla="*/ 8 w 56"/>
                  <a:gd name="T31" fmla="*/ 33 h 63"/>
                  <a:gd name="T32" fmla="*/ 3 w 56"/>
                  <a:gd name="T33" fmla="*/ 41 h 63"/>
                  <a:gd name="T34" fmla="*/ 0 w 56"/>
                  <a:gd name="T35" fmla="*/ 50 h 63"/>
                  <a:gd name="T36" fmla="*/ 0 w 56"/>
                  <a:gd name="T37" fmla="*/ 55 h 63"/>
                  <a:gd name="T38" fmla="*/ 0 w 56"/>
                  <a:gd name="T39" fmla="*/ 59 h 63"/>
                  <a:gd name="T40" fmla="*/ 3 w 56"/>
                  <a:gd name="T41" fmla="*/ 59 h 63"/>
                  <a:gd name="T42" fmla="*/ 8 w 56"/>
                  <a:gd name="T43" fmla="*/ 58 h 63"/>
                  <a:gd name="T44" fmla="*/ 9 w 56"/>
                  <a:gd name="T45" fmla="*/ 59 h 63"/>
                  <a:gd name="T46" fmla="*/ 16 w 56"/>
                  <a:gd name="T47" fmla="*/ 59 h 63"/>
                  <a:gd name="T48" fmla="*/ 25 w 56"/>
                  <a:gd name="T49" fmla="*/ 59 h 63"/>
                  <a:gd name="T50" fmla="*/ 30 w 56"/>
                  <a:gd name="T51" fmla="*/ 59 h 63"/>
                  <a:gd name="T52" fmla="*/ 39 w 56"/>
                  <a:gd name="T53" fmla="*/ 62 h 63"/>
                  <a:gd name="T54" fmla="*/ 53 w 56"/>
                  <a:gd name="T55" fmla="*/ 60 h 63"/>
                  <a:gd name="T56" fmla="*/ 46 w 56"/>
                  <a:gd name="T57" fmla="*/ 51 h 63"/>
                  <a:gd name="T58" fmla="*/ 46 w 56"/>
                  <a:gd name="T59" fmla="*/ 37 h 63"/>
                  <a:gd name="T60" fmla="*/ 56 w 56"/>
                  <a:gd name="T61" fmla="*/ 35 h 63"/>
                  <a:gd name="T62" fmla="*/ 56 w 56"/>
                  <a:gd name="T63" fmla="*/ 27 h 63"/>
                  <a:gd name="T64" fmla="*/ 51 w 56"/>
                  <a:gd name="T65" fmla="*/ 2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6" h="63">
                    <a:moveTo>
                      <a:pt x="51" y="27"/>
                    </a:moveTo>
                    <a:cubicBezTo>
                      <a:pt x="49" y="27"/>
                      <a:pt x="48" y="28"/>
                      <a:pt x="48" y="26"/>
                    </a:cubicBezTo>
                    <a:cubicBezTo>
                      <a:pt x="48" y="24"/>
                      <a:pt x="48" y="23"/>
                      <a:pt x="47" y="21"/>
                    </a:cubicBezTo>
                    <a:cubicBezTo>
                      <a:pt x="45" y="18"/>
                      <a:pt x="48" y="15"/>
                      <a:pt x="46" y="12"/>
                    </a:cubicBezTo>
                    <a:cubicBezTo>
                      <a:pt x="46" y="11"/>
                      <a:pt x="46" y="8"/>
                      <a:pt x="46" y="8"/>
                    </a:cubicBezTo>
                    <a:cubicBezTo>
                      <a:pt x="46" y="8"/>
                      <a:pt x="43" y="8"/>
                      <a:pt x="43" y="8"/>
                    </a:cubicBezTo>
                    <a:cubicBezTo>
                      <a:pt x="40" y="8"/>
                      <a:pt x="40" y="9"/>
                      <a:pt x="40" y="6"/>
                    </a:cubicBezTo>
                    <a:cubicBezTo>
                      <a:pt x="37" y="6"/>
                      <a:pt x="36" y="5"/>
                      <a:pt x="35" y="8"/>
                    </a:cubicBezTo>
                    <a:cubicBezTo>
                      <a:pt x="35" y="8"/>
                      <a:pt x="35" y="11"/>
                      <a:pt x="34" y="11"/>
                    </a:cubicBezTo>
                    <a:cubicBezTo>
                      <a:pt x="33" y="12"/>
                      <a:pt x="31" y="12"/>
                      <a:pt x="29" y="12"/>
                    </a:cubicBezTo>
                    <a:cubicBezTo>
                      <a:pt x="22" y="13"/>
                      <a:pt x="24" y="1"/>
                      <a:pt x="18" y="1"/>
                    </a:cubicBezTo>
                    <a:cubicBezTo>
                      <a:pt x="13" y="1"/>
                      <a:pt x="7" y="0"/>
                      <a:pt x="3" y="2"/>
                    </a:cubicBezTo>
                    <a:cubicBezTo>
                      <a:pt x="1" y="4"/>
                      <a:pt x="6" y="10"/>
                      <a:pt x="6" y="12"/>
                    </a:cubicBezTo>
                    <a:cubicBezTo>
                      <a:pt x="7" y="13"/>
                      <a:pt x="7" y="15"/>
                      <a:pt x="6" y="16"/>
                    </a:cubicBezTo>
                    <a:cubicBezTo>
                      <a:pt x="4" y="17"/>
                      <a:pt x="6" y="19"/>
                      <a:pt x="6" y="20"/>
                    </a:cubicBezTo>
                    <a:cubicBezTo>
                      <a:pt x="9" y="24"/>
                      <a:pt x="11" y="29"/>
                      <a:pt x="8" y="33"/>
                    </a:cubicBezTo>
                    <a:cubicBezTo>
                      <a:pt x="6" y="36"/>
                      <a:pt x="4" y="38"/>
                      <a:pt x="3" y="41"/>
                    </a:cubicBezTo>
                    <a:cubicBezTo>
                      <a:pt x="2" y="44"/>
                      <a:pt x="1" y="47"/>
                      <a:pt x="0" y="50"/>
                    </a:cubicBezTo>
                    <a:cubicBezTo>
                      <a:pt x="0" y="52"/>
                      <a:pt x="0" y="54"/>
                      <a:pt x="0" y="55"/>
                    </a:cubicBezTo>
                    <a:cubicBezTo>
                      <a:pt x="0" y="56"/>
                      <a:pt x="0" y="58"/>
                      <a:pt x="0" y="59"/>
                    </a:cubicBezTo>
                    <a:cubicBezTo>
                      <a:pt x="1" y="59"/>
                      <a:pt x="2" y="59"/>
                      <a:pt x="3" y="59"/>
                    </a:cubicBezTo>
                    <a:cubicBezTo>
                      <a:pt x="5" y="59"/>
                      <a:pt x="5" y="56"/>
                      <a:pt x="8" y="58"/>
                    </a:cubicBezTo>
                    <a:cubicBezTo>
                      <a:pt x="8" y="58"/>
                      <a:pt x="9" y="59"/>
                      <a:pt x="9" y="59"/>
                    </a:cubicBezTo>
                    <a:cubicBezTo>
                      <a:pt x="12" y="59"/>
                      <a:pt x="14" y="59"/>
                      <a:pt x="16" y="59"/>
                    </a:cubicBezTo>
                    <a:cubicBezTo>
                      <a:pt x="19" y="59"/>
                      <a:pt x="22" y="59"/>
                      <a:pt x="25" y="59"/>
                    </a:cubicBezTo>
                    <a:cubicBezTo>
                      <a:pt x="26" y="59"/>
                      <a:pt x="29" y="59"/>
                      <a:pt x="30" y="59"/>
                    </a:cubicBezTo>
                    <a:cubicBezTo>
                      <a:pt x="32" y="63"/>
                      <a:pt x="36" y="62"/>
                      <a:pt x="39" y="62"/>
                    </a:cubicBezTo>
                    <a:cubicBezTo>
                      <a:pt x="44" y="62"/>
                      <a:pt x="48" y="61"/>
                      <a:pt x="53" y="60"/>
                    </a:cubicBezTo>
                    <a:cubicBezTo>
                      <a:pt x="50" y="57"/>
                      <a:pt x="46" y="55"/>
                      <a:pt x="46" y="51"/>
                    </a:cubicBezTo>
                    <a:cubicBezTo>
                      <a:pt x="46" y="46"/>
                      <a:pt x="46" y="41"/>
                      <a:pt x="46" y="37"/>
                    </a:cubicBezTo>
                    <a:cubicBezTo>
                      <a:pt x="46" y="36"/>
                      <a:pt x="56" y="38"/>
                      <a:pt x="56" y="35"/>
                    </a:cubicBezTo>
                    <a:cubicBezTo>
                      <a:pt x="56" y="33"/>
                      <a:pt x="56" y="30"/>
                      <a:pt x="56" y="27"/>
                    </a:cubicBezTo>
                    <a:cubicBezTo>
                      <a:pt x="56" y="24"/>
                      <a:pt x="53" y="27"/>
                      <a:pt x="51" y="2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3" name="Freeform 735">
                <a:extLst>
                  <a:ext uri="{FF2B5EF4-FFF2-40B4-BE49-F238E27FC236}">
                    <a16:creationId xmlns:a16="http://schemas.microsoft.com/office/drawing/2014/main" id="{457947C6-88A2-4CF0-987E-2B57E7F12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598" y="4933841"/>
                <a:ext cx="215025" cy="224581"/>
              </a:xfrm>
              <a:custGeom>
                <a:avLst/>
                <a:gdLst>
                  <a:gd name="T0" fmla="*/ 25 w 46"/>
                  <a:gd name="T1" fmla="*/ 2 h 48"/>
                  <a:gd name="T2" fmla="*/ 21 w 46"/>
                  <a:gd name="T3" fmla="*/ 3 h 48"/>
                  <a:gd name="T4" fmla="*/ 18 w 46"/>
                  <a:gd name="T5" fmla="*/ 4 h 48"/>
                  <a:gd name="T6" fmla="*/ 6 w 46"/>
                  <a:gd name="T7" fmla="*/ 4 h 48"/>
                  <a:gd name="T8" fmla="*/ 6 w 46"/>
                  <a:gd name="T9" fmla="*/ 18 h 48"/>
                  <a:gd name="T10" fmla="*/ 6 w 46"/>
                  <a:gd name="T11" fmla="*/ 23 h 48"/>
                  <a:gd name="T12" fmla="*/ 1 w 46"/>
                  <a:gd name="T13" fmla="*/ 24 h 48"/>
                  <a:gd name="T14" fmla="*/ 1 w 46"/>
                  <a:gd name="T15" fmla="*/ 31 h 48"/>
                  <a:gd name="T16" fmla="*/ 1 w 46"/>
                  <a:gd name="T17" fmla="*/ 38 h 48"/>
                  <a:gd name="T18" fmla="*/ 4 w 46"/>
                  <a:gd name="T19" fmla="*/ 47 h 48"/>
                  <a:gd name="T20" fmla="*/ 8 w 46"/>
                  <a:gd name="T21" fmla="*/ 48 h 48"/>
                  <a:gd name="T22" fmla="*/ 13 w 46"/>
                  <a:gd name="T23" fmla="*/ 44 h 48"/>
                  <a:gd name="T24" fmla="*/ 19 w 46"/>
                  <a:gd name="T25" fmla="*/ 41 h 48"/>
                  <a:gd name="T26" fmla="*/ 29 w 46"/>
                  <a:gd name="T27" fmla="*/ 39 h 48"/>
                  <a:gd name="T28" fmla="*/ 31 w 46"/>
                  <a:gd name="T29" fmla="*/ 37 h 48"/>
                  <a:gd name="T30" fmla="*/ 34 w 46"/>
                  <a:gd name="T31" fmla="*/ 34 h 48"/>
                  <a:gd name="T32" fmla="*/ 43 w 46"/>
                  <a:gd name="T33" fmla="*/ 26 h 48"/>
                  <a:gd name="T34" fmla="*/ 44 w 46"/>
                  <a:gd name="T35" fmla="*/ 22 h 48"/>
                  <a:gd name="T36" fmla="*/ 40 w 46"/>
                  <a:gd name="T37" fmla="*/ 21 h 48"/>
                  <a:gd name="T38" fmla="*/ 38 w 46"/>
                  <a:gd name="T39" fmla="*/ 17 h 48"/>
                  <a:gd name="T40" fmla="*/ 39 w 46"/>
                  <a:gd name="T41" fmla="*/ 15 h 48"/>
                  <a:gd name="T42" fmla="*/ 36 w 46"/>
                  <a:gd name="T43" fmla="*/ 14 h 48"/>
                  <a:gd name="T44" fmla="*/ 36 w 46"/>
                  <a:gd name="T45" fmla="*/ 13 h 48"/>
                  <a:gd name="T46" fmla="*/ 34 w 46"/>
                  <a:gd name="T47" fmla="*/ 12 h 48"/>
                  <a:gd name="T48" fmla="*/ 30 w 46"/>
                  <a:gd name="T49" fmla="*/ 7 h 48"/>
                  <a:gd name="T50" fmla="*/ 25 w 46"/>
                  <a:gd name="T51" fmla="*/ 2 h 48"/>
                  <a:gd name="T52" fmla="*/ 25 w 46"/>
                  <a:gd name="T53" fmla="*/ 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6" h="48">
                    <a:moveTo>
                      <a:pt x="25" y="2"/>
                    </a:moveTo>
                    <a:cubicBezTo>
                      <a:pt x="24" y="3"/>
                      <a:pt x="22" y="3"/>
                      <a:pt x="21" y="3"/>
                    </a:cubicBezTo>
                    <a:cubicBezTo>
                      <a:pt x="19" y="3"/>
                      <a:pt x="20" y="6"/>
                      <a:pt x="18" y="4"/>
                    </a:cubicBezTo>
                    <a:cubicBezTo>
                      <a:pt x="15" y="0"/>
                      <a:pt x="10" y="5"/>
                      <a:pt x="6" y="4"/>
                    </a:cubicBezTo>
                    <a:cubicBezTo>
                      <a:pt x="6" y="9"/>
                      <a:pt x="6" y="14"/>
                      <a:pt x="6" y="18"/>
                    </a:cubicBezTo>
                    <a:cubicBezTo>
                      <a:pt x="6" y="19"/>
                      <a:pt x="7" y="23"/>
                      <a:pt x="6" y="23"/>
                    </a:cubicBezTo>
                    <a:cubicBezTo>
                      <a:pt x="5" y="24"/>
                      <a:pt x="1" y="22"/>
                      <a:pt x="1" y="24"/>
                    </a:cubicBezTo>
                    <a:cubicBezTo>
                      <a:pt x="1" y="26"/>
                      <a:pt x="1" y="29"/>
                      <a:pt x="1" y="31"/>
                    </a:cubicBezTo>
                    <a:cubicBezTo>
                      <a:pt x="1" y="33"/>
                      <a:pt x="0" y="36"/>
                      <a:pt x="1" y="38"/>
                    </a:cubicBezTo>
                    <a:cubicBezTo>
                      <a:pt x="5" y="39"/>
                      <a:pt x="6" y="44"/>
                      <a:pt x="4" y="47"/>
                    </a:cubicBezTo>
                    <a:cubicBezTo>
                      <a:pt x="4" y="48"/>
                      <a:pt x="8" y="48"/>
                      <a:pt x="8" y="48"/>
                    </a:cubicBezTo>
                    <a:cubicBezTo>
                      <a:pt x="10" y="48"/>
                      <a:pt x="11" y="46"/>
                      <a:pt x="13" y="44"/>
                    </a:cubicBezTo>
                    <a:cubicBezTo>
                      <a:pt x="15" y="42"/>
                      <a:pt x="15" y="39"/>
                      <a:pt x="19" y="41"/>
                    </a:cubicBezTo>
                    <a:cubicBezTo>
                      <a:pt x="23" y="43"/>
                      <a:pt x="27" y="44"/>
                      <a:pt x="29" y="39"/>
                    </a:cubicBezTo>
                    <a:cubicBezTo>
                      <a:pt x="29" y="38"/>
                      <a:pt x="29" y="37"/>
                      <a:pt x="31" y="37"/>
                    </a:cubicBezTo>
                    <a:cubicBezTo>
                      <a:pt x="33" y="37"/>
                      <a:pt x="34" y="35"/>
                      <a:pt x="34" y="34"/>
                    </a:cubicBezTo>
                    <a:cubicBezTo>
                      <a:pt x="36" y="31"/>
                      <a:pt x="40" y="28"/>
                      <a:pt x="43" y="26"/>
                    </a:cubicBezTo>
                    <a:cubicBezTo>
                      <a:pt x="45" y="25"/>
                      <a:pt x="46" y="24"/>
                      <a:pt x="44" y="22"/>
                    </a:cubicBezTo>
                    <a:cubicBezTo>
                      <a:pt x="43" y="21"/>
                      <a:pt x="40" y="22"/>
                      <a:pt x="40" y="21"/>
                    </a:cubicBezTo>
                    <a:cubicBezTo>
                      <a:pt x="39" y="20"/>
                      <a:pt x="38" y="19"/>
                      <a:pt x="38" y="17"/>
                    </a:cubicBezTo>
                    <a:cubicBezTo>
                      <a:pt x="38" y="17"/>
                      <a:pt x="39" y="16"/>
                      <a:pt x="39" y="15"/>
                    </a:cubicBezTo>
                    <a:cubicBezTo>
                      <a:pt x="38" y="15"/>
                      <a:pt x="37" y="15"/>
                      <a:pt x="36" y="14"/>
                    </a:cubicBezTo>
                    <a:cubicBezTo>
                      <a:pt x="36" y="14"/>
                      <a:pt x="37" y="13"/>
                      <a:pt x="36" y="13"/>
                    </a:cubicBezTo>
                    <a:cubicBezTo>
                      <a:pt x="35" y="13"/>
                      <a:pt x="35" y="12"/>
                      <a:pt x="34" y="12"/>
                    </a:cubicBezTo>
                    <a:cubicBezTo>
                      <a:pt x="32" y="11"/>
                      <a:pt x="31" y="10"/>
                      <a:pt x="30" y="7"/>
                    </a:cubicBezTo>
                    <a:cubicBezTo>
                      <a:pt x="30" y="6"/>
                      <a:pt x="27" y="2"/>
                      <a:pt x="25" y="2"/>
                    </a:cubicBezTo>
                    <a:cubicBezTo>
                      <a:pt x="25" y="2"/>
                      <a:pt x="26" y="2"/>
                      <a:pt x="25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4" name="Freeform 736">
                <a:extLst>
                  <a:ext uri="{FF2B5EF4-FFF2-40B4-BE49-F238E27FC236}">
                    <a16:creationId xmlns:a16="http://schemas.microsoft.com/office/drawing/2014/main" id="{3EEE5295-034D-46DC-955A-D7956D5047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3871" y="4887649"/>
                <a:ext cx="183169" cy="162463"/>
              </a:xfrm>
              <a:custGeom>
                <a:avLst/>
                <a:gdLst>
                  <a:gd name="T0" fmla="*/ 39 w 39"/>
                  <a:gd name="T1" fmla="*/ 22 h 35"/>
                  <a:gd name="T2" fmla="*/ 38 w 39"/>
                  <a:gd name="T3" fmla="*/ 18 h 35"/>
                  <a:gd name="T4" fmla="*/ 39 w 39"/>
                  <a:gd name="T5" fmla="*/ 14 h 35"/>
                  <a:gd name="T6" fmla="*/ 38 w 39"/>
                  <a:gd name="T7" fmla="*/ 7 h 35"/>
                  <a:gd name="T8" fmla="*/ 27 w 39"/>
                  <a:gd name="T9" fmla="*/ 2 h 35"/>
                  <a:gd name="T10" fmla="*/ 24 w 39"/>
                  <a:gd name="T11" fmla="*/ 0 h 35"/>
                  <a:gd name="T12" fmla="*/ 19 w 39"/>
                  <a:gd name="T13" fmla="*/ 3 h 35"/>
                  <a:gd name="T14" fmla="*/ 13 w 39"/>
                  <a:gd name="T15" fmla="*/ 7 h 35"/>
                  <a:gd name="T16" fmla="*/ 9 w 39"/>
                  <a:gd name="T17" fmla="*/ 12 h 35"/>
                  <a:gd name="T18" fmla="*/ 2 w 39"/>
                  <a:gd name="T19" fmla="*/ 12 h 35"/>
                  <a:gd name="T20" fmla="*/ 5 w 39"/>
                  <a:gd name="T21" fmla="*/ 16 h 35"/>
                  <a:gd name="T22" fmla="*/ 8 w 39"/>
                  <a:gd name="T23" fmla="*/ 21 h 35"/>
                  <a:gd name="T24" fmla="*/ 11 w 39"/>
                  <a:gd name="T25" fmla="*/ 23 h 35"/>
                  <a:gd name="T26" fmla="*/ 11 w 39"/>
                  <a:gd name="T27" fmla="*/ 24 h 35"/>
                  <a:gd name="T28" fmla="*/ 14 w 39"/>
                  <a:gd name="T29" fmla="*/ 25 h 35"/>
                  <a:gd name="T30" fmla="*/ 13 w 39"/>
                  <a:gd name="T31" fmla="*/ 28 h 35"/>
                  <a:gd name="T32" fmla="*/ 15 w 39"/>
                  <a:gd name="T33" fmla="*/ 31 h 35"/>
                  <a:gd name="T34" fmla="*/ 20 w 39"/>
                  <a:gd name="T35" fmla="*/ 34 h 35"/>
                  <a:gd name="T36" fmla="*/ 25 w 39"/>
                  <a:gd name="T37" fmla="*/ 35 h 35"/>
                  <a:gd name="T38" fmla="*/ 27 w 39"/>
                  <a:gd name="T39" fmla="*/ 35 h 35"/>
                  <a:gd name="T40" fmla="*/ 34 w 39"/>
                  <a:gd name="T41" fmla="*/ 31 h 35"/>
                  <a:gd name="T42" fmla="*/ 36 w 39"/>
                  <a:gd name="T43" fmla="*/ 27 h 35"/>
                  <a:gd name="T44" fmla="*/ 39 w 39"/>
                  <a:gd name="T45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9" h="35">
                    <a:moveTo>
                      <a:pt x="39" y="22"/>
                    </a:moveTo>
                    <a:cubicBezTo>
                      <a:pt x="39" y="21"/>
                      <a:pt x="38" y="19"/>
                      <a:pt x="38" y="18"/>
                    </a:cubicBezTo>
                    <a:cubicBezTo>
                      <a:pt x="38" y="16"/>
                      <a:pt x="39" y="15"/>
                      <a:pt x="39" y="14"/>
                    </a:cubicBezTo>
                    <a:cubicBezTo>
                      <a:pt x="39" y="11"/>
                      <a:pt x="39" y="9"/>
                      <a:pt x="38" y="7"/>
                    </a:cubicBezTo>
                    <a:cubicBezTo>
                      <a:pt x="38" y="4"/>
                      <a:pt x="29" y="2"/>
                      <a:pt x="27" y="2"/>
                    </a:cubicBezTo>
                    <a:cubicBezTo>
                      <a:pt x="27" y="0"/>
                      <a:pt x="27" y="0"/>
                      <a:pt x="24" y="0"/>
                    </a:cubicBezTo>
                    <a:cubicBezTo>
                      <a:pt x="21" y="0"/>
                      <a:pt x="21" y="1"/>
                      <a:pt x="19" y="3"/>
                    </a:cubicBezTo>
                    <a:cubicBezTo>
                      <a:pt x="18" y="5"/>
                      <a:pt x="15" y="6"/>
                      <a:pt x="13" y="7"/>
                    </a:cubicBezTo>
                    <a:cubicBezTo>
                      <a:pt x="12" y="9"/>
                      <a:pt x="11" y="12"/>
                      <a:pt x="9" y="12"/>
                    </a:cubicBezTo>
                    <a:cubicBezTo>
                      <a:pt x="7" y="12"/>
                      <a:pt x="5" y="11"/>
                      <a:pt x="2" y="12"/>
                    </a:cubicBezTo>
                    <a:cubicBezTo>
                      <a:pt x="0" y="13"/>
                      <a:pt x="4" y="15"/>
                      <a:pt x="5" y="16"/>
                    </a:cubicBezTo>
                    <a:cubicBezTo>
                      <a:pt x="6" y="18"/>
                      <a:pt x="6" y="20"/>
                      <a:pt x="8" y="21"/>
                    </a:cubicBezTo>
                    <a:cubicBezTo>
                      <a:pt x="9" y="22"/>
                      <a:pt x="10" y="23"/>
                      <a:pt x="11" y="23"/>
                    </a:cubicBezTo>
                    <a:cubicBezTo>
                      <a:pt x="12" y="23"/>
                      <a:pt x="11" y="24"/>
                      <a:pt x="11" y="24"/>
                    </a:cubicBezTo>
                    <a:cubicBezTo>
                      <a:pt x="12" y="24"/>
                      <a:pt x="13" y="25"/>
                      <a:pt x="14" y="25"/>
                    </a:cubicBezTo>
                    <a:cubicBezTo>
                      <a:pt x="14" y="26"/>
                      <a:pt x="13" y="27"/>
                      <a:pt x="13" y="28"/>
                    </a:cubicBezTo>
                    <a:cubicBezTo>
                      <a:pt x="13" y="29"/>
                      <a:pt x="14" y="31"/>
                      <a:pt x="15" y="31"/>
                    </a:cubicBezTo>
                    <a:cubicBezTo>
                      <a:pt x="18" y="31"/>
                      <a:pt x="19" y="31"/>
                      <a:pt x="20" y="34"/>
                    </a:cubicBezTo>
                    <a:cubicBezTo>
                      <a:pt x="21" y="35"/>
                      <a:pt x="23" y="34"/>
                      <a:pt x="25" y="35"/>
                    </a:cubicBezTo>
                    <a:cubicBezTo>
                      <a:pt x="26" y="35"/>
                      <a:pt x="26" y="35"/>
                      <a:pt x="27" y="35"/>
                    </a:cubicBezTo>
                    <a:cubicBezTo>
                      <a:pt x="31" y="35"/>
                      <a:pt x="32" y="34"/>
                      <a:pt x="34" y="31"/>
                    </a:cubicBezTo>
                    <a:cubicBezTo>
                      <a:pt x="35" y="30"/>
                      <a:pt x="36" y="28"/>
                      <a:pt x="36" y="27"/>
                    </a:cubicBezTo>
                    <a:cubicBezTo>
                      <a:pt x="37" y="25"/>
                      <a:pt x="39" y="24"/>
                      <a:pt x="39" y="2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5" name="Freeform 737">
                <a:extLst>
                  <a:ext uri="{FF2B5EF4-FFF2-40B4-BE49-F238E27FC236}">
                    <a16:creationId xmlns:a16="http://schemas.microsoft.com/office/drawing/2014/main" id="{A1DB8040-4EFB-4FFD-9544-C0721E185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6514" y="5129750"/>
                <a:ext cx="46190" cy="52562"/>
              </a:xfrm>
              <a:custGeom>
                <a:avLst/>
                <a:gdLst>
                  <a:gd name="T0" fmla="*/ 5 w 10"/>
                  <a:gd name="T1" fmla="*/ 1 h 11"/>
                  <a:gd name="T2" fmla="*/ 7 w 10"/>
                  <a:gd name="T3" fmla="*/ 9 h 11"/>
                  <a:gd name="T4" fmla="*/ 5 w 10"/>
                  <a:gd name="T5" fmla="*/ 1 h 11"/>
                  <a:gd name="T6" fmla="*/ 5 w 10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5" y="1"/>
                    </a:moveTo>
                    <a:cubicBezTo>
                      <a:pt x="0" y="2"/>
                      <a:pt x="3" y="11"/>
                      <a:pt x="7" y="9"/>
                    </a:cubicBezTo>
                    <a:cubicBezTo>
                      <a:pt x="10" y="8"/>
                      <a:pt x="9" y="0"/>
                      <a:pt x="5" y="1"/>
                    </a:cubicBezTo>
                    <a:cubicBezTo>
                      <a:pt x="3" y="1"/>
                      <a:pt x="6" y="1"/>
                      <a:pt x="5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6" name="Freeform 738">
                <a:extLst>
                  <a:ext uri="{FF2B5EF4-FFF2-40B4-BE49-F238E27FC236}">
                    <a16:creationId xmlns:a16="http://schemas.microsoft.com/office/drawing/2014/main" id="{1E6BDF03-5B5A-4661-B8C0-9BDF569E17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2738" y="5045335"/>
                <a:ext cx="369523" cy="323332"/>
              </a:xfrm>
              <a:custGeom>
                <a:avLst/>
                <a:gdLst>
                  <a:gd name="T0" fmla="*/ 74 w 79"/>
                  <a:gd name="T1" fmla="*/ 27 h 69"/>
                  <a:gd name="T2" fmla="*/ 69 w 79"/>
                  <a:gd name="T3" fmla="*/ 22 h 69"/>
                  <a:gd name="T4" fmla="*/ 72 w 79"/>
                  <a:gd name="T5" fmla="*/ 19 h 69"/>
                  <a:gd name="T6" fmla="*/ 75 w 79"/>
                  <a:gd name="T7" fmla="*/ 20 h 69"/>
                  <a:gd name="T8" fmla="*/ 75 w 79"/>
                  <a:gd name="T9" fmla="*/ 11 h 69"/>
                  <a:gd name="T10" fmla="*/ 73 w 79"/>
                  <a:gd name="T11" fmla="*/ 7 h 69"/>
                  <a:gd name="T12" fmla="*/ 72 w 79"/>
                  <a:gd name="T13" fmla="*/ 1 h 69"/>
                  <a:gd name="T14" fmla="*/ 66 w 79"/>
                  <a:gd name="T15" fmla="*/ 1 h 69"/>
                  <a:gd name="T16" fmla="*/ 60 w 79"/>
                  <a:gd name="T17" fmla="*/ 2 h 69"/>
                  <a:gd name="T18" fmla="*/ 55 w 79"/>
                  <a:gd name="T19" fmla="*/ 5 h 69"/>
                  <a:gd name="T20" fmla="*/ 51 w 79"/>
                  <a:gd name="T21" fmla="*/ 8 h 69"/>
                  <a:gd name="T22" fmla="*/ 49 w 79"/>
                  <a:gd name="T23" fmla="*/ 12 h 69"/>
                  <a:gd name="T24" fmla="*/ 45 w 79"/>
                  <a:gd name="T25" fmla="*/ 14 h 69"/>
                  <a:gd name="T26" fmla="*/ 44 w 79"/>
                  <a:gd name="T27" fmla="*/ 17 h 69"/>
                  <a:gd name="T28" fmla="*/ 34 w 79"/>
                  <a:gd name="T29" fmla="*/ 17 h 69"/>
                  <a:gd name="T30" fmla="*/ 28 w 79"/>
                  <a:gd name="T31" fmla="*/ 21 h 69"/>
                  <a:gd name="T32" fmla="*/ 24 w 79"/>
                  <a:gd name="T33" fmla="*/ 24 h 69"/>
                  <a:gd name="T34" fmla="*/ 20 w 79"/>
                  <a:gd name="T35" fmla="*/ 23 h 69"/>
                  <a:gd name="T36" fmla="*/ 17 w 79"/>
                  <a:gd name="T37" fmla="*/ 14 h 69"/>
                  <a:gd name="T38" fmla="*/ 17 w 79"/>
                  <a:gd name="T39" fmla="*/ 29 h 69"/>
                  <a:gd name="T40" fmla="*/ 17 w 79"/>
                  <a:gd name="T41" fmla="*/ 33 h 69"/>
                  <a:gd name="T42" fmla="*/ 9 w 79"/>
                  <a:gd name="T43" fmla="*/ 35 h 69"/>
                  <a:gd name="T44" fmla="*/ 6 w 79"/>
                  <a:gd name="T45" fmla="*/ 34 h 69"/>
                  <a:gd name="T46" fmla="*/ 2 w 79"/>
                  <a:gd name="T47" fmla="*/ 33 h 69"/>
                  <a:gd name="T48" fmla="*/ 3 w 79"/>
                  <a:gd name="T49" fmla="*/ 40 h 69"/>
                  <a:gd name="T50" fmla="*/ 5 w 79"/>
                  <a:gd name="T51" fmla="*/ 45 h 69"/>
                  <a:gd name="T52" fmla="*/ 9 w 79"/>
                  <a:gd name="T53" fmla="*/ 56 h 69"/>
                  <a:gd name="T54" fmla="*/ 8 w 79"/>
                  <a:gd name="T55" fmla="*/ 60 h 69"/>
                  <a:gd name="T56" fmla="*/ 9 w 79"/>
                  <a:gd name="T57" fmla="*/ 62 h 69"/>
                  <a:gd name="T58" fmla="*/ 10 w 79"/>
                  <a:gd name="T59" fmla="*/ 66 h 69"/>
                  <a:gd name="T60" fmla="*/ 11 w 79"/>
                  <a:gd name="T61" fmla="*/ 64 h 69"/>
                  <a:gd name="T62" fmla="*/ 15 w 79"/>
                  <a:gd name="T63" fmla="*/ 68 h 69"/>
                  <a:gd name="T64" fmla="*/ 21 w 79"/>
                  <a:gd name="T65" fmla="*/ 66 h 69"/>
                  <a:gd name="T66" fmla="*/ 26 w 79"/>
                  <a:gd name="T67" fmla="*/ 65 h 69"/>
                  <a:gd name="T68" fmla="*/ 31 w 79"/>
                  <a:gd name="T69" fmla="*/ 64 h 69"/>
                  <a:gd name="T70" fmla="*/ 38 w 79"/>
                  <a:gd name="T71" fmla="*/ 64 h 69"/>
                  <a:gd name="T72" fmla="*/ 39 w 79"/>
                  <a:gd name="T73" fmla="*/ 64 h 69"/>
                  <a:gd name="T74" fmla="*/ 41 w 79"/>
                  <a:gd name="T75" fmla="*/ 63 h 69"/>
                  <a:gd name="T76" fmla="*/ 42 w 79"/>
                  <a:gd name="T77" fmla="*/ 62 h 69"/>
                  <a:gd name="T78" fmla="*/ 44 w 79"/>
                  <a:gd name="T79" fmla="*/ 65 h 69"/>
                  <a:gd name="T80" fmla="*/ 46 w 79"/>
                  <a:gd name="T81" fmla="*/ 62 h 69"/>
                  <a:gd name="T82" fmla="*/ 57 w 79"/>
                  <a:gd name="T83" fmla="*/ 56 h 69"/>
                  <a:gd name="T84" fmla="*/ 65 w 79"/>
                  <a:gd name="T85" fmla="*/ 48 h 69"/>
                  <a:gd name="T86" fmla="*/ 72 w 79"/>
                  <a:gd name="T87" fmla="*/ 37 h 69"/>
                  <a:gd name="T88" fmla="*/ 77 w 79"/>
                  <a:gd name="T89" fmla="*/ 33 h 69"/>
                  <a:gd name="T90" fmla="*/ 79 w 79"/>
                  <a:gd name="T91" fmla="*/ 25 h 69"/>
                  <a:gd name="T92" fmla="*/ 76 w 79"/>
                  <a:gd name="T93" fmla="*/ 25 h 69"/>
                  <a:gd name="T94" fmla="*/ 74 w 79"/>
                  <a:gd name="T95" fmla="*/ 27 h 69"/>
                  <a:gd name="T96" fmla="*/ 62 w 79"/>
                  <a:gd name="T97" fmla="*/ 39 h 69"/>
                  <a:gd name="T98" fmla="*/ 61 w 79"/>
                  <a:gd name="T99" fmla="*/ 41 h 69"/>
                  <a:gd name="T100" fmla="*/ 57 w 79"/>
                  <a:gd name="T101" fmla="*/ 43 h 69"/>
                  <a:gd name="T102" fmla="*/ 55 w 79"/>
                  <a:gd name="T103" fmla="*/ 44 h 69"/>
                  <a:gd name="T104" fmla="*/ 52 w 79"/>
                  <a:gd name="T105" fmla="*/ 41 h 69"/>
                  <a:gd name="T106" fmla="*/ 56 w 79"/>
                  <a:gd name="T107" fmla="*/ 35 h 69"/>
                  <a:gd name="T108" fmla="*/ 60 w 79"/>
                  <a:gd name="T109" fmla="*/ 35 h 69"/>
                  <a:gd name="T110" fmla="*/ 62 w 79"/>
                  <a:gd name="T111" fmla="*/ 39 h 69"/>
                  <a:gd name="T112" fmla="*/ 62 w 79"/>
                  <a:gd name="T113" fmla="*/ 3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9" h="69">
                    <a:moveTo>
                      <a:pt x="74" y="27"/>
                    </a:moveTo>
                    <a:cubicBezTo>
                      <a:pt x="71" y="27"/>
                      <a:pt x="68" y="24"/>
                      <a:pt x="69" y="22"/>
                    </a:cubicBezTo>
                    <a:cubicBezTo>
                      <a:pt x="69" y="20"/>
                      <a:pt x="71" y="19"/>
                      <a:pt x="72" y="19"/>
                    </a:cubicBezTo>
                    <a:cubicBezTo>
                      <a:pt x="73" y="19"/>
                      <a:pt x="74" y="20"/>
                      <a:pt x="75" y="20"/>
                    </a:cubicBezTo>
                    <a:cubicBezTo>
                      <a:pt x="75" y="17"/>
                      <a:pt x="76" y="14"/>
                      <a:pt x="75" y="11"/>
                    </a:cubicBezTo>
                    <a:cubicBezTo>
                      <a:pt x="74" y="10"/>
                      <a:pt x="73" y="8"/>
                      <a:pt x="73" y="7"/>
                    </a:cubicBezTo>
                    <a:cubicBezTo>
                      <a:pt x="72" y="5"/>
                      <a:pt x="72" y="3"/>
                      <a:pt x="72" y="1"/>
                    </a:cubicBezTo>
                    <a:cubicBezTo>
                      <a:pt x="70" y="2"/>
                      <a:pt x="67" y="1"/>
                      <a:pt x="66" y="1"/>
                    </a:cubicBezTo>
                    <a:cubicBezTo>
                      <a:pt x="63" y="0"/>
                      <a:pt x="61" y="0"/>
                      <a:pt x="60" y="2"/>
                    </a:cubicBezTo>
                    <a:cubicBezTo>
                      <a:pt x="58" y="3"/>
                      <a:pt x="56" y="3"/>
                      <a:pt x="55" y="5"/>
                    </a:cubicBezTo>
                    <a:cubicBezTo>
                      <a:pt x="54" y="6"/>
                      <a:pt x="52" y="7"/>
                      <a:pt x="51" y="8"/>
                    </a:cubicBezTo>
                    <a:cubicBezTo>
                      <a:pt x="50" y="9"/>
                      <a:pt x="50" y="11"/>
                      <a:pt x="49" y="12"/>
                    </a:cubicBezTo>
                    <a:cubicBezTo>
                      <a:pt x="48" y="14"/>
                      <a:pt x="46" y="12"/>
                      <a:pt x="45" y="14"/>
                    </a:cubicBezTo>
                    <a:cubicBezTo>
                      <a:pt x="44" y="15"/>
                      <a:pt x="45" y="16"/>
                      <a:pt x="44" y="17"/>
                    </a:cubicBezTo>
                    <a:cubicBezTo>
                      <a:pt x="42" y="21"/>
                      <a:pt x="37" y="18"/>
                      <a:pt x="34" y="17"/>
                    </a:cubicBezTo>
                    <a:cubicBezTo>
                      <a:pt x="31" y="15"/>
                      <a:pt x="30" y="19"/>
                      <a:pt x="28" y="21"/>
                    </a:cubicBezTo>
                    <a:cubicBezTo>
                      <a:pt x="27" y="22"/>
                      <a:pt x="26" y="24"/>
                      <a:pt x="24" y="24"/>
                    </a:cubicBezTo>
                    <a:cubicBezTo>
                      <a:pt x="24" y="24"/>
                      <a:pt x="20" y="24"/>
                      <a:pt x="20" y="23"/>
                    </a:cubicBezTo>
                    <a:cubicBezTo>
                      <a:pt x="22" y="20"/>
                      <a:pt x="21" y="15"/>
                      <a:pt x="17" y="14"/>
                    </a:cubicBezTo>
                    <a:cubicBezTo>
                      <a:pt x="17" y="19"/>
                      <a:pt x="17" y="24"/>
                      <a:pt x="17" y="29"/>
                    </a:cubicBezTo>
                    <a:cubicBezTo>
                      <a:pt x="17" y="29"/>
                      <a:pt x="18" y="32"/>
                      <a:pt x="17" y="33"/>
                    </a:cubicBezTo>
                    <a:cubicBezTo>
                      <a:pt x="14" y="35"/>
                      <a:pt x="13" y="36"/>
                      <a:pt x="9" y="35"/>
                    </a:cubicBezTo>
                    <a:cubicBezTo>
                      <a:pt x="8" y="35"/>
                      <a:pt x="7" y="35"/>
                      <a:pt x="6" y="34"/>
                    </a:cubicBezTo>
                    <a:cubicBezTo>
                      <a:pt x="5" y="32"/>
                      <a:pt x="4" y="31"/>
                      <a:pt x="2" y="33"/>
                    </a:cubicBezTo>
                    <a:cubicBezTo>
                      <a:pt x="0" y="35"/>
                      <a:pt x="2" y="38"/>
                      <a:pt x="3" y="40"/>
                    </a:cubicBezTo>
                    <a:cubicBezTo>
                      <a:pt x="4" y="41"/>
                      <a:pt x="5" y="43"/>
                      <a:pt x="5" y="45"/>
                    </a:cubicBezTo>
                    <a:cubicBezTo>
                      <a:pt x="7" y="49"/>
                      <a:pt x="11" y="51"/>
                      <a:pt x="9" y="56"/>
                    </a:cubicBezTo>
                    <a:cubicBezTo>
                      <a:pt x="8" y="58"/>
                      <a:pt x="7" y="58"/>
                      <a:pt x="8" y="60"/>
                    </a:cubicBezTo>
                    <a:cubicBezTo>
                      <a:pt x="9" y="61"/>
                      <a:pt x="9" y="62"/>
                      <a:pt x="9" y="62"/>
                    </a:cubicBezTo>
                    <a:cubicBezTo>
                      <a:pt x="10" y="63"/>
                      <a:pt x="9" y="65"/>
                      <a:pt x="10" y="66"/>
                    </a:cubicBezTo>
                    <a:cubicBezTo>
                      <a:pt x="10" y="66"/>
                      <a:pt x="10" y="64"/>
                      <a:pt x="11" y="64"/>
                    </a:cubicBezTo>
                    <a:cubicBezTo>
                      <a:pt x="11" y="64"/>
                      <a:pt x="14" y="67"/>
                      <a:pt x="15" y="68"/>
                    </a:cubicBezTo>
                    <a:cubicBezTo>
                      <a:pt x="17" y="69"/>
                      <a:pt x="19" y="66"/>
                      <a:pt x="21" y="66"/>
                    </a:cubicBezTo>
                    <a:cubicBezTo>
                      <a:pt x="23" y="65"/>
                      <a:pt x="25" y="67"/>
                      <a:pt x="26" y="65"/>
                    </a:cubicBezTo>
                    <a:cubicBezTo>
                      <a:pt x="28" y="64"/>
                      <a:pt x="29" y="64"/>
                      <a:pt x="31" y="64"/>
                    </a:cubicBezTo>
                    <a:cubicBezTo>
                      <a:pt x="33" y="64"/>
                      <a:pt x="35" y="64"/>
                      <a:pt x="38" y="64"/>
                    </a:cubicBezTo>
                    <a:cubicBezTo>
                      <a:pt x="38" y="64"/>
                      <a:pt x="39" y="64"/>
                      <a:pt x="39" y="64"/>
                    </a:cubicBezTo>
                    <a:cubicBezTo>
                      <a:pt x="40" y="64"/>
                      <a:pt x="40" y="63"/>
                      <a:pt x="41" y="63"/>
                    </a:cubicBezTo>
                    <a:cubicBezTo>
                      <a:pt x="41" y="63"/>
                      <a:pt x="41" y="62"/>
                      <a:pt x="42" y="62"/>
                    </a:cubicBezTo>
                    <a:cubicBezTo>
                      <a:pt x="42" y="63"/>
                      <a:pt x="42" y="65"/>
                      <a:pt x="44" y="65"/>
                    </a:cubicBezTo>
                    <a:cubicBezTo>
                      <a:pt x="44" y="65"/>
                      <a:pt x="43" y="61"/>
                      <a:pt x="46" y="62"/>
                    </a:cubicBezTo>
                    <a:cubicBezTo>
                      <a:pt x="50" y="63"/>
                      <a:pt x="54" y="59"/>
                      <a:pt x="57" y="56"/>
                    </a:cubicBezTo>
                    <a:cubicBezTo>
                      <a:pt x="60" y="54"/>
                      <a:pt x="62" y="51"/>
                      <a:pt x="65" y="48"/>
                    </a:cubicBezTo>
                    <a:cubicBezTo>
                      <a:pt x="68" y="45"/>
                      <a:pt x="69" y="41"/>
                      <a:pt x="72" y="37"/>
                    </a:cubicBezTo>
                    <a:cubicBezTo>
                      <a:pt x="73" y="36"/>
                      <a:pt x="76" y="35"/>
                      <a:pt x="77" y="33"/>
                    </a:cubicBezTo>
                    <a:cubicBezTo>
                      <a:pt x="78" y="31"/>
                      <a:pt x="79" y="27"/>
                      <a:pt x="79" y="25"/>
                    </a:cubicBezTo>
                    <a:cubicBezTo>
                      <a:pt x="78" y="25"/>
                      <a:pt x="77" y="25"/>
                      <a:pt x="76" y="25"/>
                    </a:cubicBezTo>
                    <a:cubicBezTo>
                      <a:pt x="75" y="25"/>
                      <a:pt x="75" y="27"/>
                      <a:pt x="74" y="27"/>
                    </a:cubicBezTo>
                    <a:close/>
                    <a:moveTo>
                      <a:pt x="62" y="39"/>
                    </a:moveTo>
                    <a:cubicBezTo>
                      <a:pt x="61" y="39"/>
                      <a:pt x="61" y="41"/>
                      <a:pt x="61" y="41"/>
                    </a:cubicBezTo>
                    <a:cubicBezTo>
                      <a:pt x="60" y="43"/>
                      <a:pt x="58" y="42"/>
                      <a:pt x="57" y="43"/>
                    </a:cubicBezTo>
                    <a:cubicBezTo>
                      <a:pt x="56" y="43"/>
                      <a:pt x="56" y="44"/>
                      <a:pt x="55" y="44"/>
                    </a:cubicBezTo>
                    <a:cubicBezTo>
                      <a:pt x="53" y="44"/>
                      <a:pt x="52" y="42"/>
                      <a:pt x="52" y="41"/>
                    </a:cubicBezTo>
                    <a:cubicBezTo>
                      <a:pt x="51" y="39"/>
                      <a:pt x="54" y="36"/>
                      <a:pt x="56" y="35"/>
                    </a:cubicBezTo>
                    <a:cubicBezTo>
                      <a:pt x="57" y="34"/>
                      <a:pt x="59" y="34"/>
                      <a:pt x="60" y="35"/>
                    </a:cubicBezTo>
                    <a:cubicBezTo>
                      <a:pt x="61" y="36"/>
                      <a:pt x="64" y="38"/>
                      <a:pt x="62" y="39"/>
                    </a:cubicBezTo>
                    <a:cubicBezTo>
                      <a:pt x="61" y="39"/>
                      <a:pt x="63" y="38"/>
                      <a:pt x="62" y="3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7" name="Freeform 739">
                <a:extLst>
                  <a:ext uri="{FF2B5EF4-FFF2-40B4-BE49-F238E27FC236}">
                    <a16:creationId xmlns:a16="http://schemas.microsoft.com/office/drawing/2014/main" id="{77B5AB1C-E60E-4E06-8AA6-60AFF54AB8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1653" y="5199833"/>
                <a:ext cx="60525" cy="62119"/>
              </a:xfrm>
              <a:custGeom>
                <a:avLst/>
                <a:gdLst>
                  <a:gd name="T0" fmla="*/ 11 w 13"/>
                  <a:gd name="T1" fmla="*/ 4 h 13"/>
                  <a:gd name="T2" fmla="*/ 3 w 13"/>
                  <a:gd name="T3" fmla="*/ 3 h 13"/>
                  <a:gd name="T4" fmla="*/ 2 w 13"/>
                  <a:gd name="T5" fmla="*/ 9 h 13"/>
                  <a:gd name="T6" fmla="*/ 7 w 13"/>
                  <a:gd name="T7" fmla="*/ 9 h 13"/>
                  <a:gd name="T8" fmla="*/ 11 w 13"/>
                  <a:gd name="T9" fmla="*/ 4 h 13"/>
                  <a:gd name="T10" fmla="*/ 11 w 13"/>
                  <a:gd name="T11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11" y="4"/>
                    </a:moveTo>
                    <a:cubicBezTo>
                      <a:pt x="9" y="2"/>
                      <a:pt x="5" y="0"/>
                      <a:pt x="3" y="3"/>
                    </a:cubicBezTo>
                    <a:cubicBezTo>
                      <a:pt x="1" y="5"/>
                      <a:pt x="0" y="7"/>
                      <a:pt x="2" y="9"/>
                    </a:cubicBezTo>
                    <a:cubicBezTo>
                      <a:pt x="4" y="13"/>
                      <a:pt x="5" y="9"/>
                      <a:pt x="7" y="9"/>
                    </a:cubicBezTo>
                    <a:cubicBezTo>
                      <a:pt x="10" y="9"/>
                      <a:pt x="13" y="5"/>
                      <a:pt x="11" y="4"/>
                    </a:cubicBezTo>
                    <a:cubicBezTo>
                      <a:pt x="10" y="3"/>
                      <a:pt x="12" y="4"/>
                      <a:pt x="11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8" name="Freeform 740">
                <a:extLst>
                  <a:ext uri="{FF2B5EF4-FFF2-40B4-BE49-F238E27FC236}">
                    <a16:creationId xmlns:a16="http://schemas.microsoft.com/office/drawing/2014/main" id="{6F49BDBA-98FE-4D70-8E37-FBB0A14CD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3542" y="4620063"/>
                <a:ext cx="23891" cy="38226"/>
              </a:xfrm>
              <a:custGeom>
                <a:avLst/>
                <a:gdLst>
                  <a:gd name="T0" fmla="*/ 2 w 5"/>
                  <a:gd name="T1" fmla="*/ 5 h 8"/>
                  <a:gd name="T2" fmla="*/ 5 w 5"/>
                  <a:gd name="T3" fmla="*/ 1 h 8"/>
                  <a:gd name="T4" fmla="*/ 1 w 5"/>
                  <a:gd name="T5" fmla="*/ 3 h 8"/>
                  <a:gd name="T6" fmla="*/ 0 w 5"/>
                  <a:gd name="T7" fmla="*/ 8 h 8"/>
                  <a:gd name="T8" fmla="*/ 2 w 5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2" y="5"/>
                    </a:moveTo>
                    <a:cubicBezTo>
                      <a:pt x="2" y="4"/>
                      <a:pt x="4" y="2"/>
                      <a:pt x="5" y="1"/>
                    </a:cubicBezTo>
                    <a:cubicBezTo>
                      <a:pt x="4" y="0"/>
                      <a:pt x="2" y="2"/>
                      <a:pt x="1" y="3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2" y="7"/>
                      <a:pt x="2" y="6"/>
                      <a:pt x="2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9" name="Freeform 741">
                <a:extLst>
                  <a:ext uri="{FF2B5EF4-FFF2-40B4-BE49-F238E27FC236}">
                    <a16:creationId xmlns:a16="http://schemas.microsoft.com/office/drawing/2014/main" id="{2F5A2FE1-888B-48DF-AFC0-763D4544B5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1242" y="4428930"/>
                <a:ext cx="162463" cy="210246"/>
              </a:xfrm>
              <a:custGeom>
                <a:avLst/>
                <a:gdLst>
                  <a:gd name="T0" fmla="*/ 11 w 35"/>
                  <a:gd name="T1" fmla="*/ 44 h 45"/>
                  <a:gd name="T2" fmla="*/ 15 w 35"/>
                  <a:gd name="T3" fmla="*/ 41 h 45"/>
                  <a:gd name="T4" fmla="*/ 16 w 35"/>
                  <a:gd name="T5" fmla="*/ 43 h 45"/>
                  <a:gd name="T6" fmla="*/ 23 w 35"/>
                  <a:gd name="T7" fmla="*/ 37 h 45"/>
                  <a:gd name="T8" fmla="*/ 25 w 35"/>
                  <a:gd name="T9" fmla="*/ 26 h 45"/>
                  <a:gd name="T10" fmla="*/ 31 w 35"/>
                  <a:gd name="T11" fmla="*/ 16 h 45"/>
                  <a:gd name="T12" fmla="*/ 33 w 35"/>
                  <a:gd name="T13" fmla="*/ 8 h 45"/>
                  <a:gd name="T14" fmla="*/ 35 w 35"/>
                  <a:gd name="T15" fmla="*/ 2 h 45"/>
                  <a:gd name="T16" fmla="*/ 29 w 35"/>
                  <a:gd name="T17" fmla="*/ 1 h 45"/>
                  <a:gd name="T18" fmla="*/ 26 w 35"/>
                  <a:gd name="T19" fmla="*/ 2 h 45"/>
                  <a:gd name="T20" fmla="*/ 25 w 35"/>
                  <a:gd name="T21" fmla="*/ 6 h 45"/>
                  <a:gd name="T22" fmla="*/ 20 w 35"/>
                  <a:gd name="T23" fmla="*/ 10 h 45"/>
                  <a:gd name="T24" fmla="*/ 10 w 35"/>
                  <a:gd name="T25" fmla="*/ 8 h 45"/>
                  <a:gd name="T26" fmla="*/ 13 w 35"/>
                  <a:gd name="T27" fmla="*/ 13 h 45"/>
                  <a:gd name="T28" fmla="*/ 14 w 35"/>
                  <a:gd name="T29" fmla="*/ 19 h 45"/>
                  <a:gd name="T30" fmla="*/ 15 w 35"/>
                  <a:gd name="T31" fmla="*/ 22 h 45"/>
                  <a:gd name="T32" fmla="*/ 16 w 35"/>
                  <a:gd name="T33" fmla="*/ 25 h 45"/>
                  <a:gd name="T34" fmla="*/ 15 w 35"/>
                  <a:gd name="T35" fmla="*/ 32 h 45"/>
                  <a:gd name="T36" fmla="*/ 13 w 35"/>
                  <a:gd name="T37" fmla="*/ 31 h 45"/>
                  <a:gd name="T38" fmla="*/ 10 w 35"/>
                  <a:gd name="T39" fmla="*/ 32 h 45"/>
                  <a:gd name="T40" fmla="*/ 8 w 35"/>
                  <a:gd name="T41" fmla="*/ 29 h 45"/>
                  <a:gd name="T42" fmla="*/ 6 w 35"/>
                  <a:gd name="T43" fmla="*/ 32 h 45"/>
                  <a:gd name="T44" fmla="*/ 4 w 35"/>
                  <a:gd name="T45" fmla="*/ 32 h 45"/>
                  <a:gd name="T46" fmla="*/ 3 w 35"/>
                  <a:gd name="T47" fmla="*/ 35 h 45"/>
                  <a:gd name="T48" fmla="*/ 0 w 35"/>
                  <a:gd name="T49" fmla="*/ 39 h 45"/>
                  <a:gd name="T50" fmla="*/ 5 w 35"/>
                  <a:gd name="T51" fmla="*/ 45 h 45"/>
                  <a:gd name="T52" fmla="*/ 8 w 35"/>
                  <a:gd name="T53" fmla="*/ 42 h 45"/>
                  <a:gd name="T54" fmla="*/ 11 w 35"/>
                  <a:gd name="T55" fmla="*/ 44 h 45"/>
                  <a:gd name="T56" fmla="*/ 11 w 35"/>
                  <a:gd name="T57" fmla="*/ 4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5" h="45">
                    <a:moveTo>
                      <a:pt x="11" y="44"/>
                    </a:moveTo>
                    <a:cubicBezTo>
                      <a:pt x="12" y="44"/>
                      <a:pt x="14" y="42"/>
                      <a:pt x="15" y="41"/>
                    </a:cubicBezTo>
                    <a:cubicBezTo>
                      <a:pt x="17" y="40"/>
                      <a:pt x="15" y="43"/>
                      <a:pt x="16" y="43"/>
                    </a:cubicBezTo>
                    <a:cubicBezTo>
                      <a:pt x="16" y="43"/>
                      <a:pt x="23" y="39"/>
                      <a:pt x="23" y="37"/>
                    </a:cubicBezTo>
                    <a:cubicBezTo>
                      <a:pt x="23" y="33"/>
                      <a:pt x="23" y="29"/>
                      <a:pt x="25" y="26"/>
                    </a:cubicBezTo>
                    <a:cubicBezTo>
                      <a:pt x="27" y="22"/>
                      <a:pt x="30" y="19"/>
                      <a:pt x="31" y="16"/>
                    </a:cubicBezTo>
                    <a:cubicBezTo>
                      <a:pt x="32" y="13"/>
                      <a:pt x="32" y="11"/>
                      <a:pt x="33" y="8"/>
                    </a:cubicBezTo>
                    <a:cubicBezTo>
                      <a:pt x="33" y="6"/>
                      <a:pt x="35" y="4"/>
                      <a:pt x="35" y="2"/>
                    </a:cubicBezTo>
                    <a:cubicBezTo>
                      <a:pt x="33" y="2"/>
                      <a:pt x="31" y="0"/>
                      <a:pt x="29" y="1"/>
                    </a:cubicBezTo>
                    <a:cubicBezTo>
                      <a:pt x="28" y="1"/>
                      <a:pt x="26" y="1"/>
                      <a:pt x="26" y="2"/>
                    </a:cubicBezTo>
                    <a:cubicBezTo>
                      <a:pt x="25" y="4"/>
                      <a:pt x="25" y="5"/>
                      <a:pt x="25" y="6"/>
                    </a:cubicBezTo>
                    <a:cubicBezTo>
                      <a:pt x="24" y="9"/>
                      <a:pt x="23" y="10"/>
                      <a:pt x="20" y="10"/>
                    </a:cubicBezTo>
                    <a:cubicBezTo>
                      <a:pt x="17" y="9"/>
                      <a:pt x="13" y="8"/>
                      <a:pt x="10" y="8"/>
                    </a:cubicBezTo>
                    <a:cubicBezTo>
                      <a:pt x="10" y="10"/>
                      <a:pt x="9" y="14"/>
                      <a:pt x="13" y="13"/>
                    </a:cubicBezTo>
                    <a:cubicBezTo>
                      <a:pt x="17" y="11"/>
                      <a:pt x="14" y="17"/>
                      <a:pt x="14" y="19"/>
                    </a:cubicBezTo>
                    <a:cubicBezTo>
                      <a:pt x="14" y="20"/>
                      <a:pt x="14" y="21"/>
                      <a:pt x="15" y="22"/>
                    </a:cubicBezTo>
                    <a:cubicBezTo>
                      <a:pt x="16" y="23"/>
                      <a:pt x="16" y="24"/>
                      <a:pt x="16" y="25"/>
                    </a:cubicBezTo>
                    <a:cubicBezTo>
                      <a:pt x="16" y="27"/>
                      <a:pt x="16" y="30"/>
                      <a:pt x="15" y="32"/>
                    </a:cubicBezTo>
                    <a:cubicBezTo>
                      <a:pt x="15" y="33"/>
                      <a:pt x="13" y="31"/>
                      <a:pt x="13" y="31"/>
                    </a:cubicBezTo>
                    <a:cubicBezTo>
                      <a:pt x="11" y="31"/>
                      <a:pt x="11" y="33"/>
                      <a:pt x="10" y="32"/>
                    </a:cubicBezTo>
                    <a:cubicBezTo>
                      <a:pt x="10" y="31"/>
                      <a:pt x="9" y="30"/>
                      <a:pt x="8" y="29"/>
                    </a:cubicBezTo>
                    <a:cubicBezTo>
                      <a:pt x="7" y="29"/>
                      <a:pt x="7" y="31"/>
                      <a:pt x="6" y="32"/>
                    </a:cubicBezTo>
                    <a:cubicBezTo>
                      <a:pt x="6" y="32"/>
                      <a:pt x="4" y="32"/>
                      <a:pt x="4" y="32"/>
                    </a:cubicBezTo>
                    <a:cubicBezTo>
                      <a:pt x="2" y="32"/>
                      <a:pt x="3" y="34"/>
                      <a:pt x="3" y="35"/>
                    </a:cubicBezTo>
                    <a:cubicBezTo>
                      <a:pt x="4" y="38"/>
                      <a:pt x="3" y="37"/>
                      <a:pt x="0" y="39"/>
                    </a:cubicBezTo>
                    <a:cubicBezTo>
                      <a:pt x="2" y="41"/>
                      <a:pt x="4" y="42"/>
                      <a:pt x="5" y="45"/>
                    </a:cubicBezTo>
                    <a:cubicBezTo>
                      <a:pt x="6" y="44"/>
                      <a:pt x="7" y="43"/>
                      <a:pt x="8" y="42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4"/>
                      <a:pt x="10" y="43"/>
                      <a:pt x="11" y="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0" name="Freeform 742">
                <a:extLst>
                  <a:ext uri="{FF2B5EF4-FFF2-40B4-BE49-F238E27FC236}">
                    <a16:creationId xmlns:a16="http://schemas.microsoft.com/office/drawing/2014/main" id="{55CD0208-B27A-452E-ABE8-F91309A89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1325" y="4260096"/>
                <a:ext cx="297849" cy="210246"/>
              </a:xfrm>
              <a:custGeom>
                <a:avLst/>
                <a:gdLst>
                  <a:gd name="T0" fmla="*/ 12 w 64"/>
                  <a:gd name="T1" fmla="*/ 37 h 45"/>
                  <a:gd name="T2" fmla="*/ 17 w 64"/>
                  <a:gd name="T3" fmla="*/ 37 h 45"/>
                  <a:gd name="T4" fmla="*/ 20 w 64"/>
                  <a:gd name="T5" fmla="*/ 38 h 45"/>
                  <a:gd name="T6" fmla="*/ 21 w 64"/>
                  <a:gd name="T7" fmla="*/ 33 h 45"/>
                  <a:gd name="T8" fmla="*/ 25 w 64"/>
                  <a:gd name="T9" fmla="*/ 30 h 45"/>
                  <a:gd name="T10" fmla="*/ 30 w 64"/>
                  <a:gd name="T11" fmla="*/ 33 h 45"/>
                  <a:gd name="T12" fmla="*/ 36 w 64"/>
                  <a:gd name="T13" fmla="*/ 34 h 45"/>
                  <a:gd name="T14" fmla="*/ 39 w 64"/>
                  <a:gd name="T15" fmla="*/ 34 h 45"/>
                  <a:gd name="T16" fmla="*/ 41 w 64"/>
                  <a:gd name="T17" fmla="*/ 30 h 45"/>
                  <a:gd name="T18" fmla="*/ 45 w 64"/>
                  <a:gd name="T19" fmla="*/ 31 h 45"/>
                  <a:gd name="T20" fmla="*/ 50 w 64"/>
                  <a:gd name="T21" fmla="*/ 31 h 45"/>
                  <a:gd name="T22" fmla="*/ 55 w 64"/>
                  <a:gd name="T23" fmla="*/ 29 h 45"/>
                  <a:gd name="T24" fmla="*/ 60 w 64"/>
                  <a:gd name="T25" fmla="*/ 30 h 45"/>
                  <a:gd name="T26" fmla="*/ 58 w 64"/>
                  <a:gd name="T27" fmla="*/ 24 h 45"/>
                  <a:gd name="T28" fmla="*/ 55 w 64"/>
                  <a:gd name="T29" fmla="*/ 20 h 45"/>
                  <a:gd name="T30" fmla="*/ 51 w 64"/>
                  <a:gd name="T31" fmla="*/ 16 h 45"/>
                  <a:gd name="T32" fmla="*/ 47 w 64"/>
                  <a:gd name="T33" fmla="*/ 13 h 45"/>
                  <a:gd name="T34" fmla="*/ 46 w 64"/>
                  <a:gd name="T35" fmla="*/ 12 h 45"/>
                  <a:gd name="T36" fmla="*/ 44 w 64"/>
                  <a:gd name="T37" fmla="*/ 12 h 45"/>
                  <a:gd name="T38" fmla="*/ 44 w 64"/>
                  <a:gd name="T39" fmla="*/ 6 h 45"/>
                  <a:gd name="T40" fmla="*/ 41 w 64"/>
                  <a:gd name="T41" fmla="*/ 1 h 45"/>
                  <a:gd name="T42" fmla="*/ 41 w 64"/>
                  <a:gd name="T43" fmla="*/ 0 h 45"/>
                  <a:gd name="T44" fmla="*/ 38 w 64"/>
                  <a:gd name="T45" fmla="*/ 0 h 45"/>
                  <a:gd name="T46" fmla="*/ 35 w 64"/>
                  <a:gd name="T47" fmla="*/ 3 h 45"/>
                  <a:gd name="T48" fmla="*/ 26 w 64"/>
                  <a:gd name="T49" fmla="*/ 10 h 45"/>
                  <a:gd name="T50" fmla="*/ 22 w 64"/>
                  <a:gd name="T51" fmla="*/ 11 h 45"/>
                  <a:gd name="T52" fmla="*/ 19 w 64"/>
                  <a:gd name="T53" fmla="*/ 15 h 45"/>
                  <a:gd name="T54" fmla="*/ 13 w 64"/>
                  <a:gd name="T55" fmla="*/ 17 h 45"/>
                  <a:gd name="T56" fmla="*/ 9 w 64"/>
                  <a:gd name="T57" fmla="*/ 17 h 45"/>
                  <a:gd name="T58" fmla="*/ 6 w 64"/>
                  <a:gd name="T59" fmla="*/ 18 h 45"/>
                  <a:gd name="T60" fmla="*/ 3 w 64"/>
                  <a:gd name="T61" fmla="*/ 23 h 45"/>
                  <a:gd name="T62" fmla="*/ 4 w 64"/>
                  <a:gd name="T63" fmla="*/ 34 h 45"/>
                  <a:gd name="T64" fmla="*/ 6 w 64"/>
                  <a:gd name="T65" fmla="*/ 39 h 45"/>
                  <a:gd name="T66" fmla="*/ 9 w 64"/>
                  <a:gd name="T67" fmla="*/ 45 h 45"/>
                  <a:gd name="T68" fmla="*/ 12 w 64"/>
                  <a:gd name="T69" fmla="*/ 3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4" h="45">
                    <a:moveTo>
                      <a:pt x="12" y="37"/>
                    </a:moveTo>
                    <a:cubicBezTo>
                      <a:pt x="13" y="37"/>
                      <a:pt x="16" y="36"/>
                      <a:pt x="17" y="37"/>
                    </a:cubicBezTo>
                    <a:cubicBezTo>
                      <a:pt x="17" y="38"/>
                      <a:pt x="20" y="38"/>
                      <a:pt x="20" y="38"/>
                    </a:cubicBezTo>
                    <a:cubicBezTo>
                      <a:pt x="21" y="36"/>
                      <a:pt x="20" y="34"/>
                      <a:pt x="21" y="33"/>
                    </a:cubicBezTo>
                    <a:cubicBezTo>
                      <a:pt x="21" y="32"/>
                      <a:pt x="23" y="29"/>
                      <a:pt x="25" y="30"/>
                    </a:cubicBezTo>
                    <a:cubicBezTo>
                      <a:pt x="27" y="30"/>
                      <a:pt x="28" y="32"/>
                      <a:pt x="30" y="33"/>
                    </a:cubicBezTo>
                    <a:cubicBezTo>
                      <a:pt x="32" y="34"/>
                      <a:pt x="34" y="34"/>
                      <a:pt x="36" y="34"/>
                    </a:cubicBezTo>
                    <a:cubicBezTo>
                      <a:pt x="37" y="34"/>
                      <a:pt x="39" y="35"/>
                      <a:pt x="39" y="34"/>
                    </a:cubicBezTo>
                    <a:cubicBezTo>
                      <a:pt x="40" y="33"/>
                      <a:pt x="40" y="29"/>
                      <a:pt x="41" y="30"/>
                    </a:cubicBezTo>
                    <a:cubicBezTo>
                      <a:pt x="43" y="31"/>
                      <a:pt x="43" y="31"/>
                      <a:pt x="45" y="31"/>
                    </a:cubicBezTo>
                    <a:cubicBezTo>
                      <a:pt x="47" y="30"/>
                      <a:pt x="48" y="31"/>
                      <a:pt x="50" y="31"/>
                    </a:cubicBezTo>
                    <a:cubicBezTo>
                      <a:pt x="52" y="31"/>
                      <a:pt x="53" y="28"/>
                      <a:pt x="55" y="29"/>
                    </a:cubicBezTo>
                    <a:cubicBezTo>
                      <a:pt x="56" y="29"/>
                      <a:pt x="58" y="31"/>
                      <a:pt x="60" y="30"/>
                    </a:cubicBezTo>
                    <a:cubicBezTo>
                      <a:pt x="64" y="28"/>
                      <a:pt x="59" y="26"/>
                      <a:pt x="58" y="24"/>
                    </a:cubicBezTo>
                    <a:cubicBezTo>
                      <a:pt x="57" y="22"/>
                      <a:pt x="57" y="21"/>
                      <a:pt x="55" y="20"/>
                    </a:cubicBezTo>
                    <a:cubicBezTo>
                      <a:pt x="53" y="19"/>
                      <a:pt x="52" y="18"/>
                      <a:pt x="51" y="16"/>
                    </a:cubicBezTo>
                    <a:cubicBezTo>
                      <a:pt x="51" y="14"/>
                      <a:pt x="49" y="14"/>
                      <a:pt x="47" y="13"/>
                    </a:cubicBezTo>
                    <a:cubicBezTo>
                      <a:pt x="47" y="13"/>
                      <a:pt x="47" y="12"/>
                      <a:pt x="46" y="12"/>
                    </a:cubicBezTo>
                    <a:cubicBezTo>
                      <a:pt x="46" y="12"/>
                      <a:pt x="44" y="12"/>
                      <a:pt x="44" y="12"/>
                    </a:cubicBezTo>
                    <a:cubicBezTo>
                      <a:pt x="43" y="11"/>
                      <a:pt x="44" y="7"/>
                      <a:pt x="44" y="6"/>
                    </a:cubicBezTo>
                    <a:cubicBezTo>
                      <a:pt x="44" y="4"/>
                      <a:pt x="42" y="3"/>
                      <a:pt x="41" y="1"/>
                    </a:cubicBezTo>
                    <a:cubicBezTo>
                      <a:pt x="41" y="1"/>
                      <a:pt x="41" y="0"/>
                      <a:pt x="41" y="0"/>
                    </a:cubicBezTo>
                    <a:cubicBezTo>
                      <a:pt x="40" y="0"/>
                      <a:pt x="39" y="0"/>
                      <a:pt x="38" y="0"/>
                    </a:cubicBezTo>
                    <a:cubicBezTo>
                      <a:pt x="36" y="1"/>
                      <a:pt x="36" y="1"/>
                      <a:pt x="35" y="3"/>
                    </a:cubicBezTo>
                    <a:cubicBezTo>
                      <a:pt x="35" y="6"/>
                      <a:pt x="28" y="10"/>
                      <a:pt x="26" y="10"/>
                    </a:cubicBezTo>
                    <a:cubicBezTo>
                      <a:pt x="25" y="10"/>
                      <a:pt x="21" y="10"/>
                      <a:pt x="22" y="11"/>
                    </a:cubicBezTo>
                    <a:cubicBezTo>
                      <a:pt x="23" y="13"/>
                      <a:pt x="20" y="15"/>
                      <a:pt x="19" y="15"/>
                    </a:cubicBezTo>
                    <a:cubicBezTo>
                      <a:pt x="17" y="16"/>
                      <a:pt x="15" y="17"/>
                      <a:pt x="13" y="17"/>
                    </a:cubicBezTo>
                    <a:cubicBezTo>
                      <a:pt x="11" y="18"/>
                      <a:pt x="11" y="16"/>
                      <a:pt x="9" y="17"/>
                    </a:cubicBezTo>
                    <a:cubicBezTo>
                      <a:pt x="7" y="18"/>
                      <a:pt x="6" y="17"/>
                      <a:pt x="6" y="18"/>
                    </a:cubicBezTo>
                    <a:cubicBezTo>
                      <a:pt x="5" y="20"/>
                      <a:pt x="4" y="22"/>
                      <a:pt x="3" y="23"/>
                    </a:cubicBezTo>
                    <a:cubicBezTo>
                      <a:pt x="0" y="27"/>
                      <a:pt x="2" y="30"/>
                      <a:pt x="4" y="34"/>
                    </a:cubicBezTo>
                    <a:cubicBezTo>
                      <a:pt x="5" y="36"/>
                      <a:pt x="5" y="37"/>
                      <a:pt x="6" y="39"/>
                    </a:cubicBezTo>
                    <a:cubicBezTo>
                      <a:pt x="8" y="41"/>
                      <a:pt x="9" y="42"/>
                      <a:pt x="9" y="45"/>
                    </a:cubicBezTo>
                    <a:cubicBezTo>
                      <a:pt x="9" y="44"/>
                      <a:pt x="10" y="37"/>
                      <a:pt x="12" y="3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1" name="Freeform 743">
                <a:extLst>
                  <a:ext uri="{FF2B5EF4-FFF2-40B4-BE49-F238E27FC236}">
                    <a16:creationId xmlns:a16="http://schemas.microsoft.com/office/drawing/2014/main" id="{CE379E09-C8E3-4E0A-94D3-25DD96B48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0028" y="3960655"/>
                <a:ext cx="546322" cy="383857"/>
              </a:xfrm>
              <a:custGeom>
                <a:avLst/>
                <a:gdLst>
                  <a:gd name="T0" fmla="*/ 83 w 117"/>
                  <a:gd name="T1" fmla="*/ 82 h 82"/>
                  <a:gd name="T2" fmla="*/ 93 w 117"/>
                  <a:gd name="T3" fmla="*/ 76 h 82"/>
                  <a:gd name="T4" fmla="*/ 105 w 117"/>
                  <a:gd name="T5" fmla="*/ 68 h 82"/>
                  <a:gd name="T6" fmla="*/ 112 w 117"/>
                  <a:gd name="T7" fmla="*/ 64 h 82"/>
                  <a:gd name="T8" fmla="*/ 107 w 117"/>
                  <a:gd name="T9" fmla="*/ 55 h 82"/>
                  <a:gd name="T10" fmla="*/ 110 w 117"/>
                  <a:gd name="T11" fmla="*/ 46 h 82"/>
                  <a:gd name="T12" fmla="*/ 114 w 117"/>
                  <a:gd name="T13" fmla="*/ 40 h 82"/>
                  <a:gd name="T14" fmla="*/ 117 w 117"/>
                  <a:gd name="T15" fmla="*/ 21 h 82"/>
                  <a:gd name="T16" fmla="*/ 81 w 117"/>
                  <a:gd name="T17" fmla="*/ 1 h 82"/>
                  <a:gd name="T18" fmla="*/ 75 w 117"/>
                  <a:gd name="T19" fmla="*/ 2 h 82"/>
                  <a:gd name="T20" fmla="*/ 67 w 117"/>
                  <a:gd name="T21" fmla="*/ 2 h 82"/>
                  <a:gd name="T22" fmla="*/ 59 w 117"/>
                  <a:gd name="T23" fmla="*/ 1 h 82"/>
                  <a:gd name="T24" fmla="*/ 29 w 117"/>
                  <a:gd name="T25" fmla="*/ 21 h 82"/>
                  <a:gd name="T26" fmla="*/ 22 w 117"/>
                  <a:gd name="T27" fmla="*/ 25 h 82"/>
                  <a:gd name="T28" fmla="*/ 19 w 117"/>
                  <a:gd name="T29" fmla="*/ 42 h 82"/>
                  <a:gd name="T30" fmla="*/ 8 w 117"/>
                  <a:gd name="T31" fmla="*/ 43 h 82"/>
                  <a:gd name="T32" fmla="*/ 5 w 117"/>
                  <a:gd name="T33" fmla="*/ 51 h 82"/>
                  <a:gd name="T34" fmla="*/ 11 w 117"/>
                  <a:gd name="T35" fmla="*/ 56 h 82"/>
                  <a:gd name="T36" fmla="*/ 19 w 117"/>
                  <a:gd name="T37" fmla="*/ 62 h 82"/>
                  <a:gd name="T38" fmla="*/ 21 w 117"/>
                  <a:gd name="T39" fmla="*/ 55 h 82"/>
                  <a:gd name="T40" fmla="*/ 28 w 117"/>
                  <a:gd name="T41" fmla="*/ 50 h 82"/>
                  <a:gd name="T42" fmla="*/ 35 w 117"/>
                  <a:gd name="T43" fmla="*/ 53 h 82"/>
                  <a:gd name="T44" fmla="*/ 46 w 117"/>
                  <a:gd name="T45" fmla="*/ 55 h 82"/>
                  <a:gd name="T46" fmla="*/ 64 w 117"/>
                  <a:gd name="T47" fmla="*/ 53 h 82"/>
                  <a:gd name="T48" fmla="*/ 68 w 117"/>
                  <a:gd name="T49" fmla="*/ 47 h 82"/>
                  <a:gd name="T50" fmla="*/ 77 w 117"/>
                  <a:gd name="T51" fmla="*/ 31 h 82"/>
                  <a:gd name="T52" fmla="*/ 79 w 117"/>
                  <a:gd name="T53" fmla="*/ 16 h 82"/>
                  <a:gd name="T54" fmla="*/ 75 w 117"/>
                  <a:gd name="T55" fmla="*/ 2 h 82"/>
                  <a:gd name="T56" fmla="*/ 78 w 117"/>
                  <a:gd name="T57" fmla="*/ 16 h 82"/>
                  <a:gd name="T58" fmla="*/ 77 w 117"/>
                  <a:gd name="T59" fmla="*/ 35 h 82"/>
                  <a:gd name="T60" fmla="*/ 68 w 117"/>
                  <a:gd name="T61" fmla="*/ 46 h 82"/>
                  <a:gd name="T62" fmla="*/ 72 w 117"/>
                  <a:gd name="T63" fmla="*/ 55 h 82"/>
                  <a:gd name="T64" fmla="*/ 75 w 117"/>
                  <a:gd name="T65" fmla="*/ 65 h 82"/>
                  <a:gd name="T66" fmla="*/ 72 w 117"/>
                  <a:gd name="T67" fmla="*/ 74 h 82"/>
                  <a:gd name="T68" fmla="*/ 77 w 117"/>
                  <a:gd name="T69" fmla="*/ 81 h 82"/>
                  <a:gd name="T70" fmla="*/ 80 w 117"/>
                  <a:gd name="T71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17" h="82">
                    <a:moveTo>
                      <a:pt x="80" y="81"/>
                    </a:moveTo>
                    <a:cubicBezTo>
                      <a:pt x="81" y="80"/>
                      <a:pt x="82" y="82"/>
                      <a:pt x="83" y="82"/>
                    </a:cubicBezTo>
                    <a:cubicBezTo>
                      <a:pt x="85" y="81"/>
                      <a:pt x="87" y="80"/>
                      <a:pt x="89" y="79"/>
                    </a:cubicBezTo>
                    <a:cubicBezTo>
                      <a:pt x="90" y="79"/>
                      <a:pt x="93" y="78"/>
                      <a:pt x="93" y="76"/>
                    </a:cubicBezTo>
                    <a:cubicBezTo>
                      <a:pt x="93" y="74"/>
                      <a:pt x="94" y="75"/>
                      <a:pt x="96" y="74"/>
                    </a:cubicBezTo>
                    <a:cubicBezTo>
                      <a:pt x="99" y="74"/>
                      <a:pt x="103" y="71"/>
                      <a:pt x="105" y="68"/>
                    </a:cubicBezTo>
                    <a:cubicBezTo>
                      <a:pt x="106" y="67"/>
                      <a:pt x="106" y="66"/>
                      <a:pt x="107" y="65"/>
                    </a:cubicBezTo>
                    <a:cubicBezTo>
                      <a:pt x="108" y="64"/>
                      <a:pt x="110" y="64"/>
                      <a:pt x="112" y="64"/>
                    </a:cubicBezTo>
                    <a:cubicBezTo>
                      <a:pt x="112" y="62"/>
                      <a:pt x="110" y="61"/>
                      <a:pt x="109" y="59"/>
                    </a:cubicBezTo>
                    <a:cubicBezTo>
                      <a:pt x="109" y="58"/>
                      <a:pt x="110" y="55"/>
                      <a:pt x="107" y="55"/>
                    </a:cubicBezTo>
                    <a:cubicBezTo>
                      <a:pt x="106" y="55"/>
                      <a:pt x="109" y="53"/>
                      <a:pt x="108" y="52"/>
                    </a:cubicBezTo>
                    <a:cubicBezTo>
                      <a:pt x="108" y="49"/>
                      <a:pt x="109" y="48"/>
                      <a:pt x="110" y="46"/>
                    </a:cubicBezTo>
                    <a:cubicBezTo>
                      <a:pt x="110" y="44"/>
                      <a:pt x="112" y="44"/>
                      <a:pt x="112" y="42"/>
                    </a:cubicBezTo>
                    <a:cubicBezTo>
                      <a:pt x="112" y="41"/>
                      <a:pt x="113" y="40"/>
                      <a:pt x="114" y="40"/>
                    </a:cubicBezTo>
                    <a:cubicBezTo>
                      <a:pt x="117" y="40"/>
                      <a:pt x="117" y="40"/>
                      <a:pt x="117" y="38"/>
                    </a:cubicBezTo>
                    <a:cubicBezTo>
                      <a:pt x="117" y="32"/>
                      <a:pt x="117" y="27"/>
                      <a:pt x="117" y="21"/>
                    </a:cubicBezTo>
                    <a:cubicBezTo>
                      <a:pt x="117" y="19"/>
                      <a:pt x="113" y="18"/>
                      <a:pt x="111" y="17"/>
                    </a:cubicBezTo>
                    <a:cubicBezTo>
                      <a:pt x="101" y="12"/>
                      <a:pt x="91" y="6"/>
                      <a:pt x="81" y="1"/>
                    </a:cubicBezTo>
                    <a:cubicBezTo>
                      <a:pt x="80" y="1"/>
                      <a:pt x="80" y="0"/>
                      <a:pt x="79" y="0"/>
                    </a:cubicBezTo>
                    <a:cubicBezTo>
                      <a:pt x="78" y="1"/>
                      <a:pt x="76" y="2"/>
                      <a:pt x="75" y="2"/>
                    </a:cubicBezTo>
                    <a:cubicBezTo>
                      <a:pt x="74" y="3"/>
                      <a:pt x="72" y="5"/>
                      <a:pt x="71" y="5"/>
                    </a:cubicBezTo>
                    <a:cubicBezTo>
                      <a:pt x="70" y="5"/>
                      <a:pt x="69" y="3"/>
                      <a:pt x="67" y="2"/>
                    </a:cubicBezTo>
                    <a:cubicBezTo>
                      <a:pt x="66" y="1"/>
                      <a:pt x="65" y="1"/>
                      <a:pt x="64" y="1"/>
                    </a:cubicBezTo>
                    <a:cubicBezTo>
                      <a:pt x="62" y="0"/>
                      <a:pt x="61" y="0"/>
                      <a:pt x="59" y="1"/>
                    </a:cubicBezTo>
                    <a:cubicBezTo>
                      <a:pt x="52" y="5"/>
                      <a:pt x="45" y="10"/>
                      <a:pt x="38" y="14"/>
                    </a:cubicBezTo>
                    <a:cubicBezTo>
                      <a:pt x="35" y="16"/>
                      <a:pt x="32" y="18"/>
                      <a:pt x="29" y="21"/>
                    </a:cubicBezTo>
                    <a:cubicBezTo>
                      <a:pt x="28" y="22"/>
                      <a:pt x="27" y="22"/>
                      <a:pt x="26" y="22"/>
                    </a:cubicBezTo>
                    <a:cubicBezTo>
                      <a:pt x="23" y="22"/>
                      <a:pt x="22" y="22"/>
                      <a:pt x="22" y="25"/>
                    </a:cubicBezTo>
                    <a:cubicBezTo>
                      <a:pt x="22" y="28"/>
                      <a:pt x="22" y="31"/>
                      <a:pt x="22" y="34"/>
                    </a:cubicBezTo>
                    <a:cubicBezTo>
                      <a:pt x="22" y="37"/>
                      <a:pt x="21" y="40"/>
                      <a:pt x="19" y="42"/>
                    </a:cubicBezTo>
                    <a:cubicBezTo>
                      <a:pt x="18" y="43"/>
                      <a:pt x="15" y="43"/>
                      <a:pt x="14" y="43"/>
                    </a:cubicBezTo>
                    <a:cubicBezTo>
                      <a:pt x="12" y="43"/>
                      <a:pt x="10" y="43"/>
                      <a:pt x="8" y="43"/>
                    </a:cubicBezTo>
                    <a:cubicBezTo>
                      <a:pt x="6" y="43"/>
                      <a:pt x="4" y="44"/>
                      <a:pt x="2" y="44"/>
                    </a:cubicBezTo>
                    <a:cubicBezTo>
                      <a:pt x="0" y="44"/>
                      <a:pt x="5" y="51"/>
                      <a:pt x="5" y="51"/>
                    </a:cubicBezTo>
                    <a:cubicBezTo>
                      <a:pt x="6" y="54"/>
                      <a:pt x="7" y="56"/>
                      <a:pt x="10" y="57"/>
                    </a:cubicBezTo>
                    <a:cubicBezTo>
                      <a:pt x="10" y="57"/>
                      <a:pt x="11" y="56"/>
                      <a:pt x="11" y="56"/>
                    </a:cubicBezTo>
                    <a:cubicBezTo>
                      <a:pt x="12" y="57"/>
                      <a:pt x="12" y="60"/>
                      <a:pt x="14" y="58"/>
                    </a:cubicBezTo>
                    <a:cubicBezTo>
                      <a:pt x="16" y="56"/>
                      <a:pt x="18" y="61"/>
                      <a:pt x="19" y="62"/>
                    </a:cubicBezTo>
                    <a:cubicBezTo>
                      <a:pt x="19" y="61"/>
                      <a:pt x="20" y="59"/>
                      <a:pt x="20" y="58"/>
                    </a:cubicBezTo>
                    <a:cubicBezTo>
                      <a:pt x="20" y="57"/>
                      <a:pt x="21" y="56"/>
                      <a:pt x="21" y="55"/>
                    </a:cubicBezTo>
                    <a:cubicBezTo>
                      <a:pt x="22" y="52"/>
                      <a:pt x="22" y="52"/>
                      <a:pt x="25" y="51"/>
                    </a:cubicBezTo>
                    <a:cubicBezTo>
                      <a:pt x="26" y="50"/>
                      <a:pt x="27" y="50"/>
                      <a:pt x="28" y="50"/>
                    </a:cubicBezTo>
                    <a:cubicBezTo>
                      <a:pt x="29" y="49"/>
                      <a:pt x="30" y="51"/>
                      <a:pt x="31" y="51"/>
                    </a:cubicBezTo>
                    <a:cubicBezTo>
                      <a:pt x="33" y="51"/>
                      <a:pt x="34" y="52"/>
                      <a:pt x="35" y="53"/>
                    </a:cubicBezTo>
                    <a:cubicBezTo>
                      <a:pt x="36" y="54"/>
                      <a:pt x="37" y="54"/>
                      <a:pt x="39" y="54"/>
                    </a:cubicBezTo>
                    <a:cubicBezTo>
                      <a:pt x="42" y="52"/>
                      <a:pt x="43" y="55"/>
                      <a:pt x="46" y="55"/>
                    </a:cubicBezTo>
                    <a:cubicBezTo>
                      <a:pt x="49" y="55"/>
                      <a:pt x="52" y="53"/>
                      <a:pt x="55" y="53"/>
                    </a:cubicBezTo>
                    <a:cubicBezTo>
                      <a:pt x="57" y="53"/>
                      <a:pt x="61" y="54"/>
                      <a:pt x="64" y="53"/>
                    </a:cubicBezTo>
                    <a:cubicBezTo>
                      <a:pt x="65" y="53"/>
                      <a:pt x="66" y="52"/>
                      <a:pt x="67" y="51"/>
                    </a:cubicBezTo>
                    <a:cubicBezTo>
                      <a:pt x="69" y="50"/>
                      <a:pt x="68" y="49"/>
                      <a:pt x="68" y="47"/>
                    </a:cubicBezTo>
                    <a:cubicBezTo>
                      <a:pt x="68" y="42"/>
                      <a:pt x="73" y="39"/>
                      <a:pt x="77" y="35"/>
                    </a:cubicBezTo>
                    <a:cubicBezTo>
                      <a:pt x="78" y="34"/>
                      <a:pt x="77" y="32"/>
                      <a:pt x="77" y="31"/>
                    </a:cubicBezTo>
                    <a:cubicBezTo>
                      <a:pt x="77" y="28"/>
                      <a:pt x="77" y="26"/>
                      <a:pt x="77" y="23"/>
                    </a:cubicBezTo>
                    <a:cubicBezTo>
                      <a:pt x="78" y="21"/>
                      <a:pt x="79" y="18"/>
                      <a:pt x="79" y="16"/>
                    </a:cubicBezTo>
                    <a:cubicBezTo>
                      <a:pt x="78" y="14"/>
                      <a:pt x="77" y="12"/>
                      <a:pt x="76" y="11"/>
                    </a:cubicBezTo>
                    <a:cubicBezTo>
                      <a:pt x="74" y="8"/>
                      <a:pt x="75" y="5"/>
                      <a:pt x="75" y="2"/>
                    </a:cubicBezTo>
                    <a:cubicBezTo>
                      <a:pt x="75" y="5"/>
                      <a:pt x="75" y="7"/>
                      <a:pt x="75" y="9"/>
                    </a:cubicBezTo>
                    <a:cubicBezTo>
                      <a:pt x="75" y="11"/>
                      <a:pt x="78" y="14"/>
                      <a:pt x="78" y="16"/>
                    </a:cubicBezTo>
                    <a:cubicBezTo>
                      <a:pt x="79" y="19"/>
                      <a:pt x="77" y="23"/>
                      <a:pt x="77" y="26"/>
                    </a:cubicBezTo>
                    <a:cubicBezTo>
                      <a:pt x="77" y="28"/>
                      <a:pt x="78" y="32"/>
                      <a:pt x="77" y="35"/>
                    </a:cubicBezTo>
                    <a:cubicBezTo>
                      <a:pt x="76" y="37"/>
                      <a:pt x="72" y="39"/>
                      <a:pt x="71" y="41"/>
                    </a:cubicBezTo>
                    <a:cubicBezTo>
                      <a:pt x="69" y="42"/>
                      <a:pt x="68" y="44"/>
                      <a:pt x="68" y="46"/>
                    </a:cubicBezTo>
                    <a:cubicBezTo>
                      <a:pt x="67" y="49"/>
                      <a:pt x="69" y="50"/>
                      <a:pt x="70" y="53"/>
                    </a:cubicBezTo>
                    <a:cubicBezTo>
                      <a:pt x="70" y="54"/>
                      <a:pt x="71" y="54"/>
                      <a:pt x="72" y="55"/>
                    </a:cubicBezTo>
                    <a:cubicBezTo>
                      <a:pt x="74" y="56"/>
                      <a:pt x="75" y="57"/>
                      <a:pt x="75" y="59"/>
                    </a:cubicBezTo>
                    <a:cubicBezTo>
                      <a:pt x="75" y="61"/>
                      <a:pt x="75" y="63"/>
                      <a:pt x="75" y="65"/>
                    </a:cubicBezTo>
                    <a:cubicBezTo>
                      <a:pt x="75" y="66"/>
                      <a:pt x="76" y="68"/>
                      <a:pt x="77" y="70"/>
                    </a:cubicBezTo>
                    <a:cubicBezTo>
                      <a:pt x="74" y="70"/>
                      <a:pt x="67" y="70"/>
                      <a:pt x="72" y="74"/>
                    </a:cubicBezTo>
                    <a:cubicBezTo>
                      <a:pt x="74" y="75"/>
                      <a:pt x="75" y="76"/>
                      <a:pt x="76" y="78"/>
                    </a:cubicBezTo>
                    <a:cubicBezTo>
                      <a:pt x="76" y="79"/>
                      <a:pt x="77" y="80"/>
                      <a:pt x="77" y="81"/>
                    </a:cubicBezTo>
                    <a:cubicBezTo>
                      <a:pt x="77" y="82"/>
                      <a:pt x="80" y="81"/>
                      <a:pt x="80" y="81"/>
                    </a:cubicBezTo>
                    <a:cubicBezTo>
                      <a:pt x="82" y="80"/>
                      <a:pt x="80" y="81"/>
                      <a:pt x="80" y="8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2" name="Freeform 744">
                <a:extLst>
                  <a:ext uri="{FF2B5EF4-FFF2-40B4-BE49-F238E27FC236}">
                    <a16:creationId xmlns:a16="http://schemas.microsoft.com/office/drawing/2014/main" id="{4E3C0132-91C4-4C6D-9E1B-A0DEF2656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3787" y="3970212"/>
                <a:ext cx="383859" cy="473053"/>
              </a:xfrm>
              <a:custGeom>
                <a:avLst/>
                <a:gdLst>
                  <a:gd name="T0" fmla="*/ 6 w 82"/>
                  <a:gd name="T1" fmla="*/ 39 h 101"/>
                  <a:gd name="T2" fmla="*/ 6 w 82"/>
                  <a:gd name="T3" fmla="*/ 41 h 101"/>
                  <a:gd name="T4" fmla="*/ 4 w 82"/>
                  <a:gd name="T5" fmla="*/ 43 h 101"/>
                  <a:gd name="T6" fmla="*/ 2 w 82"/>
                  <a:gd name="T7" fmla="*/ 49 h 101"/>
                  <a:gd name="T8" fmla="*/ 2 w 82"/>
                  <a:gd name="T9" fmla="*/ 51 h 101"/>
                  <a:gd name="T10" fmla="*/ 1 w 82"/>
                  <a:gd name="T11" fmla="*/ 53 h 101"/>
                  <a:gd name="T12" fmla="*/ 4 w 82"/>
                  <a:gd name="T13" fmla="*/ 58 h 101"/>
                  <a:gd name="T14" fmla="*/ 6 w 82"/>
                  <a:gd name="T15" fmla="*/ 60 h 101"/>
                  <a:gd name="T16" fmla="*/ 6 w 82"/>
                  <a:gd name="T17" fmla="*/ 63 h 101"/>
                  <a:gd name="T18" fmla="*/ 9 w 82"/>
                  <a:gd name="T19" fmla="*/ 68 h 101"/>
                  <a:gd name="T20" fmla="*/ 9 w 82"/>
                  <a:gd name="T21" fmla="*/ 74 h 101"/>
                  <a:gd name="T22" fmla="*/ 15 w 82"/>
                  <a:gd name="T23" fmla="*/ 76 h 101"/>
                  <a:gd name="T24" fmla="*/ 18 w 82"/>
                  <a:gd name="T25" fmla="*/ 81 h 101"/>
                  <a:gd name="T26" fmla="*/ 22 w 82"/>
                  <a:gd name="T27" fmla="*/ 84 h 101"/>
                  <a:gd name="T28" fmla="*/ 26 w 82"/>
                  <a:gd name="T29" fmla="*/ 88 h 101"/>
                  <a:gd name="T30" fmla="*/ 26 w 82"/>
                  <a:gd name="T31" fmla="*/ 91 h 101"/>
                  <a:gd name="T32" fmla="*/ 28 w 82"/>
                  <a:gd name="T33" fmla="*/ 92 h 101"/>
                  <a:gd name="T34" fmla="*/ 32 w 82"/>
                  <a:gd name="T35" fmla="*/ 96 h 101"/>
                  <a:gd name="T36" fmla="*/ 35 w 82"/>
                  <a:gd name="T37" fmla="*/ 95 h 101"/>
                  <a:gd name="T38" fmla="*/ 39 w 82"/>
                  <a:gd name="T39" fmla="*/ 94 h 101"/>
                  <a:gd name="T40" fmla="*/ 44 w 82"/>
                  <a:gd name="T41" fmla="*/ 100 h 101"/>
                  <a:gd name="T42" fmla="*/ 51 w 82"/>
                  <a:gd name="T43" fmla="*/ 100 h 101"/>
                  <a:gd name="T44" fmla="*/ 55 w 82"/>
                  <a:gd name="T45" fmla="*/ 98 h 101"/>
                  <a:gd name="T46" fmla="*/ 59 w 82"/>
                  <a:gd name="T47" fmla="*/ 97 h 101"/>
                  <a:gd name="T48" fmla="*/ 69 w 82"/>
                  <a:gd name="T49" fmla="*/ 94 h 101"/>
                  <a:gd name="T50" fmla="*/ 69 w 82"/>
                  <a:gd name="T51" fmla="*/ 91 h 101"/>
                  <a:gd name="T52" fmla="*/ 66 w 82"/>
                  <a:gd name="T53" fmla="*/ 90 h 101"/>
                  <a:gd name="T54" fmla="*/ 61 w 82"/>
                  <a:gd name="T55" fmla="*/ 83 h 101"/>
                  <a:gd name="T56" fmla="*/ 59 w 82"/>
                  <a:gd name="T57" fmla="*/ 80 h 101"/>
                  <a:gd name="T58" fmla="*/ 56 w 82"/>
                  <a:gd name="T59" fmla="*/ 78 h 101"/>
                  <a:gd name="T60" fmla="*/ 59 w 82"/>
                  <a:gd name="T61" fmla="*/ 75 h 101"/>
                  <a:gd name="T62" fmla="*/ 61 w 82"/>
                  <a:gd name="T63" fmla="*/ 67 h 101"/>
                  <a:gd name="T64" fmla="*/ 62 w 82"/>
                  <a:gd name="T65" fmla="*/ 64 h 101"/>
                  <a:gd name="T66" fmla="*/ 65 w 82"/>
                  <a:gd name="T67" fmla="*/ 62 h 101"/>
                  <a:gd name="T68" fmla="*/ 65 w 82"/>
                  <a:gd name="T69" fmla="*/ 58 h 101"/>
                  <a:gd name="T70" fmla="*/ 67 w 82"/>
                  <a:gd name="T71" fmla="*/ 55 h 101"/>
                  <a:gd name="T72" fmla="*/ 71 w 82"/>
                  <a:gd name="T73" fmla="*/ 52 h 101"/>
                  <a:gd name="T74" fmla="*/ 72 w 82"/>
                  <a:gd name="T75" fmla="*/ 45 h 101"/>
                  <a:gd name="T76" fmla="*/ 72 w 82"/>
                  <a:gd name="T77" fmla="*/ 42 h 101"/>
                  <a:gd name="T78" fmla="*/ 74 w 82"/>
                  <a:gd name="T79" fmla="*/ 37 h 101"/>
                  <a:gd name="T80" fmla="*/ 79 w 82"/>
                  <a:gd name="T81" fmla="*/ 29 h 101"/>
                  <a:gd name="T82" fmla="*/ 82 w 82"/>
                  <a:gd name="T83" fmla="*/ 27 h 101"/>
                  <a:gd name="T84" fmla="*/ 79 w 82"/>
                  <a:gd name="T85" fmla="*/ 23 h 101"/>
                  <a:gd name="T86" fmla="*/ 76 w 82"/>
                  <a:gd name="T87" fmla="*/ 17 h 101"/>
                  <a:gd name="T88" fmla="*/ 76 w 82"/>
                  <a:gd name="T89" fmla="*/ 11 h 101"/>
                  <a:gd name="T90" fmla="*/ 75 w 82"/>
                  <a:gd name="T91" fmla="*/ 9 h 101"/>
                  <a:gd name="T92" fmla="*/ 74 w 82"/>
                  <a:gd name="T93" fmla="*/ 5 h 101"/>
                  <a:gd name="T94" fmla="*/ 68 w 82"/>
                  <a:gd name="T95" fmla="*/ 0 h 101"/>
                  <a:gd name="T96" fmla="*/ 64 w 82"/>
                  <a:gd name="T97" fmla="*/ 2 h 101"/>
                  <a:gd name="T98" fmla="*/ 60 w 82"/>
                  <a:gd name="T99" fmla="*/ 5 h 101"/>
                  <a:gd name="T100" fmla="*/ 56 w 82"/>
                  <a:gd name="T101" fmla="*/ 5 h 101"/>
                  <a:gd name="T102" fmla="*/ 46 w 82"/>
                  <a:gd name="T103" fmla="*/ 5 h 101"/>
                  <a:gd name="T104" fmla="*/ 17 w 82"/>
                  <a:gd name="T105" fmla="*/ 5 h 101"/>
                  <a:gd name="T106" fmla="*/ 16 w 82"/>
                  <a:gd name="T107" fmla="*/ 14 h 101"/>
                  <a:gd name="T108" fmla="*/ 13 w 82"/>
                  <a:gd name="T109" fmla="*/ 16 h 101"/>
                  <a:gd name="T110" fmla="*/ 11 w 82"/>
                  <a:gd name="T111" fmla="*/ 18 h 101"/>
                  <a:gd name="T112" fmla="*/ 11 w 82"/>
                  <a:gd name="T113" fmla="*/ 32 h 101"/>
                  <a:gd name="T114" fmla="*/ 11 w 82"/>
                  <a:gd name="T115" fmla="*/ 37 h 101"/>
                  <a:gd name="T116" fmla="*/ 6 w 82"/>
                  <a:gd name="T117" fmla="*/ 39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2" h="101">
                    <a:moveTo>
                      <a:pt x="6" y="39"/>
                    </a:moveTo>
                    <a:cubicBezTo>
                      <a:pt x="6" y="39"/>
                      <a:pt x="6" y="40"/>
                      <a:pt x="6" y="41"/>
                    </a:cubicBezTo>
                    <a:cubicBezTo>
                      <a:pt x="5" y="42"/>
                      <a:pt x="4" y="42"/>
                      <a:pt x="4" y="43"/>
                    </a:cubicBezTo>
                    <a:cubicBezTo>
                      <a:pt x="4" y="45"/>
                      <a:pt x="2" y="47"/>
                      <a:pt x="2" y="49"/>
                    </a:cubicBezTo>
                    <a:cubicBezTo>
                      <a:pt x="2" y="50"/>
                      <a:pt x="3" y="51"/>
                      <a:pt x="2" y="51"/>
                    </a:cubicBezTo>
                    <a:cubicBezTo>
                      <a:pt x="2" y="52"/>
                      <a:pt x="0" y="53"/>
                      <a:pt x="1" y="53"/>
                    </a:cubicBezTo>
                    <a:cubicBezTo>
                      <a:pt x="4" y="53"/>
                      <a:pt x="3" y="57"/>
                      <a:pt x="4" y="58"/>
                    </a:cubicBezTo>
                    <a:cubicBezTo>
                      <a:pt x="4" y="59"/>
                      <a:pt x="5" y="59"/>
                      <a:pt x="6" y="60"/>
                    </a:cubicBezTo>
                    <a:cubicBezTo>
                      <a:pt x="6" y="61"/>
                      <a:pt x="6" y="62"/>
                      <a:pt x="6" y="63"/>
                    </a:cubicBezTo>
                    <a:cubicBezTo>
                      <a:pt x="7" y="65"/>
                      <a:pt x="9" y="66"/>
                      <a:pt x="9" y="68"/>
                    </a:cubicBezTo>
                    <a:cubicBezTo>
                      <a:pt x="9" y="69"/>
                      <a:pt x="8" y="74"/>
                      <a:pt x="9" y="74"/>
                    </a:cubicBezTo>
                    <a:cubicBezTo>
                      <a:pt x="12" y="74"/>
                      <a:pt x="13" y="75"/>
                      <a:pt x="15" y="76"/>
                    </a:cubicBezTo>
                    <a:cubicBezTo>
                      <a:pt x="17" y="77"/>
                      <a:pt x="16" y="80"/>
                      <a:pt x="18" y="81"/>
                    </a:cubicBezTo>
                    <a:cubicBezTo>
                      <a:pt x="19" y="82"/>
                      <a:pt x="22" y="82"/>
                      <a:pt x="22" y="84"/>
                    </a:cubicBezTo>
                    <a:cubicBezTo>
                      <a:pt x="22" y="86"/>
                      <a:pt x="25" y="87"/>
                      <a:pt x="26" y="88"/>
                    </a:cubicBezTo>
                    <a:cubicBezTo>
                      <a:pt x="26" y="89"/>
                      <a:pt x="26" y="90"/>
                      <a:pt x="26" y="91"/>
                    </a:cubicBezTo>
                    <a:cubicBezTo>
                      <a:pt x="27" y="91"/>
                      <a:pt x="28" y="92"/>
                      <a:pt x="28" y="92"/>
                    </a:cubicBezTo>
                    <a:cubicBezTo>
                      <a:pt x="29" y="93"/>
                      <a:pt x="30" y="95"/>
                      <a:pt x="32" y="96"/>
                    </a:cubicBezTo>
                    <a:cubicBezTo>
                      <a:pt x="33" y="97"/>
                      <a:pt x="33" y="93"/>
                      <a:pt x="35" y="95"/>
                    </a:cubicBezTo>
                    <a:cubicBezTo>
                      <a:pt x="37" y="96"/>
                      <a:pt x="37" y="94"/>
                      <a:pt x="39" y="94"/>
                    </a:cubicBezTo>
                    <a:cubicBezTo>
                      <a:pt x="41" y="95"/>
                      <a:pt x="42" y="98"/>
                      <a:pt x="44" y="100"/>
                    </a:cubicBezTo>
                    <a:cubicBezTo>
                      <a:pt x="46" y="95"/>
                      <a:pt x="49" y="101"/>
                      <a:pt x="51" y="100"/>
                    </a:cubicBezTo>
                    <a:cubicBezTo>
                      <a:pt x="52" y="99"/>
                      <a:pt x="53" y="98"/>
                      <a:pt x="55" y="98"/>
                    </a:cubicBezTo>
                    <a:cubicBezTo>
                      <a:pt x="56" y="98"/>
                      <a:pt x="58" y="98"/>
                      <a:pt x="59" y="97"/>
                    </a:cubicBezTo>
                    <a:cubicBezTo>
                      <a:pt x="61" y="93"/>
                      <a:pt x="65" y="91"/>
                      <a:pt x="69" y="94"/>
                    </a:cubicBezTo>
                    <a:cubicBezTo>
                      <a:pt x="69" y="93"/>
                      <a:pt x="69" y="92"/>
                      <a:pt x="69" y="91"/>
                    </a:cubicBezTo>
                    <a:cubicBezTo>
                      <a:pt x="69" y="90"/>
                      <a:pt x="66" y="90"/>
                      <a:pt x="66" y="90"/>
                    </a:cubicBezTo>
                    <a:cubicBezTo>
                      <a:pt x="64" y="88"/>
                      <a:pt x="63" y="85"/>
                      <a:pt x="61" y="83"/>
                    </a:cubicBezTo>
                    <a:cubicBezTo>
                      <a:pt x="60" y="82"/>
                      <a:pt x="60" y="81"/>
                      <a:pt x="59" y="80"/>
                    </a:cubicBezTo>
                    <a:cubicBezTo>
                      <a:pt x="58" y="79"/>
                      <a:pt x="57" y="79"/>
                      <a:pt x="56" y="78"/>
                    </a:cubicBezTo>
                    <a:cubicBezTo>
                      <a:pt x="53" y="75"/>
                      <a:pt x="59" y="75"/>
                      <a:pt x="59" y="75"/>
                    </a:cubicBezTo>
                    <a:cubicBezTo>
                      <a:pt x="61" y="74"/>
                      <a:pt x="60" y="69"/>
                      <a:pt x="61" y="67"/>
                    </a:cubicBezTo>
                    <a:cubicBezTo>
                      <a:pt x="61" y="66"/>
                      <a:pt x="61" y="64"/>
                      <a:pt x="62" y="64"/>
                    </a:cubicBezTo>
                    <a:cubicBezTo>
                      <a:pt x="63" y="63"/>
                      <a:pt x="65" y="63"/>
                      <a:pt x="65" y="62"/>
                    </a:cubicBezTo>
                    <a:cubicBezTo>
                      <a:pt x="65" y="61"/>
                      <a:pt x="65" y="60"/>
                      <a:pt x="65" y="58"/>
                    </a:cubicBezTo>
                    <a:cubicBezTo>
                      <a:pt x="65" y="57"/>
                      <a:pt x="66" y="56"/>
                      <a:pt x="67" y="55"/>
                    </a:cubicBezTo>
                    <a:cubicBezTo>
                      <a:pt x="68" y="53"/>
                      <a:pt x="70" y="54"/>
                      <a:pt x="71" y="52"/>
                    </a:cubicBezTo>
                    <a:cubicBezTo>
                      <a:pt x="71" y="50"/>
                      <a:pt x="72" y="48"/>
                      <a:pt x="72" y="45"/>
                    </a:cubicBezTo>
                    <a:cubicBezTo>
                      <a:pt x="72" y="44"/>
                      <a:pt x="72" y="43"/>
                      <a:pt x="72" y="42"/>
                    </a:cubicBezTo>
                    <a:cubicBezTo>
                      <a:pt x="72" y="40"/>
                      <a:pt x="74" y="38"/>
                      <a:pt x="74" y="37"/>
                    </a:cubicBezTo>
                    <a:cubicBezTo>
                      <a:pt x="74" y="33"/>
                      <a:pt x="75" y="30"/>
                      <a:pt x="79" y="29"/>
                    </a:cubicBezTo>
                    <a:cubicBezTo>
                      <a:pt x="80" y="29"/>
                      <a:pt x="81" y="29"/>
                      <a:pt x="82" y="27"/>
                    </a:cubicBezTo>
                    <a:cubicBezTo>
                      <a:pt x="82" y="26"/>
                      <a:pt x="80" y="24"/>
                      <a:pt x="79" y="23"/>
                    </a:cubicBezTo>
                    <a:cubicBezTo>
                      <a:pt x="77" y="21"/>
                      <a:pt x="76" y="19"/>
                      <a:pt x="76" y="17"/>
                    </a:cubicBezTo>
                    <a:cubicBezTo>
                      <a:pt x="76" y="16"/>
                      <a:pt x="75" y="11"/>
                      <a:pt x="76" y="11"/>
                    </a:cubicBezTo>
                    <a:cubicBezTo>
                      <a:pt x="77" y="10"/>
                      <a:pt x="76" y="10"/>
                      <a:pt x="75" y="9"/>
                    </a:cubicBezTo>
                    <a:cubicBezTo>
                      <a:pt x="74" y="8"/>
                      <a:pt x="74" y="7"/>
                      <a:pt x="74" y="5"/>
                    </a:cubicBezTo>
                    <a:cubicBezTo>
                      <a:pt x="72" y="3"/>
                      <a:pt x="69" y="2"/>
                      <a:pt x="68" y="0"/>
                    </a:cubicBezTo>
                    <a:cubicBezTo>
                      <a:pt x="67" y="0"/>
                      <a:pt x="65" y="1"/>
                      <a:pt x="64" y="2"/>
                    </a:cubicBezTo>
                    <a:cubicBezTo>
                      <a:pt x="63" y="5"/>
                      <a:pt x="61" y="3"/>
                      <a:pt x="60" y="5"/>
                    </a:cubicBezTo>
                    <a:cubicBezTo>
                      <a:pt x="59" y="9"/>
                      <a:pt x="58" y="5"/>
                      <a:pt x="56" y="5"/>
                    </a:cubicBezTo>
                    <a:cubicBezTo>
                      <a:pt x="52" y="5"/>
                      <a:pt x="49" y="5"/>
                      <a:pt x="46" y="5"/>
                    </a:cubicBezTo>
                    <a:cubicBezTo>
                      <a:pt x="37" y="5"/>
                      <a:pt x="27" y="5"/>
                      <a:pt x="17" y="5"/>
                    </a:cubicBezTo>
                    <a:cubicBezTo>
                      <a:pt x="15" y="5"/>
                      <a:pt x="16" y="12"/>
                      <a:pt x="16" y="14"/>
                    </a:cubicBezTo>
                    <a:cubicBezTo>
                      <a:pt x="16" y="16"/>
                      <a:pt x="15" y="16"/>
                      <a:pt x="13" y="16"/>
                    </a:cubicBezTo>
                    <a:cubicBezTo>
                      <a:pt x="10" y="16"/>
                      <a:pt x="11" y="16"/>
                      <a:pt x="11" y="18"/>
                    </a:cubicBezTo>
                    <a:cubicBezTo>
                      <a:pt x="11" y="23"/>
                      <a:pt x="11" y="27"/>
                      <a:pt x="11" y="32"/>
                    </a:cubicBezTo>
                    <a:cubicBezTo>
                      <a:pt x="11" y="34"/>
                      <a:pt x="11" y="36"/>
                      <a:pt x="11" y="37"/>
                    </a:cubicBezTo>
                    <a:cubicBezTo>
                      <a:pt x="11" y="39"/>
                      <a:pt x="7" y="38"/>
                      <a:pt x="6" y="3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3" name="Freeform 745">
                <a:extLst>
                  <a:ext uri="{FF2B5EF4-FFF2-40B4-BE49-F238E27FC236}">
                    <a16:creationId xmlns:a16="http://schemas.microsoft.com/office/drawing/2014/main" id="{B779D678-488E-43A3-A389-4B841421F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9865" y="4091263"/>
                <a:ext cx="149721" cy="135386"/>
              </a:xfrm>
              <a:custGeom>
                <a:avLst/>
                <a:gdLst>
                  <a:gd name="T0" fmla="*/ 3 w 32"/>
                  <a:gd name="T1" fmla="*/ 19 h 29"/>
                  <a:gd name="T2" fmla="*/ 7 w 32"/>
                  <a:gd name="T3" fmla="*/ 20 h 29"/>
                  <a:gd name="T4" fmla="*/ 7 w 32"/>
                  <a:gd name="T5" fmla="*/ 17 h 29"/>
                  <a:gd name="T6" fmla="*/ 10 w 32"/>
                  <a:gd name="T7" fmla="*/ 19 h 29"/>
                  <a:gd name="T8" fmla="*/ 12 w 32"/>
                  <a:gd name="T9" fmla="*/ 18 h 29"/>
                  <a:gd name="T10" fmla="*/ 14 w 32"/>
                  <a:gd name="T11" fmla="*/ 18 h 29"/>
                  <a:gd name="T12" fmla="*/ 29 w 32"/>
                  <a:gd name="T13" fmla="*/ 29 h 29"/>
                  <a:gd name="T14" fmla="*/ 32 w 32"/>
                  <a:gd name="T15" fmla="*/ 27 h 29"/>
                  <a:gd name="T16" fmla="*/ 24 w 32"/>
                  <a:gd name="T17" fmla="*/ 19 h 29"/>
                  <a:gd name="T18" fmla="*/ 19 w 32"/>
                  <a:gd name="T19" fmla="*/ 16 h 29"/>
                  <a:gd name="T20" fmla="*/ 17 w 32"/>
                  <a:gd name="T21" fmla="*/ 14 h 29"/>
                  <a:gd name="T22" fmla="*/ 17 w 32"/>
                  <a:gd name="T23" fmla="*/ 16 h 29"/>
                  <a:gd name="T24" fmla="*/ 16 w 32"/>
                  <a:gd name="T25" fmla="*/ 14 h 29"/>
                  <a:gd name="T26" fmla="*/ 14 w 32"/>
                  <a:gd name="T27" fmla="*/ 9 h 29"/>
                  <a:gd name="T28" fmla="*/ 10 w 32"/>
                  <a:gd name="T29" fmla="*/ 0 h 29"/>
                  <a:gd name="T30" fmla="*/ 2 w 32"/>
                  <a:gd name="T31" fmla="*/ 7 h 29"/>
                  <a:gd name="T32" fmla="*/ 1 w 32"/>
                  <a:gd name="T33" fmla="*/ 13 h 29"/>
                  <a:gd name="T34" fmla="*/ 0 w 32"/>
                  <a:gd name="T35" fmla="*/ 20 h 29"/>
                  <a:gd name="T36" fmla="*/ 3 w 32"/>
                  <a:gd name="T37" fmla="*/ 1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29">
                    <a:moveTo>
                      <a:pt x="3" y="19"/>
                    </a:moveTo>
                    <a:cubicBezTo>
                      <a:pt x="4" y="19"/>
                      <a:pt x="6" y="21"/>
                      <a:pt x="7" y="20"/>
                    </a:cubicBezTo>
                    <a:cubicBezTo>
                      <a:pt x="7" y="19"/>
                      <a:pt x="6" y="17"/>
                      <a:pt x="7" y="17"/>
                    </a:cubicBezTo>
                    <a:cubicBezTo>
                      <a:pt x="9" y="17"/>
                      <a:pt x="9" y="19"/>
                      <a:pt x="10" y="19"/>
                    </a:cubicBezTo>
                    <a:cubicBezTo>
                      <a:pt x="11" y="19"/>
                      <a:pt x="12" y="18"/>
                      <a:pt x="12" y="18"/>
                    </a:cubicBezTo>
                    <a:cubicBezTo>
                      <a:pt x="13" y="17"/>
                      <a:pt x="14" y="18"/>
                      <a:pt x="14" y="18"/>
                    </a:cubicBezTo>
                    <a:cubicBezTo>
                      <a:pt x="22" y="18"/>
                      <a:pt x="25" y="24"/>
                      <a:pt x="29" y="29"/>
                    </a:cubicBezTo>
                    <a:cubicBezTo>
                      <a:pt x="30" y="29"/>
                      <a:pt x="31" y="28"/>
                      <a:pt x="32" y="27"/>
                    </a:cubicBezTo>
                    <a:cubicBezTo>
                      <a:pt x="29" y="25"/>
                      <a:pt x="26" y="22"/>
                      <a:pt x="24" y="19"/>
                    </a:cubicBezTo>
                    <a:cubicBezTo>
                      <a:pt x="23" y="17"/>
                      <a:pt x="21" y="17"/>
                      <a:pt x="19" y="16"/>
                    </a:cubicBezTo>
                    <a:cubicBezTo>
                      <a:pt x="18" y="16"/>
                      <a:pt x="18" y="14"/>
                      <a:pt x="17" y="14"/>
                    </a:cubicBezTo>
                    <a:cubicBezTo>
                      <a:pt x="16" y="14"/>
                      <a:pt x="17" y="15"/>
                      <a:pt x="17" y="16"/>
                    </a:cubicBezTo>
                    <a:cubicBezTo>
                      <a:pt x="17" y="16"/>
                      <a:pt x="16" y="14"/>
                      <a:pt x="16" y="14"/>
                    </a:cubicBezTo>
                    <a:cubicBezTo>
                      <a:pt x="15" y="12"/>
                      <a:pt x="14" y="11"/>
                      <a:pt x="14" y="9"/>
                    </a:cubicBezTo>
                    <a:cubicBezTo>
                      <a:pt x="13" y="6"/>
                      <a:pt x="13" y="3"/>
                      <a:pt x="10" y="0"/>
                    </a:cubicBezTo>
                    <a:cubicBezTo>
                      <a:pt x="9" y="4"/>
                      <a:pt x="4" y="4"/>
                      <a:pt x="2" y="7"/>
                    </a:cubicBezTo>
                    <a:cubicBezTo>
                      <a:pt x="1" y="9"/>
                      <a:pt x="2" y="11"/>
                      <a:pt x="1" y="13"/>
                    </a:cubicBezTo>
                    <a:cubicBezTo>
                      <a:pt x="0" y="15"/>
                      <a:pt x="0" y="17"/>
                      <a:pt x="0" y="20"/>
                    </a:cubicBezTo>
                    <a:cubicBezTo>
                      <a:pt x="1" y="19"/>
                      <a:pt x="2" y="19"/>
                      <a:pt x="3" y="1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4" name="Freeform 746">
                <a:extLst>
                  <a:ext uri="{FF2B5EF4-FFF2-40B4-BE49-F238E27FC236}">
                    <a16:creationId xmlns:a16="http://schemas.microsoft.com/office/drawing/2014/main" id="{E964C83C-94D1-436F-A57F-6D9C22DDE6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1818" y="4156567"/>
                <a:ext cx="345631" cy="286699"/>
              </a:xfrm>
              <a:custGeom>
                <a:avLst/>
                <a:gdLst>
                  <a:gd name="T0" fmla="*/ 70 w 74"/>
                  <a:gd name="T1" fmla="*/ 38 h 61"/>
                  <a:gd name="T2" fmla="*/ 57 w 74"/>
                  <a:gd name="T3" fmla="*/ 33 h 61"/>
                  <a:gd name="T4" fmla="*/ 51 w 74"/>
                  <a:gd name="T5" fmla="*/ 29 h 61"/>
                  <a:gd name="T6" fmla="*/ 48 w 74"/>
                  <a:gd name="T7" fmla="*/ 24 h 61"/>
                  <a:gd name="T8" fmla="*/ 51 w 74"/>
                  <a:gd name="T9" fmla="*/ 20 h 61"/>
                  <a:gd name="T10" fmla="*/ 45 w 74"/>
                  <a:gd name="T11" fmla="*/ 23 h 61"/>
                  <a:gd name="T12" fmla="*/ 44 w 74"/>
                  <a:gd name="T13" fmla="*/ 18 h 61"/>
                  <a:gd name="T14" fmla="*/ 44 w 74"/>
                  <a:gd name="T15" fmla="*/ 12 h 61"/>
                  <a:gd name="T16" fmla="*/ 37 w 74"/>
                  <a:gd name="T17" fmla="*/ 5 h 61"/>
                  <a:gd name="T18" fmla="*/ 28 w 74"/>
                  <a:gd name="T19" fmla="*/ 4 h 61"/>
                  <a:gd name="T20" fmla="*/ 24 w 74"/>
                  <a:gd name="T21" fmla="*/ 5 h 61"/>
                  <a:gd name="T22" fmla="*/ 21 w 74"/>
                  <a:gd name="T23" fmla="*/ 5 h 61"/>
                  <a:gd name="T24" fmla="*/ 18 w 74"/>
                  <a:gd name="T25" fmla="*/ 5 h 61"/>
                  <a:gd name="T26" fmla="*/ 17 w 74"/>
                  <a:gd name="T27" fmla="*/ 8 h 61"/>
                  <a:gd name="T28" fmla="*/ 15 w 74"/>
                  <a:gd name="T29" fmla="*/ 13 h 61"/>
                  <a:gd name="T30" fmla="*/ 12 w 74"/>
                  <a:gd name="T31" fmla="*/ 14 h 61"/>
                  <a:gd name="T32" fmla="*/ 10 w 74"/>
                  <a:gd name="T33" fmla="*/ 18 h 61"/>
                  <a:gd name="T34" fmla="*/ 10 w 74"/>
                  <a:gd name="T35" fmla="*/ 23 h 61"/>
                  <a:gd name="T36" fmla="*/ 5 w 74"/>
                  <a:gd name="T37" fmla="*/ 34 h 61"/>
                  <a:gd name="T38" fmla="*/ 1 w 74"/>
                  <a:gd name="T39" fmla="*/ 35 h 61"/>
                  <a:gd name="T40" fmla="*/ 2 w 74"/>
                  <a:gd name="T41" fmla="*/ 38 h 61"/>
                  <a:gd name="T42" fmla="*/ 9 w 74"/>
                  <a:gd name="T43" fmla="*/ 47 h 61"/>
                  <a:gd name="T44" fmla="*/ 13 w 74"/>
                  <a:gd name="T45" fmla="*/ 50 h 61"/>
                  <a:gd name="T46" fmla="*/ 14 w 74"/>
                  <a:gd name="T47" fmla="*/ 54 h 61"/>
                  <a:gd name="T48" fmla="*/ 20 w 74"/>
                  <a:gd name="T49" fmla="*/ 55 h 61"/>
                  <a:gd name="T50" fmla="*/ 25 w 74"/>
                  <a:gd name="T51" fmla="*/ 59 h 61"/>
                  <a:gd name="T52" fmla="*/ 33 w 74"/>
                  <a:gd name="T53" fmla="*/ 60 h 61"/>
                  <a:gd name="T54" fmla="*/ 39 w 74"/>
                  <a:gd name="T55" fmla="*/ 57 h 61"/>
                  <a:gd name="T56" fmla="*/ 47 w 74"/>
                  <a:gd name="T57" fmla="*/ 56 h 61"/>
                  <a:gd name="T58" fmla="*/ 54 w 74"/>
                  <a:gd name="T59" fmla="*/ 53 h 61"/>
                  <a:gd name="T60" fmla="*/ 59 w 74"/>
                  <a:gd name="T61" fmla="*/ 53 h 61"/>
                  <a:gd name="T62" fmla="*/ 74 w 74"/>
                  <a:gd name="T63" fmla="*/ 38 h 61"/>
                  <a:gd name="T64" fmla="*/ 70 w 74"/>
                  <a:gd name="T65" fmla="*/ 38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4" h="61">
                    <a:moveTo>
                      <a:pt x="70" y="38"/>
                    </a:moveTo>
                    <a:cubicBezTo>
                      <a:pt x="65" y="36"/>
                      <a:pt x="61" y="35"/>
                      <a:pt x="57" y="33"/>
                    </a:cubicBezTo>
                    <a:cubicBezTo>
                      <a:pt x="54" y="32"/>
                      <a:pt x="53" y="31"/>
                      <a:pt x="51" y="29"/>
                    </a:cubicBezTo>
                    <a:cubicBezTo>
                      <a:pt x="50" y="28"/>
                      <a:pt x="49" y="26"/>
                      <a:pt x="48" y="24"/>
                    </a:cubicBezTo>
                    <a:cubicBezTo>
                      <a:pt x="48" y="23"/>
                      <a:pt x="51" y="21"/>
                      <a:pt x="51" y="20"/>
                    </a:cubicBezTo>
                    <a:cubicBezTo>
                      <a:pt x="49" y="21"/>
                      <a:pt x="47" y="22"/>
                      <a:pt x="45" y="23"/>
                    </a:cubicBezTo>
                    <a:cubicBezTo>
                      <a:pt x="43" y="23"/>
                      <a:pt x="43" y="19"/>
                      <a:pt x="44" y="18"/>
                    </a:cubicBezTo>
                    <a:cubicBezTo>
                      <a:pt x="47" y="15"/>
                      <a:pt x="46" y="15"/>
                      <a:pt x="44" y="12"/>
                    </a:cubicBezTo>
                    <a:cubicBezTo>
                      <a:pt x="42" y="10"/>
                      <a:pt x="40" y="6"/>
                      <a:pt x="37" y="5"/>
                    </a:cubicBezTo>
                    <a:cubicBezTo>
                      <a:pt x="35" y="5"/>
                      <a:pt x="30" y="3"/>
                      <a:pt x="28" y="4"/>
                    </a:cubicBezTo>
                    <a:cubicBezTo>
                      <a:pt x="26" y="7"/>
                      <a:pt x="24" y="0"/>
                      <a:pt x="24" y="5"/>
                    </a:cubicBezTo>
                    <a:cubicBezTo>
                      <a:pt x="24" y="7"/>
                      <a:pt x="22" y="6"/>
                      <a:pt x="21" y="5"/>
                    </a:cubicBezTo>
                    <a:cubicBezTo>
                      <a:pt x="20" y="5"/>
                      <a:pt x="19" y="5"/>
                      <a:pt x="18" y="5"/>
                    </a:cubicBezTo>
                    <a:cubicBezTo>
                      <a:pt x="16" y="6"/>
                      <a:pt x="17" y="6"/>
                      <a:pt x="17" y="8"/>
                    </a:cubicBezTo>
                    <a:cubicBezTo>
                      <a:pt x="17" y="9"/>
                      <a:pt x="16" y="12"/>
                      <a:pt x="15" y="13"/>
                    </a:cubicBezTo>
                    <a:cubicBezTo>
                      <a:pt x="15" y="14"/>
                      <a:pt x="12" y="13"/>
                      <a:pt x="12" y="14"/>
                    </a:cubicBezTo>
                    <a:cubicBezTo>
                      <a:pt x="12" y="16"/>
                      <a:pt x="10" y="17"/>
                      <a:pt x="10" y="18"/>
                    </a:cubicBezTo>
                    <a:cubicBezTo>
                      <a:pt x="10" y="19"/>
                      <a:pt x="11" y="22"/>
                      <a:pt x="10" y="23"/>
                    </a:cubicBezTo>
                    <a:cubicBezTo>
                      <a:pt x="4" y="24"/>
                      <a:pt x="6" y="30"/>
                      <a:pt x="5" y="34"/>
                    </a:cubicBezTo>
                    <a:cubicBezTo>
                      <a:pt x="4" y="35"/>
                      <a:pt x="3" y="35"/>
                      <a:pt x="1" y="35"/>
                    </a:cubicBezTo>
                    <a:cubicBezTo>
                      <a:pt x="0" y="36"/>
                      <a:pt x="0" y="38"/>
                      <a:pt x="2" y="38"/>
                    </a:cubicBezTo>
                    <a:cubicBezTo>
                      <a:pt x="5" y="39"/>
                      <a:pt x="8" y="45"/>
                      <a:pt x="9" y="47"/>
                    </a:cubicBezTo>
                    <a:cubicBezTo>
                      <a:pt x="10" y="49"/>
                      <a:pt x="11" y="49"/>
                      <a:pt x="13" y="50"/>
                    </a:cubicBezTo>
                    <a:cubicBezTo>
                      <a:pt x="14" y="51"/>
                      <a:pt x="13" y="53"/>
                      <a:pt x="14" y="54"/>
                    </a:cubicBezTo>
                    <a:cubicBezTo>
                      <a:pt x="16" y="56"/>
                      <a:pt x="18" y="54"/>
                      <a:pt x="20" y="55"/>
                    </a:cubicBezTo>
                    <a:cubicBezTo>
                      <a:pt x="21" y="56"/>
                      <a:pt x="23" y="58"/>
                      <a:pt x="25" y="59"/>
                    </a:cubicBezTo>
                    <a:cubicBezTo>
                      <a:pt x="27" y="59"/>
                      <a:pt x="31" y="61"/>
                      <a:pt x="33" y="60"/>
                    </a:cubicBezTo>
                    <a:cubicBezTo>
                      <a:pt x="35" y="58"/>
                      <a:pt x="36" y="56"/>
                      <a:pt x="39" y="57"/>
                    </a:cubicBezTo>
                    <a:cubicBezTo>
                      <a:pt x="42" y="58"/>
                      <a:pt x="45" y="57"/>
                      <a:pt x="47" y="56"/>
                    </a:cubicBezTo>
                    <a:cubicBezTo>
                      <a:pt x="49" y="54"/>
                      <a:pt x="51" y="53"/>
                      <a:pt x="54" y="53"/>
                    </a:cubicBezTo>
                    <a:cubicBezTo>
                      <a:pt x="55" y="53"/>
                      <a:pt x="59" y="53"/>
                      <a:pt x="59" y="53"/>
                    </a:cubicBezTo>
                    <a:cubicBezTo>
                      <a:pt x="64" y="48"/>
                      <a:pt x="69" y="43"/>
                      <a:pt x="74" y="38"/>
                    </a:cubicBezTo>
                    <a:cubicBezTo>
                      <a:pt x="73" y="38"/>
                      <a:pt x="71" y="38"/>
                      <a:pt x="70" y="3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5" name="Freeform 747">
                <a:extLst>
                  <a:ext uri="{FF2B5EF4-FFF2-40B4-BE49-F238E27FC236}">
                    <a16:creationId xmlns:a16="http://schemas.microsoft.com/office/drawing/2014/main" id="{72D7B47A-9461-4529-B8DC-73A3F09D1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9338" y="4240984"/>
                <a:ext cx="406157" cy="388636"/>
              </a:xfrm>
              <a:custGeom>
                <a:avLst/>
                <a:gdLst>
                  <a:gd name="T0" fmla="*/ 86 w 87"/>
                  <a:gd name="T1" fmla="*/ 1 h 83"/>
                  <a:gd name="T2" fmla="*/ 83 w 87"/>
                  <a:gd name="T3" fmla="*/ 0 h 83"/>
                  <a:gd name="T4" fmla="*/ 79 w 87"/>
                  <a:gd name="T5" fmla="*/ 3 h 83"/>
                  <a:gd name="T6" fmla="*/ 71 w 87"/>
                  <a:gd name="T7" fmla="*/ 3 h 83"/>
                  <a:gd name="T8" fmla="*/ 69 w 87"/>
                  <a:gd name="T9" fmla="*/ 4 h 83"/>
                  <a:gd name="T10" fmla="*/ 68 w 87"/>
                  <a:gd name="T11" fmla="*/ 3 h 83"/>
                  <a:gd name="T12" fmla="*/ 63 w 87"/>
                  <a:gd name="T13" fmla="*/ 6 h 83"/>
                  <a:gd name="T14" fmla="*/ 58 w 87"/>
                  <a:gd name="T15" fmla="*/ 5 h 83"/>
                  <a:gd name="T16" fmla="*/ 53 w 87"/>
                  <a:gd name="T17" fmla="*/ 7 h 83"/>
                  <a:gd name="T18" fmla="*/ 47 w 87"/>
                  <a:gd name="T19" fmla="*/ 2 h 83"/>
                  <a:gd name="T20" fmla="*/ 44 w 87"/>
                  <a:gd name="T21" fmla="*/ 6 h 83"/>
                  <a:gd name="T22" fmla="*/ 48 w 87"/>
                  <a:gd name="T23" fmla="*/ 12 h 83"/>
                  <a:gd name="T24" fmla="*/ 56 w 87"/>
                  <a:gd name="T25" fmla="*/ 16 h 83"/>
                  <a:gd name="T26" fmla="*/ 70 w 87"/>
                  <a:gd name="T27" fmla="*/ 20 h 83"/>
                  <a:gd name="T28" fmla="*/ 63 w 87"/>
                  <a:gd name="T29" fmla="*/ 27 h 83"/>
                  <a:gd name="T30" fmla="*/ 58 w 87"/>
                  <a:gd name="T31" fmla="*/ 33 h 83"/>
                  <a:gd name="T32" fmla="*/ 55 w 87"/>
                  <a:gd name="T33" fmla="*/ 35 h 83"/>
                  <a:gd name="T34" fmla="*/ 48 w 87"/>
                  <a:gd name="T35" fmla="*/ 35 h 83"/>
                  <a:gd name="T36" fmla="*/ 42 w 87"/>
                  <a:gd name="T37" fmla="*/ 38 h 83"/>
                  <a:gd name="T38" fmla="*/ 36 w 87"/>
                  <a:gd name="T39" fmla="*/ 39 h 83"/>
                  <a:gd name="T40" fmla="*/ 32 w 87"/>
                  <a:gd name="T41" fmla="*/ 39 h 83"/>
                  <a:gd name="T42" fmla="*/ 26 w 87"/>
                  <a:gd name="T43" fmla="*/ 42 h 83"/>
                  <a:gd name="T44" fmla="*/ 21 w 87"/>
                  <a:gd name="T45" fmla="*/ 41 h 83"/>
                  <a:gd name="T46" fmla="*/ 16 w 87"/>
                  <a:gd name="T47" fmla="*/ 37 h 83"/>
                  <a:gd name="T48" fmla="*/ 11 w 87"/>
                  <a:gd name="T49" fmla="*/ 37 h 83"/>
                  <a:gd name="T50" fmla="*/ 7 w 87"/>
                  <a:gd name="T51" fmla="*/ 34 h 83"/>
                  <a:gd name="T52" fmla="*/ 0 w 87"/>
                  <a:gd name="T53" fmla="*/ 39 h 83"/>
                  <a:gd name="T54" fmla="*/ 3 w 87"/>
                  <a:gd name="T55" fmla="*/ 41 h 83"/>
                  <a:gd name="T56" fmla="*/ 4 w 87"/>
                  <a:gd name="T57" fmla="*/ 45 h 83"/>
                  <a:gd name="T58" fmla="*/ 3 w 87"/>
                  <a:gd name="T59" fmla="*/ 54 h 83"/>
                  <a:gd name="T60" fmla="*/ 0 w 87"/>
                  <a:gd name="T61" fmla="*/ 58 h 83"/>
                  <a:gd name="T62" fmla="*/ 3 w 87"/>
                  <a:gd name="T63" fmla="*/ 60 h 83"/>
                  <a:gd name="T64" fmla="*/ 1 w 87"/>
                  <a:gd name="T65" fmla="*/ 65 h 83"/>
                  <a:gd name="T66" fmla="*/ 4 w 87"/>
                  <a:gd name="T67" fmla="*/ 66 h 83"/>
                  <a:gd name="T68" fmla="*/ 15 w 87"/>
                  <a:gd name="T69" fmla="*/ 73 h 83"/>
                  <a:gd name="T70" fmla="*/ 19 w 87"/>
                  <a:gd name="T71" fmla="*/ 77 h 83"/>
                  <a:gd name="T72" fmla="*/ 26 w 87"/>
                  <a:gd name="T73" fmla="*/ 83 h 83"/>
                  <a:gd name="T74" fmla="*/ 30 w 87"/>
                  <a:gd name="T75" fmla="*/ 76 h 83"/>
                  <a:gd name="T76" fmla="*/ 33 w 87"/>
                  <a:gd name="T77" fmla="*/ 72 h 83"/>
                  <a:gd name="T78" fmla="*/ 35 w 87"/>
                  <a:gd name="T79" fmla="*/ 69 h 83"/>
                  <a:gd name="T80" fmla="*/ 40 w 87"/>
                  <a:gd name="T81" fmla="*/ 65 h 83"/>
                  <a:gd name="T82" fmla="*/ 59 w 87"/>
                  <a:gd name="T83" fmla="*/ 48 h 83"/>
                  <a:gd name="T84" fmla="*/ 77 w 87"/>
                  <a:gd name="T85" fmla="*/ 24 h 83"/>
                  <a:gd name="T86" fmla="*/ 84 w 87"/>
                  <a:gd name="T87" fmla="*/ 14 h 83"/>
                  <a:gd name="T88" fmla="*/ 86 w 87"/>
                  <a:gd name="T89" fmla="*/ 7 h 83"/>
                  <a:gd name="T90" fmla="*/ 86 w 87"/>
                  <a:gd name="T91" fmla="*/ 1 h 83"/>
                  <a:gd name="T92" fmla="*/ 86 w 87"/>
                  <a:gd name="T93" fmla="*/ 1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7" h="83">
                    <a:moveTo>
                      <a:pt x="86" y="1"/>
                    </a:moveTo>
                    <a:cubicBezTo>
                      <a:pt x="87" y="0"/>
                      <a:pt x="84" y="0"/>
                      <a:pt x="83" y="0"/>
                    </a:cubicBezTo>
                    <a:cubicBezTo>
                      <a:pt x="82" y="1"/>
                      <a:pt x="81" y="2"/>
                      <a:pt x="79" y="3"/>
                    </a:cubicBezTo>
                    <a:cubicBezTo>
                      <a:pt x="77" y="3"/>
                      <a:pt x="74" y="3"/>
                      <a:pt x="71" y="3"/>
                    </a:cubicBezTo>
                    <a:cubicBezTo>
                      <a:pt x="71" y="4"/>
                      <a:pt x="70" y="4"/>
                      <a:pt x="69" y="4"/>
                    </a:cubicBezTo>
                    <a:cubicBezTo>
                      <a:pt x="68" y="4"/>
                      <a:pt x="68" y="3"/>
                      <a:pt x="68" y="3"/>
                    </a:cubicBezTo>
                    <a:cubicBezTo>
                      <a:pt x="66" y="4"/>
                      <a:pt x="65" y="6"/>
                      <a:pt x="63" y="6"/>
                    </a:cubicBezTo>
                    <a:cubicBezTo>
                      <a:pt x="61" y="6"/>
                      <a:pt x="61" y="5"/>
                      <a:pt x="58" y="5"/>
                    </a:cubicBezTo>
                    <a:cubicBezTo>
                      <a:pt x="57" y="6"/>
                      <a:pt x="55" y="8"/>
                      <a:pt x="53" y="7"/>
                    </a:cubicBezTo>
                    <a:cubicBezTo>
                      <a:pt x="50" y="6"/>
                      <a:pt x="49" y="5"/>
                      <a:pt x="47" y="2"/>
                    </a:cubicBezTo>
                    <a:cubicBezTo>
                      <a:pt x="47" y="3"/>
                      <a:pt x="44" y="5"/>
                      <a:pt x="44" y="6"/>
                    </a:cubicBezTo>
                    <a:cubicBezTo>
                      <a:pt x="45" y="8"/>
                      <a:pt x="46" y="10"/>
                      <a:pt x="48" y="12"/>
                    </a:cubicBezTo>
                    <a:cubicBezTo>
                      <a:pt x="50" y="14"/>
                      <a:pt x="53" y="15"/>
                      <a:pt x="56" y="16"/>
                    </a:cubicBezTo>
                    <a:cubicBezTo>
                      <a:pt x="61" y="18"/>
                      <a:pt x="65" y="20"/>
                      <a:pt x="70" y="20"/>
                    </a:cubicBezTo>
                    <a:cubicBezTo>
                      <a:pt x="68" y="22"/>
                      <a:pt x="65" y="25"/>
                      <a:pt x="63" y="27"/>
                    </a:cubicBezTo>
                    <a:cubicBezTo>
                      <a:pt x="61" y="29"/>
                      <a:pt x="59" y="31"/>
                      <a:pt x="58" y="33"/>
                    </a:cubicBezTo>
                    <a:cubicBezTo>
                      <a:pt x="57" y="33"/>
                      <a:pt x="56" y="35"/>
                      <a:pt x="55" y="35"/>
                    </a:cubicBezTo>
                    <a:cubicBezTo>
                      <a:pt x="53" y="36"/>
                      <a:pt x="50" y="34"/>
                      <a:pt x="48" y="35"/>
                    </a:cubicBezTo>
                    <a:cubicBezTo>
                      <a:pt x="46" y="35"/>
                      <a:pt x="44" y="37"/>
                      <a:pt x="42" y="38"/>
                    </a:cubicBezTo>
                    <a:cubicBezTo>
                      <a:pt x="40" y="39"/>
                      <a:pt x="38" y="40"/>
                      <a:pt x="36" y="39"/>
                    </a:cubicBezTo>
                    <a:cubicBezTo>
                      <a:pt x="35" y="39"/>
                      <a:pt x="33" y="38"/>
                      <a:pt x="32" y="39"/>
                    </a:cubicBezTo>
                    <a:cubicBezTo>
                      <a:pt x="29" y="41"/>
                      <a:pt x="29" y="43"/>
                      <a:pt x="26" y="42"/>
                    </a:cubicBezTo>
                    <a:cubicBezTo>
                      <a:pt x="24" y="41"/>
                      <a:pt x="22" y="41"/>
                      <a:pt x="21" y="41"/>
                    </a:cubicBezTo>
                    <a:cubicBezTo>
                      <a:pt x="19" y="40"/>
                      <a:pt x="17" y="38"/>
                      <a:pt x="16" y="37"/>
                    </a:cubicBezTo>
                    <a:cubicBezTo>
                      <a:pt x="15" y="37"/>
                      <a:pt x="12" y="38"/>
                      <a:pt x="11" y="37"/>
                    </a:cubicBezTo>
                    <a:cubicBezTo>
                      <a:pt x="10" y="36"/>
                      <a:pt x="8" y="34"/>
                      <a:pt x="7" y="34"/>
                    </a:cubicBezTo>
                    <a:cubicBezTo>
                      <a:pt x="3" y="35"/>
                      <a:pt x="2" y="36"/>
                      <a:pt x="0" y="39"/>
                    </a:cubicBezTo>
                    <a:cubicBezTo>
                      <a:pt x="0" y="40"/>
                      <a:pt x="3" y="40"/>
                      <a:pt x="3" y="41"/>
                    </a:cubicBezTo>
                    <a:cubicBezTo>
                      <a:pt x="3" y="43"/>
                      <a:pt x="3" y="44"/>
                      <a:pt x="4" y="45"/>
                    </a:cubicBezTo>
                    <a:cubicBezTo>
                      <a:pt x="6" y="47"/>
                      <a:pt x="5" y="52"/>
                      <a:pt x="3" y="54"/>
                    </a:cubicBezTo>
                    <a:cubicBezTo>
                      <a:pt x="2" y="55"/>
                      <a:pt x="1" y="56"/>
                      <a:pt x="0" y="58"/>
                    </a:cubicBezTo>
                    <a:cubicBezTo>
                      <a:pt x="0" y="61"/>
                      <a:pt x="2" y="59"/>
                      <a:pt x="3" y="60"/>
                    </a:cubicBezTo>
                    <a:cubicBezTo>
                      <a:pt x="3" y="60"/>
                      <a:pt x="0" y="64"/>
                      <a:pt x="1" y="65"/>
                    </a:cubicBezTo>
                    <a:cubicBezTo>
                      <a:pt x="2" y="65"/>
                      <a:pt x="3" y="66"/>
                      <a:pt x="4" y="66"/>
                    </a:cubicBezTo>
                    <a:cubicBezTo>
                      <a:pt x="8" y="69"/>
                      <a:pt x="12" y="71"/>
                      <a:pt x="15" y="73"/>
                    </a:cubicBezTo>
                    <a:cubicBezTo>
                      <a:pt x="18" y="74"/>
                      <a:pt x="19" y="74"/>
                      <a:pt x="19" y="77"/>
                    </a:cubicBezTo>
                    <a:cubicBezTo>
                      <a:pt x="19" y="79"/>
                      <a:pt x="25" y="82"/>
                      <a:pt x="26" y="83"/>
                    </a:cubicBezTo>
                    <a:cubicBezTo>
                      <a:pt x="28" y="80"/>
                      <a:pt x="29" y="78"/>
                      <a:pt x="30" y="76"/>
                    </a:cubicBezTo>
                    <a:cubicBezTo>
                      <a:pt x="30" y="74"/>
                      <a:pt x="31" y="72"/>
                      <a:pt x="33" y="72"/>
                    </a:cubicBezTo>
                    <a:cubicBezTo>
                      <a:pt x="34" y="71"/>
                      <a:pt x="34" y="70"/>
                      <a:pt x="35" y="69"/>
                    </a:cubicBezTo>
                    <a:cubicBezTo>
                      <a:pt x="37" y="68"/>
                      <a:pt x="38" y="67"/>
                      <a:pt x="40" y="65"/>
                    </a:cubicBezTo>
                    <a:cubicBezTo>
                      <a:pt x="45" y="57"/>
                      <a:pt x="52" y="53"/>
                      <a:pt x="59" y="48"/>
                    </a:cubicBezTo>
                    <a:cubicBezTo>
                      <a:pt x="68" y="42"/>
                      <a:pt x="73" y="33"/>
                      <a:pt x="77" y="24"/>
                    </a:cubicBezTo>
                    <a:cubicBezTo>
                      <a:pt x="79" y="20"/>
                      <a:pt x="82" y="18"/>
                      <a:pt x="84" y="14"/>
                    </a:cubicBezTo>
                    <a:cubicBezTo>
                      <a:pt x="85" y="12"/>
                      <a:pt x="85" y="9"/>
                      <a:pt x="86" y="7"/>
                    </a:cubicBezTo>
                    <a:cubicBezTo>
                      <a:pt x="86" y="6"/>
                      <a:pt x="85" y="2"/>
                      <a:pt x="86" y="1"/>
                    </a:cubicBezTo>
                    <a:cubicBezTo>
                      <a:pt x="86" y="1"/>
                      <a:pt x="86" y="1"/>
                      <a:pt x="86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6" name="Freeform 748">
                <a:extLst>
                  <a:ext uri="{FF2B5EF4-FFF2-40B4-BE49-F238E27FC236}">
                    <a16:creationId xmlns:a16="http://schemas.microsoft.com/office/drawing/2014/main" id="{25C54814-FF3C-4B5F-8B45-127955452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2509" y="4218684"/>
                <a:ext cx="41412" cy="50968"/>
              </a:xfrm>
              <a:custGeom>
                <a:avLst/>
                <a:gdLst>
                  <a:gd name="T0" fmla="*/ 3 w 9"/>
                  <a:gd name="T1" fmla="*/ 2 h 11"/>
                  <a:gd name="T2" fmla="*/ 1 w 9"/>
                  <a:gd name="T3" fmla="*/ 5 h 11"/>
                  <a:gd name="T4" fmla="*/ 0 w 9"/>
                  <a:gd name="T5" fmla="*/ 10 h 11"/>
                  <a:gd name="T6" fmla="*/ 8 w 9"/>
                  <a:gd name="T7" fmla="*/ 7 h 11"/>
                  <a:gd name="T8" fmla="*/ 4 w 9"/>
                  <a:gd name="T9" fmla="*/ 6 h 11"/>
                  <a:gd name="T10" fmla="*/ 8 w 9"/>
                  <a:gd name="T11" fmla="*/ 3 h 11"/>
                  <a:gd name="T12" fmla="*/ 3 w 9"/>
                  <a:gd name="T1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1">
                    <a:moveTo>
                      <a:pt x="3" y="2"/>
                    </a:moveTo>
                    <a:cubicBezTo>
                      <a:pt x="2" y="3"/>
                      <a:pt x="1" y="4"/>
                      <a:pt x="1" y="5"/>
                    </a:cubicBezTo>
                    <a:cubicBezTo>
                      <a:pt x="0" y="5"/>
                      <a:pt x="0" y="9"/>
                      <a:pt x="0" y="10"/>
                    </a:cubicBezTo>
                    <a:cubicBezTo>
                      <a:pt x="2" y="11"/>
                      <a:pt x="7" y="7"/>
                      <a:pt x="8" y="7"/>
                    </a:cubicBezTo>
                    <a:cubicBezTo>
                      <a:pt x="8" y="6"/>
                      <a:pt x="5" y="5"/>
                      <a:pt x="4" y="6"/>
                    </a:cubicBezTo>
                    <a:cubicBezTo>
                      <a:pt x="5" y="5"/>
                      <a:pt x="9" y="4"/>
                      <a:pt x="8" y="3"/>
                    </a:cubicBezTo>
                    <a:cubicBezTo>
                      <a:pt x="7" y="0"/>
                      <a:pt x="5" y="0"/>
                      <a:pt x="3" y="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7" name="Freeform 749">
                <a:extLst>
                  <a:ext uri="{FF2B5EF4-FFF2-40B4-BE49-F238E27FC236}">
                    <a16:creationId xmlns:a16="http://schemas.microsoft.com/office/drawing/2014/main" id="{78C9C628-36BF-41DC-82F3-AC31CD240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180" y="4424153"/>
                <a:ext cx="121050" cy="130608"/>
              </a:xfrm>
              <a:custGeom>
                <a:avLst/>
                <a:gdLst>
                  <a:gd name="T0" fmla="*/ 22 w 26"/>
                  <a:gd name="T1" fmla="*/ 18 h 28"/>
                  <a:gd name="T2" fmla="*/ 25 w 26"/>
                  <a:gd name="T3" fmla="*/ 14 h 28"/>
                  <a:gd name="T4" fmla="*/ 26 w 26"/>
                  <a:gd name="T5" fmla="*/ 8 h 28"/>
                  <a:gd name="T6" fmla="*/ 24 w 26"/>
                  <a:gd name="T7" fmla="*/ 3 h 28"/>
                  <a:gd name="T8" fmla="*/ 21 w 26"/>
                  <a:gd name="T9" fmla="*/ 0 h 28"/>
                  <a:gd name="T10" fmla="*/ 16 w 26"/>
                  <a:gd name="T11" fmla="*/ 1 h 28"/>
                  <a:gd name="T12" fmla="*/ 12 w 26"/>
                  <a:gd name="T13" fmla="*/ 3 h 28"/>
                  <a:gd name="T14" fmla="*/ 6 w 26"/>
                  <a:gd name="T15" fmla="*/ 2 h 28"/>
                  <a:gd name="T16" fmla="*/ 7 w 26"/>
                  <a:gd name="T17" fmla="*/ 8 h 28"/>
                  <a:gd name="T18" fmla="*/ 6 w 26"/>
                  <a:gd name="T19" fmla="*/ 12 h 28"/>
                  <a:gd name="T20" fmla="*/ 2 w 26"/>
                  <a:gd name="T21" fmla="*/ 16 h 28"/>
                  <a:gd name="T22" fmla="*/ 0 w 26"/>
                  <a:gd name="T23" fmla="*/ 22 h 28"/>
                  <a:gd name="T24" fmla="*/ 0 w 26"/>
                  <a:gd name="T25" fmla="*/ 27 h 28"/>
                  <a:gd name="T26" fmla="*/ 4 w 26"/>
                  <a:gd name="T27" fmla="*/ 26 h 28"/>
                  <a:gd name="T28" fmla="*/ 11 w 26"/>
                  <a:gd name="T29" fmla="*/ 25 h 28"/>
                  <a:gd name="T30" fmla="*/ 14 w 26"/>
                  <a:gd name="T31" fmla="*/ 20 h 28"/>
                  <a:gd name="T32" fmla="*/ 21 w 26"/>
                  <a:gd name="T33" fmla="*/ 20 h 28"/>
                  <a:gd name="T34" fmla="*/ 22 w 26"/>
                  <a:gd name="T35" fmla="*/ 18 h 28"/>
                  <a:gd name="T36" fmla="*/ 22 w 26"/>
                  <a:gd name="T37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28">
                    <a:moveTo>
                      <a:pt x="22" y="18"/>
                    </a:moveTo>
                    <a:cubicBezTo>
                      <a:pt x="22" y="16"/>
                      <a:pt x="24" y="15"/>
                      <a:pt x="25" y="14"/>
                    </a:cubicBezTo>
                    <a:cubicBezTo>
                      <a:pt x="26" y="13"/>
                      <a:pt x="26" y="10"/>
                      <a:pt x="26" y="8"/>
                    </a:cubicBezTo>
                    <a:cubicBezTo>
                      <a:pt x="26" y="6"/>
                      <a:pt x="24" y="5"/>
                      <a:pt x="24" y="3"/>
                    </a:cubicBezTo>
                    <a:cubicBezTo>
                      <a:pt x="24" y="1"/>
                      <a:pt x="22" y="1"/>
                      <a:pt x="21" y="0"/>
                    </a:cubicBezTo>
                    <a:cubicBezTo>
                      <a:pt x="20" y="1"/>
                      <a:pt x="18" y="0"/>
                      <a:pt x="16" y="1"/>
                    </a:cubicBezTo>
                    <a:cubicBezTo>
                      <a:pt x="15" y="2"/>
                      <a:pt x="13" y="4"/>
                      <a:pt x="12" y="3"/>
                    </a:cubicBezTo>
                    <a:cubicBezTo>
                      <a:pt x="10" y="1"/>
                      <a:pt x="7" y="0"/>
                      <a:pt x="6" y="2"/>
                    </a:cubicBezTo>
                    <a:cubicBezTo>
                      <a:pt x="5" y="4"/>
                      <a:pt x="6" y="7"/>
                      <a:pt x="7" y="8"/>
                    </a:cubicBezTo>
                    <a:cubicBezTo>
                      <a:pt x="8" y="10"/>
                      <a:pt x="7" y="10"/>
                      <a:pt x="6" y="12"/>
                    </a:cubicBezTo>
                    <a:cubicBezTo>
                      <a:pt x="5" y="14"/>
                      <a:pt x="3" y="15"/>
                      <a:pt x="2" y="16"/>
                    </a:cubicBezTo>
                    <a:cubicBezTo>
                      <a:pt x="1" y="18"/>
                      <a:pt x="0" y="19"/>
                      <a:pt x="0" y="22"/>
                    </a:cubicBezTo>
                    <a:cubicBezTo>
                      <a:pt x="0" y="23"/>
                      <a:pt x="1" y="25"/>
                      <a:pt x="0" y="27"/>
                    </a:cubicBezTo>
                    <a:cubicBezTo>
                      <a:pt x="2" y="28"/>
                      <a:pt x="2" y="27"/>
                      <a:pt x="4" y="26"/>
                    </a:cubicBezTo>
                    <a:cubicBezTo>
                      <a:pt x="6" y="25"/>
                      <a:pt x="9" y="25"/>
                      <a:pt x="11" y="25"/>
                    </a:cubicBezTo>
                    <a:cubicBezTo>
                      <a:pt x="10" y="22"/>
                      <a:pt x="12" y="21"/>
                      <a:pt x="14" y="20"/>
                    </a:cubicBezTo>
                    <a:cubicBezTo>
                      <a:pt x="16" y="19"/>
                      <a:pt x="20" y="17"/>
                      <a:pt x="21" y="20"/>
                    </a:cubicBezTo>
                    <a:cubicBezTo>
                      <a:pt x="21" y="19"/>
                      <a:pt x="21" y="18"/>
                      <a:pt x="22" y="18"/>
                    </a:cubicBezTo>
                    <a:cubicBezTo>
                      <a:pt x="22" y="16"/>
                      <a:pt x="21" y="18"/>
                      <a:pt x="22" y="1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8" name="Freeform 750">
                <a:extLst>
                  <a:ext uri="{FF2B5EF4-FFF2-40B4-BE49-F238E27FC236}">
                    <a16:creationId xmlns:a16="http://schemas.microsoft.com/office/drawing/2014/main" id="{D463D93A-6722-430E-9CF4-8F8F167F5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7845" y="4573873"/>
                <a:ext cx="46190" cy="46190"/>
              </a:xfrm>
              <a:custGeom>
                <a:avLst/>
                <a:gdLst>
                  <a:gd name="T0" fmla="*/ 1 w 10"/>
                  <a:gd name="T1" fmla="*/ 6 h 10"/>
                  <a:gd name="T2" fmla="*/ 3 w 10"/>
                  <a:gd name="T3" fmla="*/ 10 h 10"/>
                  <a:gd name="T4" fmla="*/ 9 w 10"/>
                  <a:gd name="T5" fmla="*/ 5 h 10"/>
                  <a:gd name="T6" fmla="*/ 8 w 10"/>
                  <a:gd name="T7" fmla="*/ 0 h 10"/>
                  <a:gd name="T8" fmla="*/ 4 w 10"/>
                  <a:gd name="T9" fmla="*/ 1 h 10"/>
                  <a:gd name="T10" fmla="*/ 0 w 10"/>
                  <a:gd name="T11" fmla="*/ 1 h 10"/>
                  <a:gd name="T12" fmla="*/ 1 w 10"/>
                  <a:gd name="T1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0">
                    <a:moveTo>
                      <a:pt x="1" y="6"/>
                    </a:moveTo>
                    <a:cubicBezTo>
                      <a:pt x="2" y="7"/>
                      <a:pt x="2" y="9"/>
                      <a:pt x="3" y="10"/>
                    </a:cubicBezTo>
                    <a:cubicBezTo>
                      <a:pt x="5" y="9"/>
                      <a:pt x="7" y="7"/>
                      <a:pt x="9" y="5"/>
                    </a:cubicBezTo>
                    <a:cubicBezTo>
                      <a:pt x="10" y="3"/>
                      <a:pt x="5" y="4"/>
                      <a:pt x="8" y="0"/>
                    </a:cubicBezTo>
                    <a:cubicBezTo>
                      <a:pt x="7" y="0"/>
                      <a:pt x="3" y="0"/>
                      <a:pt x="4" y="1"/>
                    </a:cubicBezTo>
                    <a:cubicBezTo>
                      <a:pt x="5" y="3"/>
                      <a:pt x="1" y="2"/>
                      <a:pt x="0" y="1"/>
                    </a:cubicBezTo>
                    <a:cubicBezTo>
                      <a:pt x="0" y="3"/>
                      <a:pt x="1" y="4"/>
                      <a:pt x="1" y="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9" name="Freeform 751">
                <a:extLst>
                  <a:ext uri="{FF2B5EF4-FFF2-40B4-BE49-F238E27FC236}">
                    <a16:creationId xmlns:a16="http://schemas.microsoft.com/office/drawing/2014/main" id="{5C3590B7-331C-4A40-87A4-F6BAB8AF84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7845" y="4545203"/>
                <a:ext cx="50968" cy="43004"/>
              </a:xfrm>
              <a:custGeom>
                <a:avLst/>
                <a:gdLst>
                  <a:gd name="T0" fmla="*/ 3 w 11"/>
                  <a:gd name="T1" fmla="*/ 1 h 9"/>
                  <a:gd name="T2" fmla="*/ 0 w 11"/>
                  <a:gd name="T3" fmla="*/ 7 h 9"/>
                  <a:gd name="T4" fmla="*/ 4 w 11"/>
                  <a:gd name="T5" fmla="*/ 7 h 9"/>
                  <a:gd name="T6" fmla="*/ 8 w 11"/>
                  <a:gd name="T7" fmla="*/ 6 h 9"/>
                  <a:gd name="T8" fmla="*/ 7 w 11"/>
                  <a:gd name="T9" fmla="*/ 0 h 9"/>
                  <a:gd name="T10" fmla="*/ 3 w 11"/>
                  <a:gd name="T11" fmla="*/ 1 h 9"/>
                  <a:gd name="T12" fmla="*/ 3 w 11"/>
                  <a:gd name="T1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9">
                    <a:moveTo>
                      <a:pt x="3" y="1"/>
                    </a:moveTo>
                    <a:cubicBezTo>
                      <a:pt x="1" y="2"/>
                      <a:pt x="0" y="5"/>
                      <a:pt x="0" y="7"/>
                    </a:cubicBezTo>
                    <a:cubicBezTo>
                      <a:pt x="1" y="8"/>
                      <a:pt x="5" y="9"/>
                      <a:pt x="4" y="7"/>
                    </a:cubicBezTo>
                    <a:cubicBezTo>
                      <a:pt x="3" y="6"/>
                      <a:pt x="7" y="6"/>
                      <a:pt x="8" y="6"/>
                    </a:cubicBezTo>
                    <a:cubicBezTo>
                      <a:pt x="11" y="5"/>
                      <a:pt x="8" y="1"/>
                      <a:pt x="7" y="0"/>
                    </a:cubicBezTo>
                    <a:cubicBezTo>
                      <a:pt x="5" y="1"/>
                      <a:pt x="5" y="2"/>
                      <a:pt x="3" y="1"/>
                    </a:cubicBezTo>
                    <a:cubicBezTo>
                      <a:pt x="2" y="1"/>
                      <a:pt x="4" y="1"/>
                      <a:pt x="3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0" name="Freeform 752">
                <a:extLst>
                  <a:ext uri="{FF2B5EF4-FFF2-40B4-BE49-F238E27FC236}">
                    <a16:creationId xmlns:a16="http://schemas.microsoft.com/office/drawing/2014/main" id="{A62498A3-2D94-4CDC-9FD8-2EA1359F0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7402" y="4530868"/>
                <a:ext cx="251658" cy="272364"/>
              </a:xfrm>
              <a:custGeom>
                <a:avLst/>
                <a:gdLst>
                  <a:gd name="T0" fmla="*/ 41 w 54"/>
                  <a:gd name="T1" fmla="*/ 13 h 58"/>
                  <a:gd name="T2" fmla="*/ 23 w 54"/>
                  <a:gd name="T3" fmla="*/ 3 h 58"/>
                  <a:gd name="T4" fmla="*/ 17 w 54"/>
                  <a:gd name="T5" fmla="*/ 7 h 58"/>
                  <a:gd name="T6" fmla="*/ 21 w 54"/>
                  <a:gd name="T7" fmla="*/ 9 h 58"/>
                  <a:gd name="T8" fmla="*/ 17 w 54"/>
                  <a:gd name="T9" fmla="*/ 9 h 58"/>
                  <a:gd name="T10" fmla="*/ 13 w 54"/>
                  <a:gd name="T11" fmla="*/ 10 h 58"/>
                  <a:gd name="T12" fmla="*/ 11 w 54"/>
                  <a:gd name="T13" fmla="*/ 8 h 58"/>
                  <a:gd name="T14" fmla="*/ 12 w 54"/>
                  <a:gd name="T15" fmla="*/ 4 h 58"/>
                  <a:gd name="T16" fmla="*/ 5 w 54"/>
                  <a:gd name="T17" fmla="*/ 3 h 58"/>
                  <a:gd name="T18" fmla="*/ 7 w 54"/>
                  <a:gd name="T19" fmla="*/ 8 h 58"/>
                  <a:gd name="T20" fmla="*/ 5 w 54"/>
                  <a:gd name="T21" fmla="*/ 12 h 58"/>
                  <a:gd name="T22" fmla="*/ 6 w 54"/>
                  <a:gd name="T23" fmla="*/ 16 h 58"/>
                  <a:gd name="T24" fmla="*/ 2 w 54"/>
                  <a:gd name="T25" fmla="*/ 18 h 58"/>
                  <a:gd name="T26" fmla="*/ 1 w 54"/>
                  <a:gd name="T27" fmla="*/ 21 h 58"/>
                  <a:gd name="T28" fmla="*/ 5 w 54"/>
                  <a:gd name="T29" fmla="*/ 33 h 58"/>
                  <a:gd name="T30" fmla="*/ 12 w 54"/>
                  <a:gd name="T31" fmla="*/ 42 h 58"/>
                  <a:gd name="T32" fmla="*/ 15 w 54"/>
                  <a:gd name="T33" fmla="*/ 43 h 58"/>
                  <a:gd name="T34" fmla="*/ 17 w 54"/>
                  <a:gd name="T35" fmla="*/ 45 h 58"/>
                  <a:gd name="T36" fmla="*/ 24 w 54"/>
                  <a:gd name="T37" fmla="*/ 47 h 58"/>
                  <a:gd name="T38" fmla="*/ 25 w 54"/>
                  <a:gd name="T39" fmla="*/ 53 h 58"/>
                  <a:gd name="T40" fmla="*/ 27 w 54"/>
                  <a:gd name="T41" fmla="*/ 55 h 58"/>
                  <a:gd name="T42" fmla="*/ 30 w 54"/>
                  <a:gd name="T43" fmla="*/ 55 h 58"/>
                  <a:gd name="T44" fmla="*/ 33 w 54"/>
                  <a:gd name="T45" fmla="*/ 56 h 58"/>
                  <a:gd name="T46" fmla="*/ 36 w 54"/>
                  <a:gd name="T47" fmla="*/ 55 h 58"/>
                  <a:gd name="T48" fmla="*/ 42 w 54"/>
                  <a:gd name="T49" fmla="*/ 55 h 58"/>
                  <a:gd name="T50" fmla="*/ 46 w 54"/>
                  <a:gd name="T51" fmla="*/ 54 h 58"/>
                  <a:gd name="T52" fmla="*/ 54 w 54"/>
                  <a:gd name="T53" fmla="*/ 49 h 58"/>
                  <a:gd name="T54" fmla="*/ 49 w 54"/>
                  <a:gd name="T55" fmla="*/ 36 h 58"/>
                  <a:gd name="T56" fmla="*/ 49 w 54"/>
                  <a:gd name="T57" fmla="*/ 32 h 58"/>
                  <a:gd name="T58" fmla="*/ 46 w 54"/>
                  <a:gd name="T59" fmla="*/ 28 h 58"/>
                  <a:gd name="T60" fmla="*/ 48 w 54"/>
                  <a:gd name="T61" fmla="*/ 20 h 58"/>
                  <a:gd name="T62" fmla="*/ 45 w 54"/>
                  <a:gd name="T63" fmla="*/ 18 h 58"/>
                  <a:gd name="T64" fmla="*/ 41 w 54"/>
                  <a:gd name="T65" fmla="*/ 16 h 58"/>
                  <a:gd name="T66" fmla="*/ 41 w 54"/>
                  <a:gd name="T67" fmla="*/ 1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4" h="58">
                    <a:moveTo>
                      <a:pt x="41" y="13"/>
                    </a:moveTo>
                    <a:cubicBezTo>
                      <a:pt x="35" y="9"/>
                      <a:pt x="29" y="6"/>
                      <a:pt x="23" y="3"/>
                    </a:cubicBezTo>
                    <a:cubicBezTo>
                      <a:pt x="22" y="5"/>
                      <a:pt x="19" y="7"/>
                      <a:pt x="17" y="7"/>
                    </a:cubicBezTo>
                    <a:cubicBezTo>
                      <a:pt x="17" y="7"/>
                      <a:pt x="21" y="8"/>
                      <a:pt x="21" y="9"/>
                    </a:cubicBezTo>
                    <a:cubicBezTo>
                      <a:pt x="20" y="10"/>
                      <a:pt x="18" y="9"/>
                      <a:pt x="17" y="9"/>
                    </a:cubicBezTo>
                    <a:cubicBezTo>
                      <a:pt x="15" y="8"/>
                      <a:pt x="15" y="9"/>
                      <a:pt x="13" y="10"/>
                    </a:cubicBezTo>
                    <a:cubicBezTo>
                      <a:pt x="13" y="10"/>
                      <a:pt x="11" y="9"/>
                      <a:pt x="11" y="8"/>
                    </a:cubicBezTo>
                    <a:cubicBezTo>
                      <a:pt x="10" y="7"/>
                      <a:pt x="11" y="5"/>
                      <a:pt x="12" y="4"/>
                    </a:cubicBezTo>
                    <a:cubicBezTo>
                      <a:pt x="13" y="0"/>
                      <a:pt x="7" y="2"/>
                      <a:pt x="5" y="3"/>
                    </a:cubicBezTo>
                    <a:cubicBezTo>
                      <a:pt x="6" y="4"/>
                      <a:pt x="8" y="7"/>
                      <a:pt x="7" y="8"/>
                    </a:cubicBezTo>
                    <a:cubicBezTo>
                      <a:pt x="7" y="9"/>
                      <a:pt x="3" y="12"/>
                      <a:pt x="5" y="12"/>
                    </a:cubicBezTo>
                    <a:cubicBezTo>
                      <a:pt x="8" y="13"/>
                      <a:pt x="7" y="14"/>
                      <a:pt x="6" y="16"/>
                    </a:cubicBezTo>
                    <a:cubicBezTo>
                      <a:pt x="5" y="16"/>
                      <a:pt x="3" y="17"/>
                      <a:pt x="2" y="18"/>
                    </a:cubicBezTo>
                    <a:cubicBezTo>
                      <a:pt x="0" y="19"/>
                      <a:pt x="1" y="19"/>
                      <a:pt x="1" y="21"/>
                    </a:cubicBezTo>
                    <a:cubicBezTo>
                      <a:pt x="2" y="26"/>
                      <a:pt x="4" y="29"/>
                      <a:pt x="5" y="33"/>
                    </a:cubicBezTo>
                    <a:cubicBezTo>
                      <a:pt x="5" y="38"/>
                      <a:pt x="9" y="40"/>
                      <a:pt x="12" y="42"/>
                    </a:cubicBezTo>
                    <a:cubicBezTo>
                      <a:pt x="13" y="43"/>
                      <a:pt x="14" y="43"/>
                      <a:pt x="15" y="43"/>
                    </a:cubicBezTo>
                    <a:cubicBezTo>
                      <a:pt x="16" y="43"/>
                      <a:pt x="16" y="44"/>
                      <a:pt x="17" y="45"/>
                    </a:cubicBezTo>
                    <a:cubicBezTo>
                      <a:pt x="19" y="45"/>
                      <a:pt x="22" y="45"/>
                      <a:pt x="24" y="47"/>
                    </a:cubicBezTo>
                    <a:cubicBezTo>
                      <a:pt x="25" y="48"/>
                      <a:pt x="25" y="51"/>
                      <a:pt x="25" y="53"/>
                    </a:cubicBezTo>
                    <a:cubicBezTo>
                      <a:pt x="26" y="54"/>
                      <a:pt x="25" y="55"/>
                      <a:pt x="27" y="55"/>
                    </a:cubicBezTo>
                    <a:cubicBezTo>
                      <a:pt x="28" y="55"/>
                      <a:pt x="29" y="55"/>
                      <a:pt x="30" y="55"/>
                    </a:cubicBezTo>
                    <a:cubicBezTo>
                      <a:pt x="31" y="55"/>
                      <a:pt x="32" y="55"/>
                      <a:pt x="33" y="56"/>
                    </a:cubicBezTo>
                    <a:cubicBezTo>
                      <a:pt x="34" y="57"/>
                      <a:pt x="35" y="56"/>
                      <a:pt x="36" y="55"/>
                    </a:cubicBezTo>
                    <a:cubicBezTo>
                      <a:pt x="38" y="54"/>
                      <a:pt x="40" y="58"/>
                      <a:pt x="42" y="55"/>
                    </a:cubicBezTo>
                    <a:cubicBezTo>
                      <a:pt x="42" y="53"/>
                      <a:pt x="45" y="54"/>
                      <a:pt x="46" y="54"/>
                    </a:cubicBezTo>
                    <a:cubicBezTo>
                      <a:pt x="49" y="53"/>
                      <a:pt x="51" y="51"/>
                      <a:pt x="54" y="49"/>
                    </a:cubicBezTo>
                    <a:cubicBezTo>
                      <a:pt x="49" y="46"/>
                      <a:pt x="49" y="42"/>
                      <a:pt x="49" y="36"/>
                    </a:cubicBezTo>
                    <a:cubicBezTo>
                      <a:pt x="48" y="35"/>
                      <a:pt x="50" y="33"/>
                      <a:pt x="49" y="32"/>
                    </a:cubicBezTo>
                    <a:cubicBezTo>
                      <a:pt x="48" y="31"/>
                      <a:pt x="46" y="30"/>
                      <a:pt x="46" y="28"/>
                    </a:cubicBezTo>
                    <a:cubicBezTo>
                      <a:pt x="46" y="27"/>
                      <a:pt x="48" y="20"/>
                      <a:pt x="48" y="20"/>
                    </a:cubicBezTo>
                    <a:cubicBezTo>
                      <a:pt x="47" y="20"/>
                      <a:pt x="46" y="19"/>
                      <a:pt x="45" y="18"/>
                    </a:cubicBezTo>
                    <a:cubicBezTo>
                      <a:pt x="44" y="17"/>
                      <a:pt x="43" y="17"/>
                      <a:pt x="41" y="16"/>
                    </a:cubicBezTo>
                    <a:cubicBezTo>
                      <a:pt x="41" y="15"/>
                      <a:pt x="41" y="14"/>
                      <a:pt x="41" y="1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1" name="Freeform 753">
                <a:extLst>
                  <a:ext uri="{FF2B5EF4-FFF2-40B4-BE49-F238E27FC236}">
                    <a16:creationId xmlns:a16="http://schemas.microsoft.com/office/drawing/2014/main" id="{3EAEA8CE-00B1-4518-A8D9-48CFB0F27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0276" y="4465565"/>
                <a:ext cx="125829" cy="144943"/>
              </a:xfrm>
              <a:custGeom>
                <a:avLst/>
                <a:gdLst>
                  <a:gd name="T0" fmla="*/ 15 w 27"/>
                  <a:gd name="T1" fmla="*/ 29 h 31"/>
                  <a:gd name="T2" fmla="*/ 15 w 27"/>
                  <a:gd name="T3" fmla="*/ 24 h 31"/>
                  <a:gd name="T4" fmla="*/ 17 w 27"/>
                  <a:gd name="T5" fmla="*/ 24 h 31"/>
                  <a:gd name="T6" fmla="*/ 19 w 27"/>
                  <a:gd name="T7" fmla="*/ 21 h 31"/>
                  <a:gd name="T8" fmla="*/ 21 w 27"/>
                  <a:gd name="T9" fmla="*/ 24 h 31"/>
                  <a:gd name="T10" fmla="*/ 24 w 27"/>
                  <a:gd name="T11" fmla="*/ 23 h 31"/>
                  <a:gd name="T12" fmla="*/ 26 w 27"/>
                  <a:gd name="T13" fmla="*/ 24 h 31"/>
                  <a:gd name="T14" fmla="*/ 26 w 27"/>
                  <a:gd name="T15" fmla="*/ 21 h 31"/>
                  <a:gd name="T16" fmla="*/ 26 w 27"/>
                  <a:gd name="T17" fmla="*/ 14 h 31"/>
                  <a:gd name="T18" fmla="*/ 25 w 27"/>
                  <a:gd name="T19" fmla="*/ 11 h 31"/>
                  <a:gd name="T20" fmla="*/ 26 w 27"/>
                  <a:gd name="T21" fmla="*/ 6 h 31"/>
                  <a:gd name="T22" fmla="*/ 21 w 27"/>
                  <a:gd name="T23" fmla="*/ 4 h 31"/>
                  <a:gd name="T24" fmla="*/ 19 w 27"/>
                  <a:gd name="T25" fmla="*/ 0 h 31"/>
                  <a:gd name="T26" fmla="*/ 14 w 27"/>
                  <a:gd name="T27" fmla="*/ 0 h 31"/>
                  <a:gd name="T28" fmla="*/ 11 w 27"/>
                  <a:gd name="T29" fmla="*/ 7 h 31"/>
                  <a:gd name="T30" fmla="*/ 5 w 27"/>
                  <a:gd name="T31" fmla="*/ 7 h 31"/>
                  <a:gd name="T32" fmla="*/ 4 w 27"/>
                  <a:gd name="T33" fmla="*/ 7 h 31"/>
                  <a:gd name="T34" fmla="*/ 4 w 27"/>
                  <a:gd name="T35" fmla="*/ 10 h 31"/>
                  <a:gd name="T36" fmla="*/ 0 w 27"/>
                  <a:gd name="T37" fmla="*/ 16 h 31"/>
                  <a:gd name="T38" fmla="*/ 4 w 27"/>
                  <a:gd name="T39" fmla="*/ 23 h 31"/>
                  <a:gd name="T40" fmla="*/ 9 w 27"/>
                  <a:gd name="T41" fmla="*/ 28 h 31"/>
                  <a:gd name="T42" fmla="*/ 11 w 27"/>
                  <a:gd name="T43" fmla="*/ 31 h 31"/>
                  <a:gd name="T44" fmla="*/ 15 w 27"/>
                  <a:gd name="T45" fmla="*/ 29 h 31"/>
                  <a:gd name="T46" fmla="*/ 15 w 27"/>
                  <a:gd name="T47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7" h="31">
                    <a:moveTo>
                      <a:pt x="15" y="29"/>
                    </a:moveTo>
                    <a:cubicBezTo>
                      <a:pt x="15" y="28"/>
                      <a:pt x="13" y="24"/>
                      <a:pt x="15" y="24"/>
                    </a:cubicBezTo>
                    <a:cubicBezTo>
                      <a:pt x="15" y="24"/>
                      <a:pt x="17" y="24"/>
                      <a:pt x="17" y="24"/>
                    </a:cubicBezTo>
                    <a:cubicBezTo>
                      <a:pt x="18" y="23"/>
                      <a:pt x="18" y="21"/>
                      <a:pt x="19" y="21"/>
                    </a:cubicBezTo>
                    <a:cubicBezTo>
                      <a:pt x="20" y="22"/>
                      <a:pt x="21" y="23"/>
                      <a:pt x="21" y="24"/>
                    </a:cubicBezTo>
                    <a:cubicBezTo>
                      <a:pt x="22" y="25"/>
                      <a:pt x="22" y="23"/>
                      <a:pt x="24" y="23"/>
                    </a:cubicBezTo>
                    <a:cubicBezTo>
                      <a:pt x="24" y="23"/>
                      <a:pt x="26" y="25"/>
                      <a:pt x="26" y="24"/>
                    </a:cubicBezTo>
                    <a:cubicBezTo>
                      <a:pt x="26" y="23"/>
                      <a:pt x="26" y="22"/>
                      <a:pt x="26" y="21"/>
                    </a:cubicBezTo>
                    <a:cubicBezTo>
                      <a:pt x="27" y="19"/>
                      <a:pt x="27" y="16"/>
                      <a:pt x="26" y="14"/>
                    </a:cubicBezTo>
                    <a:cubicBezTo>
                      <a:pt x="25" y="13"/>
                      <a:pt x="25" y="12"/>
                      <a:pt x="25" y="11"/>
                    </a:cubicBezTo>
                    <a:cubicBezTo>
                      <a:pt x="25" y="9"/>
                      <a:pt x="27" y="8"/>
                      <a:pt x="26" y="6"/>
                    </a:cubicBezTo>
                    <a:cubicBezTo>
                      <a:pt x="25" y="3"/>
                      <a:pt x="21" y="7"/>
                      <a:pt x="21" y="4"/>
                    </a:cubicBezTo>
                    <a:cubicBezTo>
                      <a:pt x="21" y="2"/>
                      <a:pt x="22" y="0"/>
                      <a:pt x="19" y="0"/>
                    </a:cubicBezTo>
                    <a:cubicBezTo>
                      <a:pt x="18" y="0"/>
                      <a:pt x="16" y="0"/>
                      <a:pt x="14" y="0"/>
                    </a:cubicBezTo>
                    <a:cubicBezTo>
                      <a:pt x="10" y="0"/>
                      <a:pt x="15" y="7"/>
                      <a:pt x="11" y="7"/>
                    </a:cubicBezTo>
                    <a:cubicBezTo>
                      <a:pt x="9" y="7"/>
                      <a:pt x="7" y="7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9"/>
                      <a:pt x="4" y="9"/>
                      <a:pt x="4" y="10"/>
                    </a:cubicBezTo>
                    <a:cubicBezTo>
                      <a:pt x="4" y="12"/>
                      <a:pt x="0" y="14"/>
                      <a:pt x="0" y="16"/>
                    </a:cubicBezTo>
                    <a:cubicBezTo>
                      <a:pt x="1" y="18"/>
                      <a:pt x="3" y="21"/>
                      <a:pt x="4" y="23"/>
                    </a:cubicBezTo>
                    <a:cubicBezTo>
                      <a:pt x="6" y="24"/>
                      <a:pt x="7" y="26"/>
                      <a:pt x="9" y="28"/>
                    </a:cubicBezTo>
                    <a:cubicBezTo>
                      <a:pt x="10" y="29"/>
                      <a:pt x="11" y="30"/>
                      <a:pt x="11" y="31"/>
                    </a:cubicBezTo>
                    <a:cubicBezTo>
                      <a:pt x="12" y="30"/>
                      <a:pt x="14" y="30"/>
                      <a:pt x="15" y="29"/>
                    </a:cubicBezTo>
                    <a:cubicBezTo>
                      <a:pt x="15" y="29"/>
                      <a:pt x="14" y="30"/>
                      <a:pt x="15" y="2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2" name="Freeform 754">
                <a:extLst>
                  <a:ext uri="{FF2B5EF4-FFF2-40B4-BE49-F238E27FC236}">
                    <a16:creationId xmlns:a16="http://schemas.microsoft.com/office/drawing/2014/main" id="{F22B1080-9EDF-41E5-895A-2096985DE7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8238" y="4465566"/>
                <a:ext cx="52562" cy="33448"/>
              </a:xfrm>
              <a:custGeom>
                <a:avLst/>
                <a:gdLst>
                  <a:gd name="T0" fmla="*/ 11 w 11"/>
                  <a:gd name="T1" fmla="*/ 7 h 7"/>
                  <a:gd name="T2" fmla="*/ 11 w 11"/>
                  <a:gd name="T3" fmla="*/ 0 h 7"/>
                  <a:gd name="T4" fmla="*/ 3 w 11"/>
                  <a:gd name="T5" fmla="*/ 1 h 7"/>
                  <a:gd name="T6" fmla="*/ 0 w 11"/>
                  <a:gd name="T7" fmla="*/ 4 h 7"/>
                  <a:gd name="T8" fmla="*/ 2 w 11"/>
                  <a:gd name="T9" fmla="*/ 7 h 7"/>
                  <a:gd name="T10" fmla="*/ 11 w 11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7">
                    <a:moveTo>
                      <a:pt x="11" y="7"/>
                    </a:moveTo>
                    <a:cubicBezTo>
                      <a:pt x="11" y="5"/>
                      <a:pt x="11" y="2"/>
                      <a:pt x="11" y="0"/>
                    </a:cubicBezTo>
                    <a:cubicBezTo>
                      <a:pt x="8" y="0"/>
                      <a:pt x="6" y="1"/>
                      <a:pt x="3" y="1"/>
                    </a:cubicBezTo>
                    <a:cubicBezTo>
                      <a:pt x="4" y="2"/>
                      <a:pt x="1" y="3"/>
                      <a:pt x="0" y="4"/>
                    </a:cubicBezTo>
                    <a:cubicBezTo>
                      <a:pt x="0" y="5"/>
                      <a:pt x="2" y="6"/>
                      <a:pt x="2" y="7"/>
                    </a:cubicBezTo>
                    <a:lnTo>
                      <a:pt x="11" y="7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3" name="Freeform 755">
                <a:extLst>
                  <a:ext uri="{FF2B5EF4-FFF2-40B4-BE49-F238E27FC236}">
                    <a16:creationId xmlns:a16="http://schemas.microsoft.com/office/drawing/2014/main" id="{4D4D413B-C2A1-4A41-9BB0-E85BE8065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718" y="4213909"/>
                <a:ext cx="172020" cy="265993"/>
              </a:xfrm>
              <a:custGeom>
                <a:avLst/>
                <a:gdLst>
                  <a:gd name="T0" fmla="*/ 29 w 37"/>
                  <a:gd name="T1" fmla="*/ 55 h 57"/>
                  <a:gd name="T2" fmla="*/ 37 w 37"/>
                  <a:gd name="T3" fmla="*/ 55 h 57"/>
                  <a:gd name="T4" fmla="*/ 33 w 37"/>
                  <a:gd name="T5" fmla="*/ 48 h 57"/>
                  <a:gd name="T6" fmla="*/ 32 w 37"/>
                  <a:gd name="T7" fmla="*/ 44 h 57"/>
                  <a:gd name="T8" fmla="*/ 30 w 37"/>
                  <a:gd name="T9" fmla="*/ 40 h 57"/>
                  <a:gd name="T10" fmla="*/ 32 w 37"/>
                  <a:gd name="T11" fmla="*/ 32 h 57"/>
                  <a:gd name="T12" fmla="*/ 34 w 37"/>
                  <a:gd name="T13" fmla="*/ 27 h 57"/>
                  <a:gd name="T14" fmla="*/ 31 w 37"/>
                  <a:gd name="T15" fmla="*/ 21 h 57"/>
                  <a:gd name="T16" fmla="*/ 28 w 37"/>
                  <a:gd name="T17" fmla="*/ 16 h 57"/>
                  <a:gd name="T18" fmla="*/ 34 w 37"/>
                  <a:gd name="T19" fmla="*/ 16 h 57"/>
                  <a:gd name="T20" fmla="*/ 32 w 37"/>
                  <a:gd name="T21" fmla="*/ 6 h 57"/>
                  <a:gd name="T22" fmla="*/ 30 w 37"/>
                  <a:gd name="T23" fmla="*/ 2 h 57"/>
                  <a:gd name="T24" fmla="*/ 27 w 37"/>
                  <a:gd name="T25" fmla="*/ 0 h 57"/>
                  <a:gd name="T26" fmla="*/ 28 w 37"/>
                  <a:gd name="T27" fmla="*/ 9 h 57"/>
                  <a:gd name="T28" fmla="*/ 23 w 37"/>
                  <a:gd name="T29" fmla="*/ 18 h 57"/>
                  <a:gd name="T30" fmla="*/ 21 w 37"/>
                  <a:gd name="T31" fmla="*/ 22 h 57"/>
                  <a:gd name="T32" fmla="*/ 18 w 37"/>
                  <a:gd name="T33" fmla="*/ 27 h 57"/>
                  <a:gd name="T34" fmla="*/ 15 w 37"/>
                  <a:gd name="T35" fmla="*/ 33 h 57"/>
                  <a:gd name="T36" fmla="*/ 11 w 37"/>
                  <a:gd name="T37" fmla="*/ 31 h 57"/>
                  <a:gd name="T38" fmla="*/ 2 w 37"/>
                  <a:gd name="T39" fmla="*/ 39 h 57"/>
                  <a:gd name="T40" fmla="*/ 1 w 37"/>
                  <a:gd name="T41" fmla="*/ 42 h 57"/>
                  <a:gd name="T42" fmla="*/ 4 w 37"/>
                  <a:gd name="T43" fmla="*/ 45 h 57"/>
                  <a:gd name="T44" fmla="*/ 5 w 37"/>
                  <a:gd name="T45" fmla="*/ 45 h 57"/>
                  <a:gd name="T46" fmla="*/ 7 w 37"/>
                  <a:gd name="T47" fmla="*/ 48 h 57"/>
                  <a:gd name="T48" fmla="*/ 7 w 37"/>
                  <a:gd name="T49" fmla="*/ 55 h 57"/>
                  <a:gd name="T50" fmla="*/ 16 w 37"/>
                  <a:gd name="T51" fmla="*/ 54 h 57"/>
                  <a:gd name="T52" fmla="*/ 29 w 37"/>
                  <a:gd name="T53" fmla="*/ 5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7" h="57">
                    <a:moveTo>
                      <a:pt x="29" y="55"/>
                    </a:moveTo>
                    <a:cubicBezTo>
                      <a:pt x="32" y="55"/>
                      <a:pt x="35" y="57"/>
                      <a:pt x="37" y="55"/>
                    </a:cubicBezTo>
                    <a:cubicBezTo>
                      <a:pt x="37" y="51"/>
                      <a:pt x="35" y="50"/>
                      <a:pt x="33" y="48"/>
                    </a:cubicBezTo>
                    <a:cubicBezTo>
                      <a:pt x="32" y="47"/>
                      <a:pt x="32" y="46"/>
                      <a:pt x="32" y="44"/>
                    </a:cubicBezTo>
                    <a:cubicBezTo>
                      <a:pt x="31" y="43"/>
                      <a:pt x="30" y="42"/>
                      <a:pt x="30" y="40"/>
                    </a:cubicBezTo>
                    <a:cubicBezTo>
                      <a:pt x="29" y="36"/>
                      <a:pt x="31" y="35"/>
                      <a:pt x="32" y="32"/>
                    </a:cubicBezTo>
                    <a:cubicBezTo>
                      <a:pt x="33" y="30"/>
                      <a:pt x="34" y="29"/>
                      <a:pt x="34" y="27"/>
                    </a:cubicBezTo>
                    <a:cubicBezTo>
                      <a:pt x="33" y="25"/>
                      <a:pt x="33" y="23"/>
                      <a:pt x="31" y="21"/>
                    </a:cubicBezTo>
                    <a:cubicBezTo>
                      <a:pt x="31" y="21"/>
                      <a:pt x="26" y="18"/>
                      <a:pt x="28" y="16"/>
                    </a:cubicBezTo>
                    <a:cubicBezTo>
                      <a:pt x="29" y="15"/>
                      <a:pt x="32" y="16"/>
                      <a:pt x="34" y="16"/>
                    </a:cubicBezTo>
                    <a:cubicBezTo>
                      <a:pt x="32" y="12"/>
                      <a:pt x="32" y="10"/>
                      <a:pt x="32" y="6"/>
                    </a:cubicBezTo>
                    <a:cubicBezTo>
                      <a:pt x="32" y="5"/>
                      <a:pt x="32" y="3"/>
                      <a:pt x="30" y="2"/>
                    </a:cubicBezTo>
                    <a:cubicBezTo>
                      <a:pt x="30" y="1"/>
                      <a:pt x="27" y="0"/>
                      <a:pt x="27" y="0"/>
                    </a:cubicBezTo>
                    <a:cubicBezTo>
                      <a:pt x="27" y="2"/>
                      <a:pt x="33" y="7"/>
                      <a:pt x="28" y="9"/>
                    </a:cubicBezTo>
                    <a:cubicBezTo>
                      <a:pt x="25" y="11"/>
                      <a:pt x="24" y="14"/>
                      <a:pt x="23" y="18"/>
                    </a:cubicBezTo>
                    <a:cubicBezTo>
                      <a:pt x="22" y="19"/>
                      <a:pt x="22" y="22"/>
                      <a:pt x="21" y="22"/>
                    </a:cubicBezTo>
                    <a:cubicBezTo>
                      <a:pt x="19" y="23"/>
                      <a:pt x="19" y="25"/>
                      <a:pt x="18" y="27"/>
                    </a:cubicBezTo>
                    <a:cubicBezTo>
                      <a:pt x="17" y="29"/>
                      <a:pt x="16" y="31"/>
                      <a:pt x="15" y="33"/>
                    </a:cubicBezTo>
                    <a:cubicBezTo>
                      <a:pt x="13" y="35"/>
                      <a:pt x="12" y="31"/>
                      <a:pt x="11" y="31"/>
                    </a:cubicBezTo>
                    <a:cubicBezTo>
                      <a:pt x="6" y="31"/>
                      <a:pt x="3" y="35"/>
                      <a:pt x="2" y="39"/>
                    </a:cubicBezTo>
                    <a:cubicBezTo>
                      <a:pt x="2" y="40"/>
                      <a:pt x="0" y="41"/>
                      <a:pt x="1" y="42"/>
                    </a:cubicBezTo>
                    <a:cubicBezTo>
                      <a:pt x="2" y="43"/>
                      <a:pt x="3" y="44"/>
                      <a:pt x="4" y="45"/>
                    </a:cubicBezTo>
                    <a:cubicBezTo>
                      <a:pt x="4" y="46"/>
                      <a:pt x="5" y="44"/>
                      <a:pt x="5" y="45"/>
                    </a:cubicBezTo>
                    <a:cubicBezTo>
                      <a:pt x="6" y="46"/>
                      <a:pt x="7" y="47"/>
                      <a:pt x="7" y="48"/>
                    </a:cubicBezTo>
                    <a:cubicBezTo>
                      <a:pt x="8" y="50"/>
                      <a:pt x="7" y="53"/>
                      <a:pt x="7" y="55"/>
                    </a:cubicBezTo>
                    <a:cubicBezTo>
                      <a:pt x="10" y="54"/>
                      <a:pt x="13" y="54"/>
                      <a:pt x="16" y="54"/>
                    </a:cubicBezTo>
                    <a:cubicBezTo>
                      <a:pt x="20" y="54"/>
                      <a:pt x="25" y="55"/>
                      <a:pt x="29" y="5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4" name="Freeform 756">
                <a:extLst>
                  <a:ext uri="{FF2B5EF4-FFF2-40B4-BE49-F238E27FC236}">
                    <a16:creationId xmlns:a16="http://schemas.microsoft.com/office/drawing/2014/main" id="{220114DD-C351-4671-82C0-65CB6A667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7551" y="4226651"/>
                <a:ext cx="70082" cy="144943"/>
              </a:xfrm>
              <a:custGeom>
                <a:avLst/>
                <a:gdLst>
                  <a:gd name="T0" fmla="*/ 11 w 15"/>
                  <a:gd name="T1" fmla="*/ 0 h 31"/>
                  <a:gd name="T2" fmla="*/ 9 w 15"/>
                  <a:gd name="T3" fmla="*/ 4 h 31"/>
                  <a:gd name="T4" fmla="*/ 4 w 15"/>
                  <a:gd name="T5" fmla="*/ 5 h 31"/>
                  <a:gd name="T6" fmla="*/ 1 w 15"/>
                  <a:gd name="T7" fmla="*/ 8 h 31"/>
                  <a:gd name="T8" fmla="*/ 3 w 15"/>
                  <a:gd name="T9" fmla="*/ 13 h 31"/>
                  <a:gd name="T10" fmla="*/ 6 w 15"/>
                  <a:gd name="T11" fmla="*/ 31 h 31"/>
                  <a:gd name="T12" fmla="*/ 11 w 15"/>
                  <a:gd name="T13" fmla="*/ 30 h 31"/>
                  <a:gd name="T14" fmla="*/ 11 w 15"/>
                  <a:gd name="T15" fmla="*/ 27 h 31"/>
                  <a:gd name="T16" fmla="*/ 11 w 15"/>
                  <a:gd name="T17" fmla="*/ 18 h 31"/>
                  <a:gd name="T18" fmla="*/ 15 w 15"/>
                  <a:gd name="T19" fmla="*/ 9 h 31"/>
                  <a:gd name="T20" fmla="*/ 14 w 15"/>
                  <a:gd name="T21" fmla="*/ 3 h 31"/>
                  <a:gd name="T22" fmla="*/ 11 w 15"/>
                  <a:gd name="T23" fmla="*/ 0 h 31"/>
                  <a:gd name="T24" fmla="*/ 11 w 15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31">
                    <a:moveTo>
                      <a:pt x="11" y="0"/>
                    </a:moveTo>
                    <a:cubicBezTo>
                      <a:pt x="9" y="2"/>
                      <a:pt x="10" y="2"/>
                      <a:pt x="9" y="4"/>
                    </a:cubicBezTo>
                    <a:cubicBezTo>
                      <a:pt x="8" y="6"/>
                      <a:pt x="6" y="5"/>
                      <a:pt x="4" y="5"/>
                    </a:cubicBezTo>
                    <a:cubicBezTo>
                      <a:pt x="4" y="5"/>
                      <a:pt x="2" y="7"/>
                      <a:pt x="1" y="8"/>
                    </a:cubicBezTo>
                    <a:cubicBezTo>
                      <a:pt x="0" y="9"/>
                      <a:pt x="2" y="11"/>
                      <a:pt x="3" y="13"/>
                    </a:cubicBezTo>
                    <a:cubicBezTo>
                      <a:pt x="7" y="18"/>
                      <a:pt x="4" y="25"/>
                      <a:pt x="6" y="31"/>
                    </a:cubicBezTo>
                    <a:cubicBezTo>
                      <a:pt x="7" y="31"/>
                      <a:pt x="9" y="31"/>
                      <a:pt x="11" y="30"/>
                    </a:cubicBezTo>
                    <a:cubicBezTo>
                      <a:pt x="12" y="30"/>
                      <a:pt x="12" y="29"/>
                      <a:pt x="11" y="27"/>
                    </a:cubicBezTo>
                    <a:cubicBezTo>
                      <a:pt x="11" y="24"/>
                      <a:pt x="11" y="21"/>
                      <a:pt x="11" y="18"/>
                    </a:cubicBezTo>
                    <a:cubicBezTo>
                      <a:pt x="11" y="14"/>
                      <a:pt x="14" y="12"/>
                      <a:pt x="15" y="9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4" y="3"/>
                      <a:pt x="11" y="0"/>
                      <a:pt x="11" y="0"/>
                    </a:cubicBezTo>
                    <a:cubicBezTo>
                      <a:pt x="10" y="1"/>
                      <a:pt x="11" y="0"/>
                      <a:pt x="11" y="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5" name="Freeform 757">
                <a:extLst>
                  <a:ext uri="{FF2B5EF4-FFF2-40B4-BE49-F238E27FC236}">
                    <a16:creationId xmlns:a16="http://schemas.microsoft.com/office/drawing/2014/main" id="{DE62B4E5-8D3D-4B7E-A0A5-ADE763AE5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5333" y="4190014"/>
                <a:ext cx="275550" cy="238915"/>
              </a:xfrm>
              <a:custGeom>
                <a:avLst/>
                <a:gdLst>
                  <a:gd name="T0" fmla="*/ 31 w 59"/>
                  <a:gd name="T1" fmla="*/ 42 h 51"/>
                  <a:gd name="T2" fmla="*/ 37 w 59"/>
                  <a:gd name="T3" fmla="*/ 37 h 51"/>
                  <a:gd name="T4" fmla="*/ 40 w 59"/>
                  <a:gd name="T5" fmla="*/ 36 h 51"/>
                  <a:gd name="T6" fmla="*/ 43 w 59"/>
                  <a:gd name="T7" fmla="*/ 38 h 51"/>
                  <a:gd name="T8" fmla="*/ 47 w 59"/>
                  <a:gd name="T9" fmla="*/ 32 h 51"/>
                  <a:gd name="T10" fmla="*/ 48 w 59"/>
                  <a:gd name="T11" fmla="*/ 28 h 51"/>
                  <a:gd name="T12" fmla="*/ 51 w 59"/>
                  <a:gd name="T13" fmla="*/ 27 h 51"/>
                  <a:gd name="T14" fmla="*/ 56 w 59"/>
                  <a:gd name="T15" fmla="*/ 14 h 51"/>
                  <a:gd name="T16" fmla="*/ 59 w 59"/>
                  <a:gd name="T17" fmla="*/ 11 h 51"/>
                  <a:gd name="T18" fmla="*/ 57 w 59"/>
                  <a:gd name="T19" fmla="*/ 8 h 51"/>
                  <a:gd name="T20" fmla="*/ 56 w 59"/>
                  <a:gd name="T21" fmla="*/ 6 h 51"/>
                  <a:gd name="T22" fmla="*/ 54 w 59"/>
                  <a:gd name="T23" fmla="*/ 1 h 51"/>
                  <a:gd name="T24" fmla="*/ 48 w 59"/>
                  <a:gd name="T25" fmla="*/ 5 h 51"/>
                  <a:gd name="T26" fmla="*/ 40 w 59"/>
                  <a:gd name="T27" fmla="*/ 4 h 51"/>
                  <a:gd name="T28" fmla="*/ 32 w 59"/>
                  <a:gd name="T29" fmla="*/ 6 h 51"/>
                  <a:gd name="T30" fmla="*/ 26 w 59"/>
                  <a:gd name="T31" fmla="*/ 4 h 51"/>
                  <a:gd name="T32" fmla="*/ 19 w 59"/>
                  <a:gd name="T33" fmla="*/ 3 h 51"/>
                  <a:gd name="T34" fmla="*/ 13 w 59"/>
                  <a:gd name="T35" fmla="*/ 1 h 51"/>
                  <a:gd name="T36" fmla="*/ 8 w 59"/>
                  <a:gd name="T37" fmla="*/ 3 h 51"/>
                  <a:gd name="T38" fmla="*/ 7 w 59"/>
                  <a:gd name="T39" fmla="*/ 6 h 51"/>
                  <a:gd name="T40" fmla="*/ 6 w 59"/>
                  <a:gd name="T41" fmla="*/ 10 h 51"/>
                  <a:gd name="T42" fmla="*/ 5 w 59"/>
                  <a:gd name="T43" fmla="*/ 16 h 51"/>
                  <a:gd name="T44" fmla="*/ 1 w 59"/>
                  <a:gd name="T45" fmla="*/ 24 h 51"/>
                  <a:gd name="T46" fmla="*/ 2 w 59"/>
                  <a:gd name="T47" fmla="*/ 38 h 51"/>
                  <a:gd name="T48" fmla="*/ 5 w 59"/>
                  <a:gd name="T49" fmla="*/ 38 h 51"/>
                  <a:gd name="T50" fmla="*/ 9 w 59"/>
                  <a:gd name="T51" fmla="*/ 39 h 51"/>
                  <a:gd name="T52" fmla="*/ 14 w 59"/>
                  <a:gd name="T53" fmla="*/ 43 h 51"/>
                  <a:gd name="T54" fmla="*/ 14 w 59"/>
                  <a:gd name="T55" fmla="*/ 45 h 51"/>
                  <a:gd name="T56" fmla="*/ 16 w 59"/>
                  <a:gd name="T57" fmla="*/ 48 h 51"/>
                  <a:gd name="T58" fmla="*/ 23 w 59"/>
                  <a:gd name="T59" fmla="*/ 47 h 51"/>
                  <a:gd name="T60" fmla="*/ 22 w 59"/>
                  <a:gd name="T61" fmla="*/ 48 h 51"/>
                  <a:gd name="T62" fmla="*/ 27 w 59"/>
                  <a:gd name="T63" fmla="*/ 47 h 51"/>
                  <a:gd name="T64" fmla="*/ 30 w 59"/>
                  <a:gd name="T65" fmla="*/ 47 h 51"/>
                  <a:gd name="T66" fmla="*/ 31 w 59"/>
                  <a:gd name="T67" fmla="*/ 42 h 51"/>
                  <a:gd name="T68" fmla="*/ 31 w 59"/>
                  <a:gd name="T69" fmla="*/ 4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9" h="51">
                    <a:moveTo>
                      <a:pt x="31" y="42"/>
                    </a:moveTo>
                    <a:cubicBezTo>
                      <a:pt x="32" y="40"/>
                      <a:pt x="35" y="37"/>
                      <a:pt x="37" y="37"/>
                    </a:cubicBezTo>
                    <a:cubicBezTo>
                      <a:pt x="38" y="36"/>
                      <a:pt x="40" y="36"/>
                      <a:pt x="40" y="36"/>
                    </a:cubicBezTo>
                    <a:cubicBezTo>
                      <a:pt x="41" y="37"/>
                      <a:pt x="42" y="39"/>
                      <a:pt x="43" y="38"/>
                    </a:cubicBezTo>
                    <a:cubicBezTo>
                      <a:pt x="45" y="37"/>
                      <a:pt x="46" y="34"/>
                      <a:pt x="47" y="32"/>
                    </a:cubicBezTo>
                    <a:cubicBezTo>
                      <a:pt x="47" y="31"/>
                      <a:pt x="48" y="29"/>
                      <a:pt x="48" y="28"/>
                    </a:cubicBezTo>
                    <a:cubicBezTo>
                      <a:pt x="49" y="27"/>
                      <a:pt x="50" y="28"/>
                      <a:pt x="51" y="27"/>
                    </a:cubicBezTo>
                    <a:cubicBezTo>
                      <a:pt x="51" y="25"/>
                      <a:pt x="53" y="14"/>
                      <a:pt x="56" y="14"/>
                    </a:cubicBezTo>
                    <a:cubicBezTo>
                      <a:pt x="58" y="14"/>
                      <a:pt x="59" y="12"/>
                      <a:pt x="59" y="11"/>
                    </a:cubicBezTo>
                    <a:cubicBezTo>
                      <a:pt x="59" y="9"/>
                      <a:pt x="57" y="9"/>
                      <a:pt x="57" y="8"/>
                    </a:cubicBezTo>
                    <a:cubicBezTo>
                      <a:pt x="57" y="7"/>
                      <a:pt x="56" y="7"/>
                      <a:pt x="56" y="6"/>
                    </a:cubicBezTo>
                    <a:cubicBezTo>
                      <a:pt x="55" y="4"/>
                      <a:pt x="55" y="3"/>
                      <a:pt x="54" y="1"/>
                    </a:cubicBezTo>
                    <a:cubicBezTo>
                      <a:pt x="53" y="2"/>
                      <a:pt x="50" y="5"/>
                      <a:pt x="48" y="5"/>
                    </a:cubicBezTo>
                    <a:cubicBezTo>
                      <a:pt x="45" y="4"/>
                      <a:pt x="43" y="4"/>
                      <a:pt x="40" y="4"/>
                    </a:cubicBezTo>
                    <a:cubicBezTo>
                      <a:pt x="37" y="4"/>
                      <a:pt x="35" y="6"/>
                      <a:pt x="32" y="6"/>
                    </a:cubicBezTo>
                    <a:cubicBezTo>
                      <a:pt x="30" y="6"/>
                      <a:pt x="28" y="3"/>
                      <a:pt x="26" y="4"/>
                    </a:cubicBezTo>
                    <a:cubicBezTo>
                      <a:pt x="22" y="6"/>
                      <a:pt x="21" y="5"/>
                      <a:pt x="19" y="3"/>
                    </a:cubicBezTo>
                    <a:cubicBezTo>
                      <a:pt x="18" y="2"/>
                      <a:pt x="15" y="0"/>
                      <a:pt x="13" y="1"/>
                    </a:cubicBezTo>
                    <a:cubicBezTo>
                      <a:pt x="12" y="1"/>
                      <a:pt x="9" y="2"/>
                      <a:pt x="8" y="3"/>
                    </a:cubicBezTo>
                    <a:cubicBezTo>
                      <a:pt x="7" y="4"/>
                      <a:pt x="8" y="5"/>
                      <a:pt x="7" y="6"/>
                    </a:cubicBezTo>
                    <a:cubicBezTo>
                      <a:pt x="7" y="7"/>
                      <a:pt x="6" y="9"/>
                      <a:pt x="6" y="10"/>
                    </a:cubicBezTo>
                    <a:cubicBezTo>
                      <a:pt x="5" y="12"/>
                      <a:pt x="5" y="14"/>
                      <a:pt x="5" y="16"/>
                    </a:cubicBezTo>
                    <a:cubicBezTo>
                      <a:pt x="5" y="19"/>
                      <a:pt x="2" y="21"/>
                      <a:pt x="1" y="24"/>
                    </a:cubicBezTo>
                    <a:cubicBezTo>
                      <a:pt x="0" y="27"/>
                      <a:pt x="1" y="34"/>
                      <a:pt x="2" y="38"/>
                    </a:cubicBezTo>
                    <a:cubicBezTo>
                      <a:pt x="2" y="39"/>
                      <a:pt x="4" y="38"/>
                      <a:pt x="5" y="38"/>
                    </a:cubicBezTo>
                    <a:cubicBezTo>
                      <a:pt x="6" y="38"/>
                      <a:pt x="8" y="39"/>
                      <a:pt x="9" y="39"/>
                    </a:cubicBezTo>
                    <a:cubicBezTo>
                      <a:pt x="10" y="40"/>
                      <a:pt x="14" y="42"/>
                      <a:pt x="14" y="43"/>
                    </a:cubicBezTo>
                    <a:cubicBezTo>
                      <a:pt x="14" y="44"/>
                      <a:pt x="14" y="44"/>
                      <a:pt x="14" y="45"/>
                    </a:cubicBezTo>
                    <a:cubicBezTo>
                      <a:pt x="14" y="46"/>
                      <a:pt x="15" y="47"/>
                      <a:pt x="16" y="48"/>
                    </a:cubicBezTo>
                    <a:cubicBezTo>
                      <a:pt x="18" y="51"/>
                      <a:pt x="21" y="46"/>
                      <a:pt x="23" y="47"/>
                    </a:cubicBezTo>
                    <a:cubicBezTo>
                      <a:pt x="23" y="47"/>
                      <a:pt x="22" y="48"/>
                      <a:pt x="22" y="48"/>
                    </a:cubicBezTo>
                    <a:cubicBezTo>
                      <a:pt x="22" y="47"/>
                      <a:pt x="27" y="47"/>
                      <a:pt x="27" y="47"/>
                    </a:cubicBezTo>
                    <a:cubicBezTo>
                      <a:pt x="29" y="47"/>
                      <a:pt x="29" y="45"/>
                      <a:pt x="30" y="47"/>
                    </a:cubicBezTo>
                    <a:cubicBezTo>
                      <a:pt x="31" y="45"/>
                      <a:pt x="31" y="44"/>
                      <a:pt x="31" y="42"/>
                    </a:cubicBezTo>
                    <a:cubicBezTo>
                      <a:pt x="32" y="41"/>
                      <a:pt x="31" y="43"/>
                      <a:pt x="31" y="4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6" name="Freeform 758">
                <a:extLst>
                  <a:ext uri="{FF2B5EF4-FFF2-40B4-BE49-F238E27FC236}">
                    <a16:creationId xmlns:a16="http://schemas.microsoft.com/office/drawing/2014/main" id="{49FF09B5-1695-47DD-B7AA-1823C94DE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829" y="4161343"/>
                <a:ext cx="197504" cy="140164"/>
              </a:xfrm>
              <a:custGeom>
                <a:avLst/>
                <a:gdLst>
                  <a:gd name="T0" fmla="*/ 35 w 42"/>
                  <a:gd name="T1" fmla="*/ 20 h 30"/>
                  <a:gd name="T2" fmla="*/ 41 w 42"/>
                  <a:gd name="T3" fmla="*/ 17 h 30"/>
                  <a:gd name="T4" fmla="*/ 38 w 42"/>
                  <a:gd name="T5" fmla="*/ 13 h 30"/>
                  <a:gd name="T6" fmla="*/ 33 w 42"/>
                  <a:gd name="T7" fmla="*/ 10 h 30"/>
                  <a:gd name="T8" fmla="*/ 32 w 42"/>
                  <a:gd name="T9" fmla="*/ 7 h 30"/>
                  <a:gd name="T10" fmla="*/ 30 w 42"/>
                  <a:gd name="T11" fmla="*/ 1 h 30"/>
                  <a:gd name="T12" fmla="*/ 26 w 42"/>
                  <a:gd name="T13" fmla="*/ 0 h 30"/>
                  <a:gd name="T14" fmla="*/ 22 w 42"/>
                  <a:gd name="T15" fmla="*/ 2 h 30"/>
                  <a:gd name="T16" fmla="*/ 19 w 42"/>
                  <a:gd name="T17" fmla="*/ 4 h 30"/>
                  <a:gd name="T18" fmla="*/ 17 w 42"/>
                  <a:gd name="T19" fmla="*/ 5 h 30"/>
                  <a:gd name="T20" fmla="*/ 11 w 42"/>
                  <a:gd name="T21" fmla="*/ 10 h 30"/>
                  <a:gd name="T22" fmla="*/ 9 w 42"/>
                  <a:gd name="T23" fmla="*/ 10 h 30"/>
                  <a:gd name="T24" fmla="*/ 7 w 42"/>
                  <a:gd name="T25" fmla="*/ 14 h 30"/>
                  <a:gd name="T26" fmla="*/ 5 w 42"/>
                  <a:gd name="T27" fmla="*/ 16 h 30"/>
                  <a:gd name="T28" fmla="*/ 2 w 42"/>
                  <a:gd name="T29" fmla="*/ 18 h 30"/>
                  <a:gd name="T30" fmla="*/ 1 w 42"/>
                  <a:gd name="T31" fmla="*/ 24 h 30"/>
                  <a:gd name="T32" fmla="*/ 8 w 42"/>
                  <a:gd name="T33" fmla="*/ 28 h 30"/>
                  <a:gd name="T34" fmla="*/ 16 w 42"/>
                  <a:gd name="T35" fmla="*/ 30 h 30"/>
                  <a:gd name="T36" fmla="*/ 15 w 42"/>
                  <a:gd name="T37" fmla="*/ 22 h 30"/>
                  <a:gd name="T38" fmla="*/ 26 w 42"/>
                  <a:gd name="T39" fmla="*/ 22 h 30"/>
                  <a:gd name="T40" fmla="*/ 35 w 42"/>
                  <a:gd name="T41" fmla="*/ 20 h 30"/>
                  <a:gd name="T42" fmla="*/ 35 w 42"/>
                  <a:gd name="T43" fmla="*/ 2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30">
                    <a:moveTo>
                      <a:pt x="35" y="20"/>
                    </a:moveTo>
                    <a:cubicBezTo>
                      <a:pt x="37" y="17"/>
                      <a:pt x="40" y="20"/>
                      <a:pt x="41" y="17"/>
                    </a:cubicBezTo>
                    <a:cubicBezTo>
                      <a:pt x="42" y="16"/>
                      <a:pt x="39" y="13"/>
                      <a:pt x="38" y="13"/>
                    </a:cubicBezTo>
                    <a:cubicBezTo>
                      <a:pt x="37" y="15"/>
                      <a:pt x="34" y="11"/>
                      <a:pt x="33" y="10"/>
                    </a:cubicBezTo>
                    <a:cubicBezTo>
                      <a:pt x="33" y="9"/>
                      <a:pt x="33" y="8"/>
                      <a:pt x="32" y="7"/>
                    </a:cubicBezTo>
                    <a:cubicBezTo>
                      <a:pt x="30" y="5"/>
                      <a:pt x="30" y="4"/>
                      <a:pt x="30" y="1"/>
                    </a:cubicBezTo>
                    <a:cubicBezTo>
                      <a:pt x="29" y="1"/>
                      <a:pt x="27" y="0"/>
                      <a:pt x="26" y="0"/>
                    </a:cubicBezTo>
                    <a:cubicBezTo>
                      <a:pt x="24" y="1"/>
                      <a:pt x="23" y="2"/>
                      <a:pt x="22" y="2"/>
                    </a:cubicBezTo>
                    <a:cubicBezTo>
                      <a:pt x="21" y="3"/>
                      <a:pt x="20" y="4"/>
                      <a:pt x="19" y="4"/>
                    </a:cubicBezTo>
                    <a:cubicBezTo>
                      <a:pt x="18" y="6"/>
                      <a:pt x="18" y="4"/>
                      <a:pt x="17" y="5"/>
                    </a:cubicBezTo>
                    <a:cubicBezTo>
                      <a:pt x="15" y="6"/>
                      <a:pt x="13" y="11"/>
                      <a:pt x="11" y="10"/>
                    </a:cubicBezTo>
                    <a:cubicBezTo>
                      <a:pt x="10" y="10"/>
                      <a:pt x="9" y="8"/>
                      <a:pt x="9" y="10"/>
                    </a:cubicBezTo>
                    <a:cubicBezTo>
                      <a:pt x="8" y="11"/>
                      <a:pt x="8" y="13"/>
                      <a:pt x="7" y="14"/>
                    </a:cubicBezTo>
                    <a:cubicBezTo>
                      <a:pt x="7" y="15"/>
                      <a:pt x="7" y="16"/>
                      <a:pt x="5" y="16"/>
                    </a:cubicBezTo>
                    <a:cubicBezTo>
                      <a:pt x="5" y="16"/>
                      <a:pt x="1" y="17"/>
                      <a:pt x="2" y="18"/>
                    </a:cubicBezTo>
                    <a:cubicBezTo>
                      <a:pt x="5" y="20"/>
                      <a:pt x="0" y="23"/>
                      <a:pt x="1" y="24"/>
                    </a:cubicBezTo>
                    <a:cubicBezTo>
                      <a:pt x="3" y="25"/>
                      <a:pt x="5" y="30"/>
                      <a:pt x="8" y="28"/>
                    </a:cubicBezTo>
                    <a:cubicBezTo>
                      <a:pt x="11" y="26"/>
                      <a:pt x="13" y="27"/>
                      <a:pt x="16" y="30"/>
                    </a:cubicBezTo>
                    <a:cubicBezTo>
                      <a:pt x="15" y="27"/>
                      <a:pt x="15" y="24"/>
                      <a:pt x="15" y="22"/>
                    </a:cubicBezTo>
                    <a:cubicBezTo>
                      <a:pt x="19" y="22"/>
                      <a:pt x="22" y="22"/>
                      <a:pt x="26" y="22"/>
                    </a:cubicBezTo>
                    <a:cubicBezTo>
                      <a:pt x="29" y="22"/>
                      <a:pt x="34" y="23"/>
                      <a:pt x="35" y="20"/>
                    </a:cubicBezTo>
                    <a:cubicBezTo>
                      <a:pt x="36" y="18"/>
                      <a:pt x="35" y="20"/>
                      <a:pt x="35" y="2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7" name="Freeform 759">
                <a:extLst>
                  <a:ext uri="{FF2B5EF4-FFF2-40B4-BE49-F238E27FC236}">
                    <a16:creationId xmlns:a16="http://schemas.microsoft.com/office/drawing/2014/main" id="{D9136E5F-B640-4A86-A71F-C0C4C45933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0029" y="4264874"/>
                <a:ext cx="46190" cy="111494"/>
              </a:xfrm>
              <a:custGeom>
                <a:avLst/>
                <a:gdLst>
                  <a:gd name="T0" fmla="*/ 9 w 10"/>
                  <a:gd name="T1" fmla="*/ 10 h 24"/>
                  <a:gd name="T2" fmla="*/ 8 w 10"/>
                  <a:gd name="T3" fmla="*/ 6 h 24"/>
                  <a:gd name="T4" fmla="*/ 5 w 10"/>
                  <a:gd name="T5" fmla="*/ 0 h 24"/>
                  <a:gd name="T6" fmla="*/ 2 w 10"/>
                  <a:gd name="T7" fmla="*/ 0 h 24"/>
                  <a:gd name="T8" fmla="*/ 2 w 10"/>
                  <a:gd name="T9" fmla="*/ 3 h 24"/>
                  <a:gd name="T10" fmla="*/ 2 w 10"/>
                  <a:gd name="T11" fmla="*/ 9 h 24"/>
                  <a:gd name="T12" fmla="*/ 4 w 10"/>
                  <a:gd name="T13" fmla="*/ 15 h 24"/>
                  <a:gd name="T14" fmla="*/ 4 w 10"/>
                  <a:gd name="T15" fmla="*/ 21 h 24"/>
                  <a:gd name="T16" fmla="*/ 6 w 10"/>
                  <a:gd name="T17" fmla="*/ 23 h 24"/>
                  <a:gd name="T18" fmla="*/ 9 w 10"/>
                  <a:gd name="T19" fmla="*/ 23 h 24"/>
                  <a:gd name="T20" fmla="*/ 9 w 10"/>
                  <a:gd name="T21" fmla="*/ 10 h 24"/>
                  <a:gd name="T22" fmla="*/ 9 w 10"/>
                  <a:gd name="T23" fmla="*/ 1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24">
                    <a:moveTo>
                      <a:pt x="9" y="10"/>
                    </a:moveTo>
                    <a:cubicBezTo>
                      <a:pt x="9" y="9"/>
                      <a:pt x="9" y="7"/>
                      <a:pt x="8" y="6"/>
                    </a:cubicBezTo>
                    <a:cubicBezTo>
                      <a:pt x="7" y="5"/>
                      <a:pt x="4" y="1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0" y="0"/>
                      <a:pt x="2" y="2"/>
                      <a:pt x="2" y="3"/>
                    </a:cubicBezTo>
                    <a:cubicBezTo>
                      <a:pt x="3" y="5"/>
                      <a:pt x="2" y="7"/>
                      <a:pt x="2" y="9"/>
                    </a:cubicBezTo>
                    <a:cubicBezTo>
                      <a:pt x="1" y="12"/>
                      <a:pt x="3" y="12"/>
                      <a:pt x="4" y="15"/>
                    </a:cubicBezTo>
                    <a:cubicBezTo>
                      <a:pt x="4" y="17"/>
                      <a:pt x="3" y="19"/>
                      <a:pt x="4" y="21"/>
                    </a:cubicBezTo>
                    <a:cubicBezTo>
                      <a:pt x="4" y="22"/>
                      <a:pt x="5" y="23"/>
                      <a:pt x="6" y="23"/>
                    </a:cubicBezTo>
                    <a:cubicBezTo>
                      <a:pt x="7" y="24"/>
                      <a:pt x="10" y="24"/>
                      <a:pt x="9" y="23"/>
                    </a:cubicBezTo>
                    <a:cubicBezTo>
                      <a:pt x="9" y="19"/>
                      <a:pt x="9" y="15"/>
                      <a:pt x="9" y="10"/>
                    </a:cubicBezTo>
                    <a:cubicBezTo>
                      <a:pt x="9" y="7"/>
                      <a:pt x="9" y="13"/>
                      <a:pt x="9" y="10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8" name="Freeform 760">
                <a:extLst>
                  <a:ext uri="{FF2B5EF4-FFF2-40B4-BE49-F238E27FC236}">
                    <a16:creationId xmlns:a16="http://schemas.microsoft.com/office/drawing/2014/main" id="{67C4E7B0-44E6-4391-9F15-2FDD2A16F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9340" y="4269654"/>
                <a:ext cx="148127" cy="144943"/>
              </a:xfrm>
              <a:custGeom>
                <a:avLst/>
                <a:gdLst>
                  <a:gd name="T0" fmla="*/ 26 w 32"/>
                  <a:gd name="T1" fmla="*/ 4 h 31"/>
                  <a:gd name="T2" fmla="*/ 21 w 32"/>
                  <a:gd name="T3" fmla="*/ 5 h 31"/>
                  <a:gd name="T4" fmla="*/ 15 w 32"/>
                  <a:gd name="T5" fmla="*/ 1 h 31"/>
                  <a:gd name="T6" fmla="*/ 13 w 32"/>
                  <a:gd name="T7" fmla="*/ 1 h 31"/>
                  <a:gd name="T8" fmla="*/ 10 w 32"/>
                  <a:gd name="T9" fmla="*/ 2 h 31"/>
                  <a:gd name="T10" fmla="*/ 6 w 32"/>
                  <a:gd name="T11" fmla="*/ 2 h 31"/>
                  <a:gd name="T12" fmla="*/ 4 w 32"/>
                  <a:gd name="T13" fmla="*/ 3 h 31"/>
                  <a:gd name="T14" fmla="*/ 3 w 32"/>
                  <a:gd name="T15" fmla="*/ 6 h 31"/>
                  <a:gd name="T16" fmla="*/ 5 w 32"/>
                  <a:gd name="T17" fmla="*/ 7 h 31"/>
                  <a:gd name="T18" fmla="*/ 3 w 32"/>
                  <a:gd name="T19" fmla="*/ 9 h 31"/>
                  <a:gd name="T20" fmla="*/ 5 w 32"/>
                  <a:gd name="T21" fmla="*/ 12 h 31"/>
                  <a:gd name="T22" fmla="*/ 3 w 32"/>
                  <a:gd name="T23" fmla="*/ 13 h 31"/>
                  <a:gd name="T24" fmla="*/ 2 w 32"/>
                  <a:gd name="T25" fmla="*/ 16 h 31"/>
                  <a:gd name="T26" fmla="*/ 2 w 32"/>
                  <a:gd name="T27" fmla="*/ 19 h 31"/>
                  <a:gd name="T28" fmla="*/ 3 w 32"/>
                  <a:gd name="T29" fmla="*/ 23 h 31"/>
                  <a:gd name="T30" fmla="*/ 7 w 32"/>
                  <a:gd name="T31" fmla="*/ 26 h 31"/>
                  <a:gd name="T32" fmla="*/ 7 w 32"/>
                  <a:gd name="T33" fmla="*/ 31 h 31"/>
                  <a:gd name="T34" fmla="*/ 19 w 32"/>
                  <a:gd name="T35" fmla="*/ 28 h 31"/>
                  <a:gd name="T36" fmla="*/ 26 w 32"/>
                  <a:gd name="T37" fmla="*/ 28 h 31"/>
                  <a:gd name="T38" fmla="*/ 30 w 32"/>
                  <a:gd name="T39" fmla="*/ 26 h 31"/>
                  <a:gd name="T40" fmla="*/ 28 w 32"/>
                  <a:gd name="T41" fmla="*/ 21 h 31"/>
                  <a:gd name="T42" fmla="*/ 30 w 32"/>
                  <a:gd name="T43" fmla="*/ 15 h 31"/>
                  <a:gd name="T44" fmla="*/ 26 w 32"/>
                  <a:gd name="T45" fmla="*/ 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" h="31">
                    <a:moveTo>
                      <a:pt x="26" y="4"/>
                    </a:moveTo>
                    <a:cubicBezTo>
                      <a:pt x="24" y="4"/>
                      <a:pt x="23" y="6"/>
                      <a:pt x="21" y="5"/>
                    </a:cubicBezTo>
                    <a:cubicBezTo>
                      <a:pt x="19" y="5"/>
                      <a:pt x="17" y="0"/>
                      <a:pt x="15" y="1"/>
                    </a:cubicBezTo>
                    <a:cubicBezTo>
                      <a:pt x="14" y="2"/>
                      <a:pt x="13" y="2"/>
                      <a:pt x="13" y="1"/>
                    </a:cubicBezTo>
                    <a:cubicBezTo>
                      <a:pt x="12" y="0"/>
                      <a:pt x="11" y="2"/>
                      <a:pt x="10" y="2"/>
                    </a:cubicBezTo>
                    <a:cubicBezTo>
                      <a:pt x="8" y="3"/>
                      <a:pt x="7" y="2"/>
                      <a:pt x="6" y="2"/>
                    </a:cubicBezTo>
                    <a:cubicBezTo>
                      <a:pt x="5" y="1"/>
                      <a:pt x="5" y="3"/>
                      <a:pt x="4" y="3"/>
                    </a:cubicBezTo>
                    <a:cubicBezTo>
                      <a:pt x="3" y="3"/>
                      <a:pt x="2" y="5"/>
                      <a:pt x="3" y="6"/>
                    </a:cubicBezTo>
                    <a:cubicBezTo>
                      <a:pt x="3" y="7"/>
                      <a:pt x="5" y="7"/>
                      <a:pt x="5" y="7"/>
                    </a:cubicBezTo>
                    <a:cubicBezTo>
                      <a:pt x="5" y="8"/>
                      <a:pt x="3" y="9"/>
                      <a:pt x="3" y="9"/>
                    </a:cubicBezTo>
                    <a:cubicBezTo>
                      <a:pt x="3" y="10"/>
                      <a:pt x="5" y="11"/>
                      <a:pt x="5" y="12"/>
                    </a:cubicBezTo>
                    <a:cubicBezTo>
                      <a:pt x="5" y="12"/>
                      <a:pt x="3" y="11"/>
                      <a:pt x="3" y="13"/>
                    </a:cubicBezTo>
                    <a:cubicBezTo>
                      <a:pt x="3" y="14"/>
                      <a:pt x="4" y="16"/>
                      <a:pt x="2" y="16"/>
                    </a:cubicBezTo>
                    <a:cubicBezTo>
                      <a:pt x="3" y="17"/>
                      <a:pt x="3" y="18"/>
                      <a:pt x="2" y="19"/>
                    </a:cubicBezTo>
                    <a:cubicBezTo>
                      <a:pt x="2" y="21"/>
                      <a:pt x="0" y="21"/>
                      <a:pt x="3" y="23"/>
                    </a:cubicBezTo>
                    <a:cubicBezTo>
                      <a:pt x="4" y="23"/>
                      <a:pt x="6" y="24"/>
                      <a:pt x="7" y="26"/>
                    </a:cubicBezTo>
                    <a:cubicBezTo>
                      <a:pt x="8" y="27"/>
                      <a:pt x="7" y="29"/>
                      <a:pt x="7" y="31"/>
                    </a:cubicBezTo>
                    <a:cubicBezTo>
                      <a:pt x="11" y="30"/>
                      <a:pt x="14" y="28"/>
                      <a:pt x="19" y="28"/>
                    </a:cubicBezTo>
                    <a:cubicBezTo>
                      <a:pt x="21" y="27"/>
                      <a:pt x="24" y="28"/>
                      <a:pt x="26" y="28"/>
                    </a:cubicBezTo>
                    <a:cubicBezTo>
                      <a:pt x="28" y="28"/>
                      <a:pt x="31" y="29"/>
                      <a:pt x="30" y="26"/>
                    </a:cubicBezTo>
                    <a:cubicBezTo>
                      <a:pt x="30" y="24"/>
                      <a:pt x="29" y="23"/>
                      <a:pt x="28" y="21"/>
                    </a:cubicBezTo>
                    <a:cubicBezTo>
                      <a:pt x="28" y="19"/>
                      <a:pt x="29" y="17"/>
                      <a:pt x="30" y="15"/>
                    </a:cubicBezTo>
                    <a:cubicBezTo>
                      <a:pt x="31" y="11"/>
                      <a:pt x="32" y="4"/>
                      <a:pt x="26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9" name="Freeform 761">
                <a:extLst>
                  <a:ext uri="{FF2B5EF4-FFF2-40B4-BE49-F238E27FC236}">
                    <a16:creationId xmlns:a16="http://schemas.microsoft.com/office/drawing/2014/main" id="{6EBA1627-A729-4059-B723-C0B97878E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5169" y="4264874"/>
                <a:ext cx="106717" cy="140164"/>
              </a:xfrm>
              <a:custGeom>
                <a:avLst/>
                <a:gdLst>
                  <a:gd name="T0" fmla="*/ 19 w 23"/>
                  <a:gd name="T1" fmla="*/ 13 h 30"/>
                  <a:gd name="T2" fmla="*/ 18 w 23"/>
                  <a:gd name="T3" fmla="*/ 6 h 30"/>
                  <a:gd name="T4" fmla="*/ 17 w 23"/>
                  <a:gd name="T5" fmla="*/ 0 h 30"/>
                  <a:gd name="T6" fmla="*/ 3 w 23"/>
                  <a:gd name="T7" fmla="*/ 0 h 30"/>
                  <a:gd name="T8" fmla="*/ 4 w 23"/>
                  <a:gd name="T9" fmla="*/ 11 h 30"/>
                  <a:gd name="T10" fmla="*/ 1 w 23"/>
                  <a:gd name="T11" fmla="*/ 22 h 30"/>
                  <a:gd name="T12" fmla="*/ 3 w 23"/>
                  <a:gd name="T13" fmla="*/ 30 h 30"/>
                  <a:gd name="T14" fmla="*/ 10 w 23"/>
                  <a:gd name="T15" fmla="*/ 29 h 30"/>
                  <a:gd name="T16" fmla="*/ 23 w 23"/>
                  <a:gd name="T17" fmla="*/ 24 h 30"/>
                  <a:gd name="T18" fmla="*/ 20 w 23"/>
                  <a:gd name="T19" fmla="*/ 19 h 30"/>
                  <a:gd name="T20" fmla="*/ 19 w 23"/>
                  <a:gd name="T21" fmla="*/ 13 h 30"/>
                  <a:gd name="T22" fmla="*/ 19 w 23"/>
                  <a:gd name="T23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30">
                    <a:moveTo>
                      <a:pt x="19" y="13"/>
                    </a:moveTo>
                    <a:cubicBezTo>
                      <a:pt x="17" y="11"/>
                      <a:pt x="18" y="8"/>
                      <a:pt x="18" y="6"/>
                    </a:cubicBezTo>
                    <a:cubicBezTo>
                      <a:pt x="19" y="4"/>
                      <a:pt x="16" y="2"/>
                      <a:pt x="17" y="0"/>
                    </a:cubicBezTo>
                    <a:cubicBezTo>
                      <a:pt x="12" y="0"/>
                      <a:pt x="8" y="0"/>
                      <a:pt x="3" y="0"/>
                    </a:cubicBezTo>
                    <a:cubicBezTo>
                      <a:pt x="3" y="3"/>
                      <a:pt x="4" y="7"/>
                      <a:pt x="4" y="11"/>
                    </a:cubicBezTo>
                    <a:cubicBezTo>
                      <a:pt x="4" y="15"/>
                      <a:pt x="0" y="18"/>
                      <a:pt x="1" y="22"/>
                    </a:cubicBezTo>
                    <a:cubicBezTo>
                      <a:pt x="2" y="25"/>
                      <a:pt x="4" y="26"/>
                      <a:pt x="3" y="30"/>
                    </a:cubicBezTo>
                    <a:cubicBezTo>
                      <a:pt x="6" y="30"/>
                      <a:pt x="7" y="30"/>
                      <a:pt x="10" y="29"/>
                    </a:cubicBezTo>
                    <a:cubicBezTo>
                      <a:pt x="15" y="28"/>
                      <a:pt x="19" y="26"/>
                      <a:pt x="23" y="24"/>
                    </a:cubicBezTo>
                    <a:cubicBezTo>
                      <a:pt x="21" y="23"/>
                      <a:pt x="20" y="21"/>
                      <a:pt x="20" y="19"/>
                    </a:cubicBezTo>
                    <a:cubicBezTo>
                      <a:pt x="20" y="17"/>
                      <a:pt x="20" y="15"/>
                      <a:pt x="19" y="13"/>
                    </a:cubicBezTo>
                    <a:cubicBezTo>
                      <a:pt x="17" y="11"/>
                      <a:pt x="20" y="15"/>
                      <a:pt x="19" y="1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0" name="Freeform 762">
                <a:extLst>
                  <a:ext uri="{FF2B5EF4-FFF2-40B4-BE49-F238E27FC236}">
                    <a16:creationId xmlns:a16="http://schemas.microsoft.com/office/drawing/2014/main" id="{B9777DAF-515F-46A4-B00C-0648C50EDE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1031" y="4279209"/>
                <a:ext cx="70082" cy="84416"/>
              </a:xfrm>
              <a:custGeom>
                <a:avLst/>
                <a:gdLst>
                  <a:gd name="T0" fmla="*/ 12 w 15"/>
                  <a:gd name="T1" fmla="*/ 14 h 18"/>
                  <a:gd name="T2" fmla="*/ 14 w 15"/>
                  <a:gd name="T3" fmla="*/ 6 h 18"/>
                  <a:gd name="T4" fmla="*/ 5 w 15"/>
                  <a:gd name="T5" fmla="*/ 3 h 18"/>
                  <a:gd name="T6" fmla="*/ 1 w 15"/>
                  <a:gd name="T7" fmla="*/ 8 h 18"/>
                  <a:gd name="T8" fmla="*/ 4 w 15"/>
                  <a:gd name="T9" fmla="*/ 12 h 18"/>
                  <a:gd name="T10" fmla="*/ 7 w 15"/>
                  <a:gd name="T11" fmla="*/ 16 h 18"/>
                  <a:gd name="T12" fmla="*/ 10 w 15"/>
                  <a:gd name="T13" fmla="*/ 16 h 18"/>
                  <a:gd name="T14" fmla="*/ 12 w 15"/>
                  <a:gd name="T15" fmla="*/ 14 h 18"/>
                  <a:gd name="T16" fmla="*/ 12 w 15"/>
                  <a:gd name="T17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8">
                    <a:moveTo>
                      <a:pt x="12" y="14"/>
                    </a:moveTo>
                    <a:cubicBezTo>
                      <a:pt x="15" y="13"/>
                      <a:pt x="15" y="8"/>
                      <a:pt x="14" y="6"/>
                    </a:cubicBezTo>
                    <a:cubicBezTo>
                      <a:pt x="12" y="2"/>
                      <a:pt x="8" y="0"/>
                      <a:pt x="5" y="3"/>
                    </a:cubicBezTo>
                    <a:cubicBezTo>
                      <a:pt x="3" y="4"/>
                      <a:pt x="0" y="6"/>
                      <a:pt x="1" y="8"/>
                    </a:cubicBezTo>
                    <a:cubicBezTo>
                      <a:pt x="2" y="10"/>
                      <a:pt x="2" y="11"/>
                      <a:pt x="4" y="12"/>
                    </a:cubicBezTo>
                    <a:cubicBezTo>
                      <a:pt x="5" y="14"/>
                      <a:pt x="5" y="15"/>
                      <a:pt x="7" y="16"/>
                    </a:cubicBezTo>
                    <a:cubicBezTo>
                      <a:pt x="8" y="17"/>
                      <a:pt x="9" y="18"/>
                      <a:pt x="10" y="16"/>
                    </a:cubicBezTo>
                    <a:cubicBezTo>
                      <a:pt x="10" y="15"/>
                      <a:pt x="11" y="15"/>
                      <a:pt x="12" y="14"/>
                    </a:cubicBezTo>
                    <a:cubicBezTo>
                      <a:pt x="14" y="13"/>
                      <a:pt x="11" y="15"/>
                      <a:pt x="12" y="1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1" name="Freeform 763">
                <a:extLst>
                  <a:ext uri="{FF2B5EF4-FFF2-40B4-BE49-F238E27FC236}">
                    <a16:creationId xmlns:a16="http://schemas.microsoft.com/office/drawing/2014/main" id="{D9D00463-04FA-4AC2-A0D2-EB79F4147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2444" y="4315844"/>
                <a:ext cx="103530" cy="98753"/>
              </a:xfrm>
              <a:custGeom>
                <a:avLst/>
                <a:gdLst>
                  <a:gd name="T0" fmla="*/ 21 w 22"/>
                  <a:gd name="T1" fmla="*/ 17 h 21"/>
                  <a:gd name="T2" fmla="*/ 19 w 22"/>
                  <a:gd name="T3" fmla="*/ 13 h 21"/>
                  <a:gd name="T4" fmla="*/ 16 w 22"/>
                  <a:gd name="T5" fmla="*/ 11 h 21"/>
                  <a:gd name="T6" fmla="*/ 16 w 22"/>
                  <a:gd name="T7" fmla="*/ 6 h 21"/>
                  <a:gd name="T8" fmla="*/ 13 w 22"/>
                  <a:gd name="T9" fmla="*/ 8 h 21"/>
                  <a:gd name="T10" fmla="*/ 9 w 22"/>
                  <a:gd name="T11" fmla="*/ 1 h 21"/>
                  <a:gd name="T12" fmla="*/ 5 w 22"/>
                  <a:gd name="T13" fmla="*/ 4 h 21"/>
                  <a:gd name="T14" fmla="*/ 0 w 22"/>
                  <a:gd name="T15" fmla="*/ 9 h 21"/>
                  <a:gd name="T16" fmla="*/ 12 w 22"/>
                  <a:gd name="T17" fmla="*/ 18 h 21"/>
                  <a:gd name="T18" fmla="*/ 19 w 22"/>
                  <a:gd name="T19" fmla="*/ 21 h 21"/>
                  <a:gd name="T20" fmla="*/ 21 w 22"/>
                  <a:gd name="T21" fmla="*/ 17 h 21"/>
                  <a:gd name="T22" fmla="*/ 21 w 22"/>
                  <a:gd name="T23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21">
                    <a:moveTo>
                      <a:pt x="21" y="17"/>
                    </a:moveTo>
                    <a:cubicBezTo>
                      <a:pt x="22" y="15"/>
                      <a:pt x="20" y="14"/>
                      <a:pt x="19" y="13"/>
                    </a:cubicBezTo>
                    <a:cubicBezTo>
                      <a:pt x="18" y="13"/>
                      <a:pt x="14" y="12"/>
                      <a:pt x="16" y="11"/>
                    </a:cubicBezTo>
                    <a:cubicBezTo>
                      <a:pt x="17" y="10"/>
                      <a:pt x="17" y="7"/>
                      <a:pt x="16" y="6"/>
                    </a:cubicBezTo>
                    <a:cubicBezTo>
                      <a:pt x="15" y="4"/>
                      <a:pt x="14" y="8"/>
                      <a:pt x="13" y="8"/>
                    </a:cubicBezTo>
                    <a:cubicBezTo>
                      <a:pt x="10" y="8"/>
                      <a:pt x="11" y="0"/>
                      <a:pt x="9" y="1"/>
                    </a:cubicBezTo>
                    <a:cubicBezTo>
                      <a:pt x="8" y="2"/>
                      <a:pt x="6" y="3"/>
                      <a:pt x="5" y="4"/>
                    </a:cubicBezTo>
                    <a:cubicBezTo>
                      <a:pt x="4" y="6"/>
                      <a:pt x="2" y="7"/>
                      <a:pt x="0" y="9"/>
                    </a:cubicBezTo>
                    <a:cubicBezTo>
                      <a:pt x="5" y="12"/>
                      <a:pt x="8" y="15"/>
                      <a:pt x="12" y="18"/>
                    </a:cubicBezTo>
                    <a:cubicBezTo>
                      <a:pt x="14" y="20"/>
                      <a:pt x="16" y="21"/>
                      <a:pt x="19" y="21"/>
                    </a:cubicBezTo>
                    <a:cubicBezTo>
                      <a:pt x="22" y="21"/>
                      <a:pt x="20" y="19"/>
                      <a:pt x="21" y="17"/>
                    </a:cubicBezTo>
                    <a:cubicBezTo>
                      <a:pt x="22" y="15"/>
                      <a:pt x="21" y="19"/>
                      <a:pt x="21" y="1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2" name="Freeform 764">
                <a:extLst>
                  <a:ext uri="{FF2B5EF4-FFF2-40B4-BE49-F238E27FC236}">
                    <a16:creationId xmlns:a16="http://schemas.microsoft.com/office/drawing/2014/main" id="{FC5CC0BB-5C24-47FE-8685-C3F46A9F75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175" y="4221871"/>
                <a:ext cx="162463" cy="136979"/>
              </a:xfrm>
              <a:custGeom>
                <a:avLst/>
                <a:gdLst>
                  <a:gd name="T0" fmla="*/ 10 w 35"/>
                  <a:gd name="T1" fmla="*/ 16 h 29"/>
                  <a:gd name="T2" fmla="*/ 20 w 35"/>
                  <a:gd name="T3" fmla="*/ 17 h 29"/>
                  <a:gd name="T4" fmla="*/ 21 w 35"/>
                  <a:gd name="T5" fmla="*/ 23 h 29"/>
                  <a:gd name="T6" fmla="*/ 25 w 35"/>
                  <a:gd name="T7" fmla="*/ 21 h 29"/>
                  <a:gd name="T8" fmla="*/ 29 w 35"/>
                  <a:gd name="T9" fmla="*/ 27 h 29"/>
                  <a:gd name="T10" fmla="*/ 31 w 35"/>
                  <a:gd name="T11" fmla="*/ 26 h 29"/>
                  <a:gd name="T12" fmla="*/ 33 w 35"/>
                  <a:gd name="T13" fmla="*/ 25 h 29"/>
                  <a:gd name="T14" fmla="*/ 33 w 35"/>
                  <a:gd name="T15" fmla="*/ 23 h 29"/>
                  <a:gd name="T16" fmla="*/ 35 w 35"/>
                  <a:gd name="T17" fmla="*/ 22 h 29"/>
                  <a:gd name="T18" fmla="*/ 34 w 35"/>
                  <a:gd name="T19" fmla="*/ 19 h 29"/>
                  <a:gd name="T20" fmla="*/ 33 w 35"/>
                  <a:gd name="T21" fmla="*/ 16 h 29"/>
                  <a:gd name="T22" fmla="*/ 33 w 35"/>
                  <a:gd name="T23" fmla="*/ 12 h 29"/>
                  <a:gd name="T24" fmla="*/ 32 w 35"/>
                  <a:gd name="T25" fmla="*/ 8 h 29"/>
                  <a:gd name="T26" fmla="*/ 26 w 35"/>
                  <a:gd name="T27" fmla="*/ 2 h 29"/>
                  <a:gd name="T28" fmla="*/ 24 w 35"/>
                  <a:gd name="T29" fmla="*/ 3 h 29"/>
                  <a:gd name="T30" fmla="*/ 22 w 35"/>
                  <a:gd name="T31" fmla="*/ 3 h 29"/>
                  <a:gd name="T32" fmla="*/ 19 w 35"/>
                  <a:gd name="T33" fmla="*/ 3 h 29"/>
                  <a:gd name="T34" fmla="*/ 18 w 35"/>
                  <a:gd name="T35" fmla="*/ 3 h 29"/>
                  <a:gd name="T36" fmla="*/ 15 w 35"/>
                  <a:gd name="T37" fmla="*/ 2 h 29"/>
                  <a:gd name="T38" fmla="*/ 10 w 35"/>
                  <a:gd name="T39" fmla="*/ 1 h 29"/>
                  <a:gd name="T40" fmla="*/ 5 w 35"/>
                  <a:gd name="T41" fmla="*/ 1 h 29"/>
                  <a:gd name="T42" fmla="*/ 5 w 35"/>
                  <a:gd name="T43" fmla="*/ 4 h 29"/>
                  <a:gd name="T44" fmla="*/ 3 w 35"/>
                  <a:gd name="T45" fmla="*/ 6 h 29"/>
                  <a:gd name="T46" fmla="*/ 0 w 35"/>
                  <a:gd name="T47" fmla="*/ 8 h 29"/>
                  <a:gd name="T48" fmla="*/ 3 w 35"/>
                  <a:gd name="T49" fmla="*/ 13 h 29"/>
                  <a:gd name="T50" fmla="*/ 8 w 35"/>
                  <a:gd name="T51" fmla="*/ 19 h 29"/>
                  <a:gd name="T52" fmla="*/ 10 w 35"/>
                  <a:gd name="T53" fmla="*/ 16 h 29"/>
                  <a:gd name="T54" fmla="*/ 10 w 35"/>
                  <a:gd name="T55" fmla="*/ 1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5" h="29">
                    <a:moveTo>
                      <a:pt x="10" y="16"/>
                    </a:moveTo>
                    <a:cubicBezTo>
                      <a:pt x="14" y="14"/>
                      <a:pt x="18" y="12"/>
                      <a:pt x="20" y="17"/>
                    </a:cubicBezTo>
                    <a:cubicBezTo>
                      <a:pt x="22" y="19"/>
                      <a:pt x="21" y="20"/>
                      <a:pt x="21" y="23"/>
                    </a:cubicBezTo>
                    <a:cubicBezTo>
                      <a:pt x="22" y="24"/>
                      <a:pt x="24" y="21"/>
                      <a:pt x="25" y="21"/>
                    </a:cubicBezTo>
                    <a:cubicBezTo>
                      <a:pt x="27" y="20"/>
                      <a:pt x="27" y="29"/>
                      <a:pt x="29" y="27"/>
                    </a:cubicBezTo>
                    <a:cubicBezTo>
                      <a:pt x="30" y="27"/>
                      <a:pt x="30" y="26"/>
                      <a:pt x="31" y="26"/>
                    </a:cubicBezTo>
                    <a:cubicBezTo>
                      <a:pt x="31" y="25"/>
                      <a:pt x="33" y="26"/>
                      <a:pt x="33" y="25"/>
                    </a:cubicBezTo>
                    <a:cubicBezTo>
                      <a:pt x="34" y="24"/>
                      <a:pt x="33" y="23"/>
                      <a:pt x="33" y="23"/>
                    </a:cubicBezTo>
                    <a:cubicBezTo>
                      <a:pt x="33" y="21"/>
                      <a:pt x="35" y="22"/>
                      <a:pt x="35" y="22"/>
                    </a:cubicBezTo>
                    <a:cubicBezTo>
                      <a:pt x="35" y="21"/>
                      <a:pt x="32" y="20"/>
                      <a:pt x="34" y="19"/>
                    </a:cubicBezTo>
                    <a:cubicBezTo>
                      <a:pt x="35" y="18"/>
                      <a:pt x="35" y="17"/>
                      <a:pt x="33" y="16"/>
                    </a:cubicBezTo>
                    <a:cubicBezTo>
                      <a:pt x="32" y="15"/>
                      <a:pt x="34" y="13"/>
                      <a:pt x="33" y="12"/>
                    </a:cubicBezTo>
                    <a:cubicBezTo>
                      <a:pt x="32" y="11"/>
                      <a:pt x="33" y="10"/>
                      <a:pt x="32" y="8"/>
                    </a:cubicBezTo>
                    <a:cubicBezTo>
                      <a:pt x="31" y="7"/>
                      <a:pt x="29" y="0"/>
                      <a:pt x="26" y="2"/>
                    </a:cubicBezTo>
                    <a:cubicBezTo>
                      <a:pt x="26" y="2"/>
                      <a:pt x="25" y="3"/>
                      <a:pt x="24" y="3"/>
                    </a:cubicBezTo>
                    <a:cubicBezTo>
                      <a:pt x="23" y="3"/>
                      <a:pt x="23" y="3"/>
                      <a:pt x="22" y="3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4"/>
                      <a:pt x="18" y="3"/>
                    </a:cubicBezTo>
                    <a:cubicBezTo>
                      <a:pt x="16" y="2"/>
                      <a:pt x="17" y="2"/>
                      <a:pt x="15" y="2"/>
                    </a:cubicBezTo>
                    <a:cubicBezTo>
                      <a:pt x="12" y="3"/>
                      <a:pt x="12" y="1"/>
                      <a:pt x="10" y="1"/>
                    </a:cubicBezTo>
                    <a:cubicBezTo>
                      <a:pt x="8" y="0"/>
                      <a:pt x="6" y="0"/>
                      <a:pt x="5" y="1"/>
                    </a:cubicBezTo>
                    <a:cubicBezTo>
                      <a:pt x="5" y="2"/>
                      <a:pt x="3" y="3"/>
                      <a:pt x="5" y="4"/>
                    </a:cubicBezTo>
                    <a:cubicBezTo>
                      <a:pt x="6" y="5"/>
                      <a:pt x="5" y="6"/>
                      <a:pt x="3" y="6"/>
                    </a:cubicBezTo>
                    <a:cubicBezTo>
                      <a:pt x="1" y="6"/>
                      <a:pt x="0" y="6"/>
                      <a:pt x="0" y="8"/>
                    </a:cubicBezTo>
                    <a:cubicBezTo>
                      <a:pt x="1" y="10"/>
                      <a:pt x="2" y="11"/>
                      <a:pt x="3" y="13"/>
                    </a:cubicBezTo>
                    <a:cubicBezTo>
                      <a:pt x="5" y="15"/>
                      <a:pt x="6" y="16"/>
                      <a:pt x="8" y="19"/>
                    </a:cubicBezTo>
                    <a:cubicBezTo>
                      <a:pt x="9" y="18"/>
                      <a:pt x="9" y="17"/>
                      <a:pt x="10" y="16"/>
                    </a:cubicBezTo>
                    <a:cubicBezTo>
                      <a:pt x="11" y="16"/>
                      <a:pt x="10" y="17"/>
                      <a:pt x="10" y="16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3" name="Freeform 765">
                <a:extLst>
                  <a:ext uri="{FF2B5EF4-FFF2-40B4-BE49-F238E27FC236}">
                    <a16:creationId xmlns:a16="http://schemas.microsoft.com/office/drawing/2014/main" id="{D152614E-FDD2-4DF1-AEC0-2D4AED6A9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171" y="4226651"/>
                <a:ext cx="74861" cy="33448"/>
              </a:xfrm>
              <a:custGeom>
                <a:avLst/>
                <a:gdLst>
                  <a:gd name="T0" fmla="*/ 10 w 16"/>
                  <a:gd name="T1" fmla="*/ 5 h 7"/>
                  <a:gd name="T2" fmla="*/ 14 w 16"/>
                  <a:gd name="T3" fmla="*/ 3 h 7"/>
                  <a:gd name="T4" fmla="*/ 14 w 16"/>
                  <a:gd name="T5" fmla="*/ 0 h 7"/>
                  <a:gd name="T6" fmla="*/ 7 w 16"/>
                  <a:gd name="T7" fmla="*/ 0 h 7"/>
                  <a:gd name="T8" fmla="*/ 4 w 16"/>
                  <a:gd name="T9" fmla="*/ 0 h 7"/>
                  <a:gd name="T10" fmla="*/ 0 w 16"/>
                  <a:gd name="T11" fmla="*/ 1 h 7"/>
                  <a:gd name="T12" fmla="*/ 3 w 16"/>
                  <a:gd name="T13" fmla="*/ 3 h 7"/>
                  <a:gd name="T14" fmla="*/ 7 w 16"/>
                  <a:gd name="T15" fmla="*/ 3 h 7"/>
                  <a:gd name="T16" fmla="*/ 9 w 16"/>
                  <a:gd name="T17" fmla="*/ 7 h 7"/>
                  <a:gd name="T18" fmla="*/ 10 w 16"/>
                  <a:gd name="T19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7">
                    <a:moveTo>
                      <a:pt x="10" y="5"/>
                    </a:moveTo>
                    <a:cubicBezTo>
                      <a:pt x="11" y="5"/>
                      <a:pt x="16" y="5"/>
                      <a:pt x="14" y="3"/>
                    </a:cubicBezTo>
                    <a:cubicBezTo>
                      <a:pt x="12" y="2"/>
                      <a:pt x="14" y="1"/>
                      <a:pt x="14" y="0"/>
                    </a:cubicBezTo>
                    <a:cubicBezTo>
                      <a:pt x="12" y="0"/>
                      <a:pt x="9" y="0"/>
                      <a:pt x="7" y="0"/>
                    </a:cubicBezTo>
                    <a:cubicBezTo>
                      <a:pt x="5" y="0"/>
                      <a:pt x="5" y="1"/>
                      <a:pt x="4" y="0"/>
                    </a:cubicBezTo>
                    <a:cubicBezTo>
                      <a:pt x="2" y="0"/>
                      <a:pt x="2" y="0"/>
                      <a:pt x="0" y="1"/>
                    </a:cubicBezTo>
                    <a:cubicBezTo>
                      <a:pt x="1" y="2"/>
                      <a:pt x="1" y="3"/>
                      <a:pt x="3" y="3"/>
                    </a:cubicBezTo>
                    <a:cubicBezTo>
                      <a:pt x="4" y="3"/>
                      <a:pt x="7" y="3"/>
                      <a:pt x="7" y="3"/>
                    </a:cubicBezTo>
                    <a:cubicBezTo>
                      <a:pt x="5" y="5"/>
                      <a:pt x="7" y="6"/>
                      <a:pt x="9" y="7"/>
                    </a:cubicBezTo>
                    <a:cubicBezTo>
                      <a:pt x="9" y="7"/>
                      <a:pt x="9" y="5"/>
                      <a:pt x="10" y="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4" name="Freeform 766">
                <a:extLst>
                  <a:ext uri="{FF2B5EF4-FFF2-40B4-BE49-F238E27FC236}">
                    <a16:creationId xmlns:a16="http://schemas.microsoft.com/office/drawing/2014/main" id="{FE896853-FE3B-40D3-83B9-170BE6047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1393" y="4194793"/>
                <a:ext cx="70082" cy="19114"/>
              </a:xfrm>
              <a:custGeom>
                <a:avLst/>
                <a:gdLst>
                  <a:gd name="T0" fmla="*/ 4 w 15"/>
                  <a:gd name="T1" fmla="*/ 4 h 4"/>
                  <a:gd name="T2" fmla="*/ 9 w 15"/>
                  <a:gd name="T3" fmla="*/ 3 h 4"/>
                  <a:gd name="T4" fmla="*/ 15 w 15"/>
                  <a:gd name="T5" fmla="*/ 2 h 4"/>
                  <a:gd name="T6" fmla="*/ 8 w 15"/>
                  <a:gd name="T7" fmla="*/ 1 h 4"/>
                  <a:gd name="T8" fmla="*/ 0 w 15"/>
                  <a:gd name="T9" fmla="*/ 4 h 4"/>
                  <a:gd name="T10" fmla="*/ 4 w 15"/>
                  <a:gd name="T11" fmla="*/ 4 h 4"/>
                  <a:gd name="T12" fmla="*/ 4 w 15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4">
                    <a:moveTo>
                      <a:pt x="4" y="4"/>
                    </a:moveTo>
                    <a:cubicBezTo>
                      <a:pt x="6" y="3"/>
                      <a:pt x="7" y="2"/>
                      <a:pt x="9" y="3"/>
                    </a:cubicBezTo>
                    <a:cubicBezTo>
                      <a:pt x="10" y="3"/>
                      <a:pt x="14" y="4"/>
                      <a:pt x="15" y="2"/>
                    </a:cubicBezTo>
                    <a:cubicBezTo>
                      <a:pt x="15" y="3"/>
                      <a:pt x="9" y="0"/>
                      <a:pt x="8" y="1"/>
                    </a:cubicBezTo>
                    <a:cubicBezTo>
                      <a:pt x="5" y="2"/>
                      <a:pt x="1" y="0"/>
                      <a:pt x="0" y="4"/>
                    </a:cubicBezTo>
                    <a:cubicBezTo>
                      <a:pt x="2" y="4"/>
                      <a:pt x="3" y="4"/>
                      <a:pt x="4" y="4"/>
                    </a:cubicBezTo>
                    <a:cubicBezTo>
                      <a:pt x="5" y="4"/>
                      <a:pt x="4" y="4"/>
                      <a:pt x="4" y="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5" name="Freeform 767">
                <a:extLst>
                  <a:ext uri="{FF2B5EF4-FFF2-40B4-BE49-F238E27FC236}">
                    <a16:creationId xmlns:a16="http://schemas.microsoft.com/office/drawing/2014/main" id="{46073AD9-D2D2-4F6F-B78B-1B99AE258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1836" y="3866684"/>
                <a:ext cx="280329" cy="318552"/>
              </a:xfrm>
              <a:custGeom>
                <a:avLst/>
                <a:gdLst>
                  <a:gd name="T0" fmla="*/ 5 w 60"/>
                  <a:gd name="T1" fmla="*/ 57 h 68"/>
                  <a:gd name="T2" fmla="*/ 15 w 60"/>
                  <a:gd name="T3" fmla="*/ 57 h 68"/>
                  <a:gd name="T4" fmla="*/ 18 w 60"/>
                  <a:gd name="T5" fmla="*/ 59 h 68"/>
                  <a:gd name="T6" fmla="*/ 21 w 60"/>
                  <a:gd name="T7" fmla="*/ 63 h 68"/>
                  <a:gd name="T8" fmla="*/ 27 w 60"/>
                  <a:gd name="T9" fmla="*/ 64 h 68"/>
                  <a:gd name="T10" fmla="*/ 32 w 60"/>
                  <a:gd name="T11" fmla="*/ 64 h 68"/>
                  <a:gd name="T12" fmla="*/ 35 w 60"/>
                  <a:gd name="T13" fmla="*/ 62 h 68"/>
                  <a:gd name="T14" fmla="*/ 39 w 60"/>
                  <a:gd name="T15" fmla="*/ 62 h 68"/>
                  <a:gd name="T16" fmla="*/ 44 w 60"/>
                  <a:gd name="T17" fmla="*/ 61 h 68"/>
                  <a:gd name="T18" fmla="*/ 53 w 60"/>
                  <a:gd name="T19" fmla="*/ 61 h 68"/>
                  <a:gd name="T20" fmla="*/ 58 w 60"/>
                  <a:gd name="T21" fmla="*/ 61 h 68"/>
                  <a:gd name="T22" fmla="*/ 58 w 60"/>
                  <a:gd name="T23" fmla="*/ 54 h 68"/>
                  <a:gd name="T24" fmla="*/ 56 w 60"/>
                  <a:gd name="T25" fmla="*/ 38 h 68"/>
                  <a:gd name="T26" fmla="*/ 52 w 60"/>
                  <a:gd name="T27" fmla="*/ 12 h 68"/>
                  <a:gd name="T28" fmla="*/ 60 w 60"/>
                  <a:gd name="T29" fmla="*/ 12 h 68"/>
                  <a:gd name="T30" fmla="*/ 43 w 60"/>
                  <a:gd name="T31" fmla="*/ 0 h 68"/>
                  <a:gd name="T32" fmla="*/ 42 w 60"/>
                  <a:gd name="T33" fmla="*/ 7 h 68"/>
                  <a:gd name="T34" fmla="*/ 37 w 60"/>
                  <a:gd name="T35" fmla="*/ 7 h 68"/>
                  <a:gd name="T36" fmla="*/ 29 w 60"/>
                  <a:gd name="T37" fmla="*/ 7 h 68"/>
                  <a:gd name="T38" fmla="*/ 26 w 60"/>
                  <a:gd name="T39" fmla="*/ 7 h 68"/>
                  <a:gd name="T40" fmla="*/ 26 w 60"/>
                  <a:gd name="T41" fmla="*/ 12 h 68"/>
                  <a:gd name="T42" fmla="*/ 26 w 60"/>
                  <a:gd name="T43" fmla="*/ 19 h 68"/>
                  <a:gd name="T44" fmla="*/ 20 w 60"/>
                  <a:gd name="T45" fmla="*/ 25 h 68"/>
                  <a:gd name="T46" fmla="*/ 20 w 60"/>
                  <a:gd name="T47" fmla="*/ 32 h 68"/>
                  <a:gd name="T48" fmla="*/ 16 w 60"/>
                  <a:gd name="T49" fmla="*/ 32 h 68"/>
                  <a:gd name="T50" fmla="*/ 3 w 60"/>
                  <a:gd name="T51" fmla="*/ 32 h 68"/>
                  <a:gd name="T52" fmla="*/ 1 w 60"/>
                  <a:gd name="T53" fmla="*/ 33 h 68"/>
                  <a:gd name="T54" fmla="*/ 4 w 60"/>
                  <a:gd name="T55" fmla="*/ 36 h 68"/>
                  <a:gd name="T56" fmla="*/ 3 w 60"/>
                  <a:gd name="T57" fmla="*/ 41 h 68"/>
                  <a:gd name="T58" fmla="*/ 6 w 60"/>
                  <a:gd name="T59" fmla="*/ 48 h 68"/>
                  <a:gd name="T60" fmla="*/ 3 w 60"/>
                  <a:gd name="T61" fmla="*/ 58 h 68"/>
                  <a:gd name="T62" fmla="*/ 5 w 60"/>
                  <a:gd name="T63" fmla="*/ 5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0" h="68">
                    <a:moveTo>
                      <a:pt x="5" y="57"/>
                    </a:moveTo>
                    <a:cubicBezTo>
                      <a:pt x="7" y="57"/>
                      <a:pt x="13" y="55"/>
                      <a:pt x="15" y="57"/>
                    </a:cubicBezTo>
                    <a:cubicBezTo>
                      <a:pt x="16" y="58"/>
                      <a:pt x="17" y="58"/>
                      <a:pt x="18" y="59"/>
                    </a:cubicBezTo>
                    <a:cubicBezTo>
                      <a:pt x="19" y="61"/>
                      <a:pt x="20" y="62"/>
                      <a:pt x="21" y="63"/>
                    </a:cubicBezTo>
                    <a:cubicBezTo>
                      <a:pt x="22" y="64"/>
                      <a:pt x="26" y="68"/>
                      <a:pt x="27" y="64"/>
                    </a:cubicBezTo>
                    <a:cubicBezTo>
                      <a:pt x="28" y="58"/>
                      <a:pt x="30" y="65"/>
                      <a:pt x="32" y="64"/>
                    </a:cubicBezTo>
                    <a:cubicBezTo>
                      <a:pt x="33" y="62"/>
                      <a:pt x="33" y="62"/>
                      <a:pt x="35" y="62"/>
                    </a:cubicBezTo>
                    <a:cubicBezTo>
                      <a:pt x="37" y="62"/>
                      <a:pt x="38" y="62"/>
                      <a:pt x="39" y="62"/>
                    </a:cubicBezTo>
                    <a:cubicBezTo>
                      <a:pt x="41" y="61"/>
                      <a:pt x="43" y="61"/>
                      <a:pt x="44" y="61"/>
                    </a:cubicBezTo>
                    <a:cubicBezTo>
                      <a:pt x="47" y="61"/>
                      <a:pt x="50" y="61"/>
                      <a:pt x="53" y="61"/>
                    </a:cubicBezTo>
                    <a:cubicBezTo>
                      <a:pt x="54" y="61"/>
                      <a:pt x="57" y="62"/>
                      <a:pt x="58" y="61"/>
                    </a:cubicBezTo>
                    <a:cubicBezTo>
                      <a:pt x="59" y="61"/>
                      <a:pt x="58" y="55"/>
                      <a:pt x="58" y="54"/>
                    </a:cubicBezTo>
                    <a:cubicBezTo>
                      <a:pt x="57" y="48"/>
                      <a:pt x="56" y="43"/>
                      <a:pt x="56" y="38"/>
                    </a:cubicBezTo>
                    <a:cubicBezTo>
                      <a:pt x="55" y="29"/>
                      <a:pt x="53" y="21"/>
                      <a:pt x="52" y="12"/>
                    </a:cubicBezTo>
                    <a:cubicBezTo>
                      <a:pt x="55" y="12"/>
                      <a:pt x="58" y="12"/>
                      <a:pt x="60" y="12"/>
                    </a:cubicBezTo>
                    <a:cubicBezTo>
                      <a:pt x="54" y="8"/>
                      <a:pt x="48" y="4"/>
                      <a:pt x="43" y="0"/>
                    </a:cubicBezTo>
                    <a:cubicBezTo>
                      <a:pt x="43" y="1"/>
                      <a:pt x="43" y="7"/>
                      <a:pt x="42" y="7"/>
                    </a:cubicBezTo>
                    <a:cubicBezTo>
                      <a:pt x="41" y="7"/>
                      <a:pt x="39" y="7"/>
                      <a:pt x="37" y="7"/>
                    </a:cubicBezTo>
                    <a:cubicBezTo>
                      <a:pt x="35" y="7"/>
                      <a:pt x="32" y="7"/>
                      <a:pt x="29" y="7"/>
                    </a:cubicBezTo>
                    <a:cubicBezTo>
                      <a:pt x="29" y="7"/>
                      <a:pt x="26" y="7"/>
                      <a:pt x="26" y="7"/>
                    </a:cubicBezTo>
                    <a:cubicBezTo>
                      <a:pt x="25" y="8"/>
                      <a:pt x="26" y="11"/>
                      <a:pt x="26" y="12"/>
                    </a:cubicBezTo>
                    <a:cubicBezTo>
                      <a:pt x="26" y="14"/>
                      <a:pt x="26" y="17"/>
                      <a:pt x="26" y="19"/>
                    </a:cubicBezTo>
                    <a:cubicBezTo>
                      <a:pt x="26" y="22"/>
                      <a:pt x="20" y="21"/>
                      <a:pt x="20" y="25"/>
                    </a:cubicBezTo>
                    <a:cubicBezTo>
                      <a:pt x="20" y="26"/>
                      <a:pt x="21" y="31"/>
                      <a:pt x="20" y="32"/>
                    </a:cubicBezTo>
                    <a:cubicBezTo>
                      <a:pt x="20" y="32"/>
                      <a:pt x="17" y="32"/>
                      <a:pt x="16" y="32"/>
                    </a:cubicBezTo>
                    <a:cubicBezTo>
                      <a:pt x="12" y="32"/>
                      <a:pt x="7" y="32"/>
                      <a:pt x="3" y="32"/>
                    </a:cubicBezTo>
                    <a:cubicBezTo>
                      <a:pt x="2" y="32"/>
                      <a:pt x="0" y="31"/>
                      <a:pt x="1" y="33"/>
                    </a:cubicBezTo>
                    <a:cubicBezTo>
                      <a:pt x="2" y="34"/>
                      <a:pt x="3" y="35"/>
                      <a:pt x="4" y="36"/>
                    </a:cubicBezTo>
                    <a:cubicBezTo>
                      <a:pt x="5" y="38"/>
                      <a:pt x="4" y="40"/>
                      <a:pt x="3" y="41"/>
                    </a:cubicBezTo>
                    <a:cubicBezTo>
                      <a:pt x="3" y="44"/>
                      <a:pt x="6" y="45"/>
                      <a:pt x="6" y="48"/>
                    </a:cubicBezTo>
                    <a:cubicBezTo>
                      <a:pt x="7" y="51"/>
                      <a:pt x="4" y="55"/>
                      <a:pt x="3" y="58"/>
                    </a:cubicBezTo>
                    <a:cubicBezTo>
                      <a:pt x="4" y="58"/>
                      <a:pt x="4" y="57"/>
                      <a:pt x="5" y="5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6" name="Freeform 768">
                <a:extLst>
                  <a:ext uri="{FF2B5EF4-FFF2-40B4-BE49-F238E27FC236}">
                    <a16:creationId xmlns:a16="http://schemas.microsoft.com/office/drawing/2014/main" id="{9B8E97AC-A243-47D3-9D29-5CCD7023A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1836" y="4129489"/>
                <a:ext cx="135385" cy="106717"/>
              </a:xfrm>
              <a:custGeom>
                <a:avLst/>
                <a:gdLst>
                  <a:gd name="T0" fmla="*/ 8 w 29"/>
                  <a:gd name="T1" fmla="*/ 22 h 23"/>
                  <a:gd name="T2" fmla="*/ 10 w 29"/>
                  <a:gd name="T3" fmla="*/ 21 h 23"/>
                  <a:gd name="T4" fmla="*/ 15 w 29"/>
                  <a:gd name="T5" fmla="*/ 21 h 23"/>
                  <a:gd name="T6" fmla="*/ 23 w 29"/>
                  <a:gd name="T7" fmla="*/ 21 h 23"/>
                  <a:gd name="T8" fmla="*/ 27 w 29"/>
                  <a:gd name="T9" fmla="*/ 22 h 23"/>
                  <a:gd name="T10" fmla="*/ 29 w 29"/>
                  <a:gd name="T11" fmla="*/ 19 h 23"/>
                  <a:gd name="T12" fmla="*/ 25 w 29"/>
                  <a:gd name="T13" fmla="*/ 14 h 23"/>
                  <a:gd name="T14" fmla="*/ 25 w 29"/>
                  <a:gd name="T15" fmla="*/ 10 h 23"/>
                  <a:gd name="T16" fmla="*/ 19 w 29"/>
                  <a:gd name="T17" fmla="*/ 4 h 23"/>
                  <a:gd name="T18" fmla="*/ 9 w 29"/>
                  <a:gd name="T19" fmla="*/ 1 h 23"/>
                  <a:gd name="T20" fmla="*/ 5 w 29"/>
                  <a:gd name="T21" fmla="*/ 1 h 23"/>
                  <a:gd name="T22" fmla="*/ 2 w 29"/>
                  <a:gd name="T23" fmla="*/ 6 h 23"/>
                  <a:gd name="T24" fmla="*/ 1 w 29"/>
                  <a:gd name="T25" fmla="*/ 10 h 23"/>
                  <a:gd name="T26" fmla="*/ 2 w 29"/>
                  <a:gd name="T27" fmla="*/ 12 h 23"/>
                  <a:gd name="T28" fmla="*/ 2 w 29"/>
                  <a:gd name="T29" fmla="*/ 14 h 23"/>
                  <a:gd name="T30" fmla="*/ 4 w 29"/>
                  <a:gd name="T31" fmla="*/ 15 h 23"/>
                  <a:gd name="T32" fmla="*/ 9 w 29"/>
                  <a:gd name="T33" fmla="*/ 15 h 23"/>
                  <a:gd name="T34" fmla="*/ 10 w 29"/>
                  <a:gd name="T35" fmla="*/ 14 h 23"/>
                  <a:gd name="T36" fmla="*/ 17 w 29"/>
                  <a:gd name="T37" fmla="*/ 16 h 23"/>
                  <a:gd name="T38" fmla="*/ 11 w 29"/>
                  <a:gd name="T39" fmla="*/ 17 h 23"/>
                  <a:gd name="T40" fmla="*/ 6 w 29"/>
                  <a:gd name="T41" fmla="*/ 18 h 23"/>
                  <a:gd name="T42" fmla="*/ 3 w 29"/>
                  <a:gd name="T43" fmla="*/ 21 h 23"/>
                  <a:gd name="T44" fmla="*/ 5 w 29"/>
                  <a:gd name="T45" fmla="*/ 21 h 23"/>
                  <a:gd name="T46" fmla="*/ 8 w 29"/>
                  <a:gd name="T47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3">
                    <a:moveTo>
                      <a:pt x="8" y="22"/>
                    </a:moveTo>
                    <a:cubicBezTo>
                      <a:pt x="9" y="22"/>
                      <a:pt x="9" y="21"/>
                      <a:pt x="10" y="21"/>
                    </a:cubicBezTo>
                    <a:cubicBezTo>
                      <a:pt x="12" y="21"/>
                      <a:pt x="13" y="21"/>
                      <a:pt x="15" y="21"/>
                    </a:cubicBezTo>
                    <a:cubicBezTo>
                      <a:pt x="17" y="21"/>
                      <a:pt x="20" y="20"/>
                      <a:pt x="23" y="21"/>
                    </a:cubicBezTo>
                    <a:cubicBezTo>
                      <a:pt x="24" y="22"/>
                      <a:pt x="25" y="23"/>
                      <a:pt x="27" y="22"/>
                    </a:cubicBezTo>
                    <a:cubicBezTo>
                      <a:pt x="29" y="22"/>
                      <a:pt x="29" y="21"/>
                      <a:pt x="29" y="19"/>
                    </a:cubicBezTo>
                    <a:cubicBezTo>
                      <a:pt x="29" y="17"/>
                      <a:pt x="25" y="16"/>
                      <a:pt x="25" y="14"/>
                    </a:cubicBezTo>
                    <a:cubicBezTo>
                      <a:pt x="25" y="14"/>
                      <a:pt x="25" y="10"/>
                      <a:pt x="25" y="10"/>
                    </a:cubicBezTo>
                    <a:cubicBezTo>
                      <a:pt x="24" y="10"/>
                      <a:pt x="20" y="5"/>
                      <a:pt x="19" y="4"/>
                    </a:cubicBezTo>
                    <a:cubicBezTo>
                      <a:pt x="16" y="1"/>
                      <a:pt x="13" y="0"/>
                      <a:pt x="9" y="1"/>
                    </a:cubicBezTo>
                    <a:cubicBezTo>
                      <a:pt x="8" y="1"/>
                      <a:pt x="5" y="0"/>
                      <a:pt x="5" y="1"/>
                    </a:cubicBezTo>
                    <a:cubicBezTo>
                      <a:pt x="4" y="2"/>
                      <a:pt x="2" y="4"/>
                      <a:pt x="2" y="6"/>
                    </a:cubicBezTo>
                    <a:cubicBezTo>
                      <a:pt x="3" y="8"/>
                      <a:pt x="3" y="9"/>
                      <a:pt x="1" y="10"/>
                    </a:cubicBezTo>
                    <a:cubicBezTo>
                      <a:pt x="0" y="10"/>
                      <a:pt x="3" y="12"/>
                      <a:pt x="2" y="12"/>
                    </a:cubicBezTo>
                    <a:cubicBezTo>
                      <a:pt x="4" y="13"/>
                      <a:pt x="2" y="13"/>
                      <a:pt x="2" y="14"/>
                    </a:cubicBezTo>
                    <a:cubicBezTo>
                      <a:pt x="2" y="14"/>
                      <a:pt x="3" y="15"/>
                      <a:pt x="4" y="15"/>
                    </a:cubicBezTo>
                    <a:cubicBezTo>
                      <a:pt x="4" y="16"/>
                      <a:pt x="8" y="15"/>
                      <a:pt x="9" y="15"/>
                    </a:cubicBezTo>
                    <a:cubicBezTo>
                      <a:pt x="10" y="15"/>
                      <a:pt x="10" y="14"/>
                      <a:pt x="10" y="14"/>
                    </a:cubicBezTo>
                    <a:cubicBezTo>
                      <a:pt x="11" y="14"/>
                      <a:pt x="17" y="17"/>
                      <a:pt x="17" y="16"/>
                    </a:cubicBezTo>
                    <a:cubicBezTo>
                      <a:pt x="16" y="18"/>
                      <a:pt x="12" y="17"/>
                      <a:pt x="11" y="17"/>
                    </a:cubicBezTo>
                    <a:cubicBezTo>
                      <a:pt x="9" y="16"/>
                      <a:pt x="8" y="18"/>
                      <a:pt x="6" y="18"/>
                    </a:cubicBezTo>
                    <a:cubicBezTo>
                      <a:pt x="3" y="18"/>
                      <a:pt x="1" y="18"/>
                      <a:pt x="3" y="21"/>
                    </a:cubicBezTo>
                    <a:cubicBezTo>
                      <a:pt x="3" y="22"/>
                      <a:pt x="4" y="21"/>
                      <a:pt x="5" y="21"/>
                    </a:cubicBezTo>
                    <a:cubicBezTo>
                      <a:pt x="6" y="21"/>
                      <a:pt x="7" y="22"/>
                      <a:pt x="8" y="2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7" name="Freeform 769">
                <a:extLst>
                  <a:ext uri="{FF2B5EF4-FFF2-40B4-BE49-F238E27FC236}">
                    <a16:creationId xmlns:a16="http://schemas.microsoft.com/office/drawing/2014/main" id="{4AF30021-3B16-4924-8278-A289553CC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9702" y="3919243"/>
                <a:ext cx="391822" cy="364746"/>
              </a:xfrm>
              <a:custGeom>
                <a:avLst/>
                <a:gdLst>
                  <a:gd name="T0" fmla="*/ 27 w 84"/>
                  <a:gd name="T1" fmla="*/ 1 h 78"/>
                  <a:gd name="T2" fmla="*/ 33 w 84"/>
                  <a:gd name="T3" fmla="*/ 45 h 78"/>
                  <a:gd name="T4" fmla="*/ 32 w 84"/>
                  <a:gd name="T5" fmla="*/ 50 h 78"/>
                  <a:gd name="T6" fmla="*/ 19 w 84"/>
                  <a:gd name="T7" fmla="*/ 50 h 78"/>
                  <a:gd name="T8" fmla="*/ 15 w 84"/>
                  <a:gd name="T9" fmla="*/ 50 h 78"/>
                  <a:gd name="T10" fmla="*/ 12 w 84"/>
                  <a:gd name="T11" fmla="*/ 51 h 78"/>
                  <a:gd name="T12" fmla="*/ 8 w 84"/>
                  <a:gd name="T13" fmla="*/ 51 h 78"/>
                  <a:gd name="T14" fmla="*/ 6 w 84"/>
                  <a:gd name="T15" fmla="*/ 52 h 78"/>
                  <a:gd name="T16" fmla="*/ 3 w 84"/>
                  <a:gd name="T17" fmla="*/ 50 h 78"/>
                  <a:gd name="T18" fmla="*/ 0 w 84"/>
                  <a:gd name="T19" fmla="*/ 55 h 78"/>
                  <a:gd name="T20" fmla="*/ 0 w 84"/>
                  <a:gd name="T21" fmla="*/ 59 h 78"/>
                  <a:gd name="T22" fmla="*/ 3 w 84"/>
                  <a:gd name="T23" fmla="*/ 63 h 78"/>
                  <a:gd name="T24" fmla="*/ 4 w 84"/>
                  <a:gd name="T25" fmla="*/ 67 h 78"/>
                  <a:gd name="T26" fmla="*/ 7 w 84"/>
                  <a:gd name="T27" fmla="*/ 68 h 78"/>
                  <a:gd name="T28" fmla="*/ 11 w 84"/>
                  <a:gd name="T29" fmla="*/ 68 h 78"/>
                  <a:gd name="T30" fmla="*/ 15 w 84"/>
                  <a:gd name="T31" fmla="*/ 66 h 78"/>
                  <a:gd name="T32" fmla="*/ 20 w 84"/>
                  <a:gd name="T33" fmla="*/ 75 h 78"/>
                  <a:gd name="T34" fmla="*/ 20 w 84"/>
                  <a:gd name="T35" fmla="*/ 77 h 78"/>
                  <a:gd name="T36" fmla="*/ 23 w 84"/>
                  <a:gd name="T37" fmla="*/ 77 h 78"/>
                  <a:gd name="T38" fmla="*/ 27 w 84"/>
                  <a:gd name="T39" fmla="*/ 77 h 78"/>
                  <a:gd name="T40" fmla="*/ 30 w 84"/>
                  <a:gd name="T41" fmla="*/ 77 h 78"/>
                  <a:gd name="T42" fmla="*/ 35 w 84"/>
                  <a:gd name="T43" fmla="*/ 71 h 78"/>
                  <a:gd name="T44" fmla="*/ 35 w 84"/>
                  <a:gd name="T45" fmla="*/ 69 h 78"/>
                  <a:gd name="T46" fmla="*/ 39 w 84"/>
                  <a:gd name="T47" fmla="*/ 67 h 78"/>
                  <a:gd name="T48" fmla="*/ 40 w 84"/>
                  <a:gd name="T49" fmla="*/ 63 h 78"/>
                  <a:gd name="T50" fmla="*/ 42 w 84"/>
                  <a:gd name="T51" fmla="*/ 62 h 78"/>
                  <a:gd name="T52" fmla="*/ 49 w 84"/>
                  <a:gd name="T53" fmla="*/ 57 h 78"/>
                  <a:gd name="T54" fmla="*/ 51 w 84"/>
                  <a:gd name="T55" fmla="*/ 57 h 78"/>
                  <a:gd name="T56" fmla="*/ 52 w 84"/>
                  <a:gd name="T57" fmla="*/ 56 h 78"/>
                  <a:gd name="T58" fmla="*/ 55 w 84"/>
                  <a:gd name="T59" fmla="*/ 54 h 78"/>
                  <a:gd name="T60" fmla="*/ 65 w 84"/>
                  <a:gd name="T61" fmla="*/ 53 h 78"/>
                  <a:gd name="T62" fmla="*/ 70 w 84"/>
                  <a:gd name="T63" fmla="*/ 52 h 78"/>
                  <a:gd name="T64" fmla="*/ 78 w 84"/>
                  <a:gd name="T65" fmla="*/ 51 h 78"/>
                  <a:gd name="T66" fmla="*/ 82 w 84"/>
                  <a:gd name="T67" fmla="*/ 31 h 78"/>
                  <a:gd name="T68" fmla="*/ 77 w 84"/>
                  <a:gd name="T69" fmla="*/ 32 h 78"/>
                  <a:gd name="T70" fmla="*/ 77 w 84"/>
                  <a:gd name="T71" fmla="*/ 28 h 78"/>
                  <a:gd name="T72" fmla="*/ 70 w 84"/>
                  <a:gd name="T73" fmla="*/ 26 h 78"/>
                  <a:gd name="T74" fmla="*/ 66 w 84"/>
                  <a:gd name="T75" fmla="*/ 22 h 78"/>
                  <a:gd name="T76" fmla="*/ 63 w 84"/>
                  <a:gd name="T77" fmla="*/ 20 h 78"/>
                  <a:gd name="T78" fmla="*/ 56 w 84"/>
                  <a:gd name="T79" fmla="*/ 14 h 78"/>
                  <a:gd name="T80" fmla="*/ 39 w 84"/>
                  <a:gd name="T81" fmla="*/ 3 h 78"/>
                  <a:gd name="T82" fmla="*/ 35 w 84"/>
                  <a:gd name="T83" fmla="*/ 1 h 78"/>
                  <a:gd name="T84" fmla="*/ 27 w 84"/>
                  <a:gd name="T85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4" h="78">
                    <a:moveTo>
                      <a:pt x="27" y="1"/>
                    </a:moveTo>
                    <a:cubicBezTo>
                      <a:pt x="29" y="16"/>
                      <a:pt x="31" y="31"/>
                      <a:pt x="33" y="45"/>
                    </a:cubicBezTo>
                    <a:cubicBezTo>
                      <a:pt x="33" y="47"/>
                      <a:pt x="35" y="50"/>
                      <a:pt x="32" y="50"/>
                    </a:cubicBezTo>
                    <a:cubicBezTo>
                      <a:pt x="28" y="50"/>
                      <a:pt x="23" y="50"/>
                      <a:pt x="19" y="50"/>
                    </a:cubicBezTo>
                    <a:cubicBezTo>
                      <a:pt x="17" y="50"/>
                      <a:pt x="16" y="50"/>
                      <a:pt x="15" y="50"/>
                    </a:cubicBezTo>
                    <a:cubicBezTo>
                      <a:pt x="14" y="50"/>
                      <a:pt x="13" y="51"/>
                      <a:pt x="12" y="51"/>
                    </a:cubicBezTo>
                    <a:cubicBezTo>
                      <a:pt x="11" y="52"/>
                      <a:pt x="10" y="51"/>
                      <a:pt x="8" y="51"/>
                    </a:cubicBezTo>
                    <a:cubicBezTo>
                      <a:pt x="7" y="51"/>
                      <a:pt x="7" y="53"/>
                      <a:pt x="6" y="52"/>
                    </a:cubicBezTo>
                    <a:cubicBezTo>
                      <a:pt x="5" y="52"/>
                      <a:pt x="4" y="50"/>
                      <a:pt x="3" y="50"/>
                    </a:cubicBezTo>
                    <a:cubicBezTo>
                      <a:pt x="2" y="50"/>
                      <a:pt x="2" y="56"/>
                      <a:pt x="0" y="55"/>
                    </a:cubicBezTo>
                    <a:cubicBezTo>
                      <a:pt x="0" y="56"/>
                      <a:pt x="0" y="58"/>
                      <a:pt x="0" y="59"/>
                    </a:cubicBezTo>
                    <a:cubicBezTo>
                      <a:pt x="0" y="61"/>
                      <a:pt x="2" y="61"/>
                      <a:pt x="3" y="63"/>
                    </a:cubicBezTo>
                    <a:cubicBezTo>
                      <a:pt x="4" y="64"/>
                      <a:pt x="3" y="66"/>
                      <a:pt x="4" y="67"/>
                    </a:cubicBezTo>
                    <a:cubicBezTo>
                      <a:pt x="5" y="69"/>
                      <a:pt x="6" y="67"/>
                      <a:pt x="7" y="68"/>
                    </a:cubicBezTo>
                    <a:cubicBezTo>
                      <a:pt x="7" y="69"/>
                      <a:pt x="10" y="68"/>
                      <a:pt x="11" y="68"/>
                    </a:cubicBezTo>
                    <a:cubicBezTo>
                      <a:pt x="12" y="68"/>
                      <a:pt x="14" y="66"/>
                      <a:pt x="15" y="66"/>
                    </a:cubicBezTo>
                    <a:cubicBezTo>
                      <a:pt x="17" y="68"/>
                      <a:pt x="18" y="73"/>
                      <a:pt x="20" y="75"/>
                    </a:cubicBezTo>
                    <a:cubicBezTo>
                      <a:pt x="20" y="75"/>
                      <a:pt x="19" y="77"/>
                      <a:pt x="20" y="77"/>
                    </a:cubicBezTo>
                    <a:cubicBezTo>
                      <a:pt x="21" y="78"/>
                      <a:pt x="22" y="76"/>
                      <a:pt x="23" y="77"/>
                    </a:cubicBezTo>
                    <a:cubicBezTo>
                      <a:pt x="24" y="78"/>
                      <a:pt x="26" y="78"/>
                      <a:pt x="27" y="77"/>
                    </a:cubicBezTo>
                    <a:cubicBezTo>
                      <a:pt x="29" y="75"/>
                      <a:pt x="29" y="77"/>
                      <a:pt x="30" y="77"/>
                    </a:cubicBezTo>
                    <a:cubicBezTo>
                      <a:pt x="33" y="77"/>
                      <a:pt x="35" y="73"/>
                      <a:pt x="35" y="71"/>
                    </a:cubicBezTo>
                    <a:cubicBezTo>
                      <a:pt x="35" y="70"/>
                      <a:pt x="33" y="70"/>
                      <a:pt x="35" y="69"/>
                    </a:cubicBezTo>
                    <a:cubicBezTo>
                      <a:pt x="36" y="68"/>
                      <a:pt x="38" y="69"/>
                      <a:pt x="39" y="67"/>
                    </a:cubicBezTo>
                    <a:cubicBezTo>
                      <a:pt x="39" y="66"/>
                      <a:pt x="40" y="64"/>
                      <a:pt x="40" y="63"/>
                    </a:cubicBezTo>
                    <a:cubicBezTo>
                      <a:pt x="41" y="61"/>
                      <a:pt x="41" y="60"/>
                      <a:pt x="42" y="62"/>
                    </a:cubicBezTo>
                    <a:cubicBezTo>
                      <a:pt x="45" y="64"/>
                      <a:pt x="47" y="56"/>
                      <a:pt x="49" y="57"/>
                    </a:cubicBezTo>
                    <a:cubicBezTo>
                      <a:pt x="50" y="57"/>
                      <a:pt x="50" y="57"/>
                      <a:pt x="51" y="57"/>
                    </a:cubicBezTo>
                    <a:cubicBezTo>
                      <a:pt x="51" y="57"/>
                      <a:pt x="52" y="56"/>
                      <a:pt x="52" y="56"/>
                    </a:cubicBezTo>
                    <a:cubicBezTo>
                      <a:pt x="53" y="55"/>
                      <a:pt x="54" y="55"/>
                      <a:pt x="55" y="54"/>
                    </a:cubicBezTo>
                    <a:cubicBezTo>
                      <a:pt x="58" y="51"/>
                      <a:pt x="61" y="54"/>
                      <a:pt x="65" y="53"/>
                    </a:cubicBezTo>
                    <a:cubicBezTo>
                      <a:pt x="67" y="53"/>
                      <a:pt x="68" y="52"/>
                      <a:pt x="70" y="52"/>
                    </a:cubicBezTo>
                    <a:cubicBezTo>
                      <a:pt x="73" y="52"/>
                      <a:pt x="76" y="52"/>
                      <a:pt x="78" y="51"/>
                    </a:cubicBezTo>
                    <a:cubicBezTo>
                      <a:pt x="84" y="49"/>
                      <a:pt x="82" y="36"/>
                      <a:pt x="82" y="31"/>
                    </a:cubicBezTo>
                    <a:cubicBezTo>
                      <a:pt x="81" y="32"/>
                      <a:pt x="78" y="34"/>
                      <a:pt x="77" y="32"/>
                    </a:cubicBezTo>
                    <a:cubicBezTo>
                      <a:pt x="76" y="31"/>
                      <a:pt x="78" y="29"/>
                      <a:pt x="77" y="28"/>
                    </a:cubicBezTo>
                    <a:cubicBezTo>
                      <a:pt x="76" y="26"/>
                      <a:pt x="72" y="27"/>
                      <a:pt x="70" y="26"/>
                    </a:cubicBezTo>
                    <a:cubicBezTo>
                      <a:pt x="68" y="26"/>
                      <a:pt x="67" y="23"/>
                      <a:pt x="66" y="22"/>
                    </a:cubicBezTo>
                    <a:cubicBezTo>
                      <a:pt x="66" y="21"/>
                      <a:pt x="65" y="20"/>
                      <a:pt x="63" y="20"/>
                    </a:cubicBezTo>
                    <a:cubicBezTo>
                      <a:pt x="61" y="18"/>
                      <a:pt x="58" y="16"/>
                      <a:pt x="56" y="14"/>
                    </a:cubicBezTo>
                    <a:cubicBezTo>
                      <a:pt x="50" y="11"/>
                      <a:pt x="44" y="7"/>
                      <a:pt x="39" y="3"/>
                    </a:cubicBezTo>
                    <a:cubicBezTo>
                      <a:pt x="38" y="3"/>
                      <a:pt x="36" y="1"/>
                      <a:pt x="35" y="1"/>
                    </a:cubicBezTo>
                    <a:cubicBezTo>
                      <a:pt x="33" y="0"/>
                      <a:pt x="30" y="1"/>
                      <a:pt x="27" y="1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8" name="Freeform 770">
                <a:extLst>
                  <a:ext uri="{FF2B5EF4-FFF2-40B4-BE49-F238E27FC236}">
                    <a16:creationId xmlns:a16="http://schemas.microsoft.com/office/drawing/2014/main" id="{09D31343-1B11-4FE5-B6D4-4D7008D81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9092" y="3750408"/>
                <a:ext cx="258030" cy="251658"/>
              </a:xfrm>
              <a:custGeom>
                <a:avLst/>
                <a:gdLst>
                  <a:gd name="T0" fmla="*/ 45 w 55"/>
                  <a:gd name="T1" fmla="*/ 54 h 54"/>
                  <a:gd name="T2" fmla="*/ 48 w 55"/>
                  <a:gd name="T3" fmla="*/ 51 h 54"/>
                  <a:gd name="T4" fmla="*/ 51 w 55"/>
                  <a:gd name="T5" fmla="*/ 48 h 54"/>
                  <a:gd name="T6" fmla="*/ 54 w 55"/>
                  <a:gd name="T7" fmla="*/ 44 h 54"/>
                  <a:gd name="T8" fmla="*/ 55 w 55"/>
                  <a:gd name="T9" fmla="*/ 42 h 54"/>
                  <a:gd name="T10" fmla="*/ 50 w 55"/>
                  <a:gd name="T11" fmla="*/ 36 h 54"/>
                  <a:gd name="T12" fmla="*/ 45 w 55"/>
                  <a:gd name="T13" fmla="*/ 25 h 54"/>
                  <a:gd name="T14" fmla="*/ 40 w 55"/>
                  <a:gd name="T15" fmla="*/ 16 h 54"/>
                  <a:gd name="T16" fmla="*/ 38 w 55"/>
                  <a:gd name="T17" fmla="*/ 8 h 54"/>
                  <a:gd name="T18" fmla="*/ 47 w 55"/>
                  <a:gd name="T19" fmla="*/ 22 h 54"/>
                  <a:gd name="T20" fmla="*/ 49 w 55"/>
                  <a:gd name="T21" fmla="*/ 19 h 54"/>
                  <a:gd name="T22" fmla="*/ 48 w 55"/>
                  <a:gd name="T23" fmla="*/ 14 h 54"/>
                  <a:gd name="T24" fmla="*/ 47 w 55"/>
                  <a:gd name="T25" fmla="*/ 2 h 54"/>
                  <a:gd name="T26" fmla="*/ 38 w 55"/>
                  <a:gd name="T27" fmla="*/ 2 h 54"/>
                  <a:gd name="T28" fmla="*/ 25 w 55"/>
                  <a:gd name="T29" fmla="*/ 3 h 54"/>
                  <a:gd name="T30" fmla="*/ 16 w 55"/>
                  <a:gd name="T31" fmla="*/ 3 h 54"/>
                  <a:gd name="T32" fmla="*/ 4 w 55"/>
                  <a:gd name="T33" fmla="*/ 1 h 54"/>
                  <a:gd name="T34" fmla="*/ 3 w 55"/>
                  <a:gd name="T35" fmla="*/ 0 h 54"/>
                  <a:gd name="T36" fmla="*/ 1 w 55"/>
                  <a:gd name="T37" fmla="*/ 3 h 54"/>
                  <a:gd name="T38" fmla="*/ 2 w 55"/>
                  <a:gd name="T39" fmla="*/ 7 h 54"/>
                  <a:gd name="T40" fmla="*/ 1 w 55"/>
                  <a:gd name="T41" fmla="*/ 11 h 54"/>
                  <a:gd name="T42" fmla="*/ 2 w 55"/>
                  <a:gd name="T43" fmla="*/ 13 h 54"/>
                  <a:gd name="T44" fmla="*/ 2 w 55"/>
                  <a:gd name="T45" fmla="*/ 25 h 54"/>
                  <a:gd name="T46" fmla="*/ 2 w 55"/>
                  <a:gd name="T47" fmla="*/ 52 h 54"/>
                  <a:gd name="T48" fmla="*/ 34 w 55"/>
                  <a:gd name="T49" fmla="*/ 52 h 54"/>
                  <a:gd name="T50" fmla="*/ 40 w 55"/>
                  <a:gd name="T51" fmla="*/ 52 h 54"/>
                  <a:gd name="T52" fmla="*/ 45 w 55"/>
                  <a:gd name="T5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" h="54">
                    <a:moveTo>
                      <a:pt x="45" y="54"/>
                    </a:moveTo>
                    <a:cubicBezTo>
                      <a:pt x="46" y="54"/>
                      <a:pt x="46" y="51"/>
                      <a:pt x="48" y="51"/>
                    </a:cubicBezTo>
                    <a:cubicBezTo>
                      <a:pt x="51" y="51"/>
                      <a:pt x="49" y="49"/>
                      <a:pt x="51" y="48"/>
                    </a:cubicBezTo>
                    <a:cubicBezTo>
                      <a:pt x="54" y="47"/>
                      <a:pt x="54" y="47"/>
                      <a:pt x="54" y="44"/>
                    </a:cubicBezTo>
                    <a:cubicBezTo>
                      <a:pt x="53" y="42"/>
                      <a:pt x="53" y="42"/>
                      <a:pt x="55" y="42"/>
                    </a:cubicBezTo>
                    <a:cubicBezTo>
                      <a:pt x="54" y="42"/>
                      <a:pt x="51" y="37"/>
                      <a:pt x="50" y="36"/>
                    </a:cubicBezTo>
                    <a:cubicBezTo>
                      <a:pt x="49" y="32"/>
                      <a:pt x="47" y="28"/>
                      <a:pt x="45" y="25"/>
                    </a:cubicBezTo>
                    <a:cubicBezTo>
                      <a:pt x="43" y="22"/>
                      <a:pt x="42" y="18"/>
                      <a:pt x="40" y="16"/>
                    </a:cubicBezTo>
                    <a:cubicBezTo>
                      <a:pt x="39" y="15"/>
                      <a:pt x="37" y="9"/>
                      <a:pt x="38" y="8"/>
                    </a:cubicBezTo>
                    <a:cubicBezTo>
                      <a:pt x="38" y="8"/>
                      <a:pt x="46" y="22"/>
                      <a:pt x="47" y="22"/>
                    </a:cubicBezTo>
                    <a:cubicBezTo>
                      <a:pt x="48" y="22"/>
                      <a:pt x="49" y="19"/>
                      <a:pt x="49" y="19"/>
                    </a:cubicBezTo>
                    <a:cubicBezTo>
                      <a:pt x="49" y="17"/>
                      <a:pt x="49" y="15"/>
                      <a:pt x="48" y="14"/>
                    </a:cubicBezTo>
                    <a:cubicBezTo>
                      <a:pt x="48" y="10"/>
                      <a:pt x="47" y="6"/>
                      <a:pt x="47" y="2"/>
                    </a:cubicBezTo>
                    <a:cubicBezTo>
                      <a:pt x="45" y="4"/>
                      <a:pt x="40" y="4"/>
                      <a:pt x="38" y="2"/>
                    </a:cubicBezTo>
                    <a:cubicBezTo>
                      <a:pt x="34" y="0"/>
                      <a:pt x="29" y="1"/>
                      <a:pt x="25" y="3"/>
                    </a:cubicBezTo>
                    <a:cubicBezTo>
                      <a:pt x="22" y="5"/>
                      <a:pt x="19" y="4"/>
                      <a:pt x="16" y="3"/>
                    </a:cubicBezTo>
                    <a:cubicBezTo>
                      <a:pt x="12" y="2"/>
                      <a:pt x="8" y="2"/>
                      <a:pt x="4" y="1"/>
                    </a:cubicBezTo>
                    <a:cubicBezTo>
                      <a:pt x="4" y="1"/>
                      <a:pt x="3" y="0"/>
                      <a:pt x="3" y="0"/>
                    </a:cubicBezTo>
                    <a:cubicBezTo>
                      <a:pt x="2" y="1"/>
                      <a:pt x="2" y="2"/>
                      <a:pt x="1" y="3"/>
                    </a:cubicBezTo>
                    <a:cubicBezTo>
                      <a:pt x="0" y="4"/>
                      <a:pt x="3" y="5"/>
                      <a:pt x="2" y="7"/>
                    </a:cubicBezTo>
                    <a:cubicBezTo>
                      <a:pt x="1" y="8"/>
                      <a:pt x="1" y="9"/>
                      <a:pt x="1" y="11"/>
                    </a:cubicBezTo>
                    <a:cubicBezTo>
                      <a:pt x="2" y="11"/>
                      <a:pt x="2" y="12"/>
                      <a:pt x="2" y="13"/>
                    </a:cubicBezTo>
                    <a:cubicBezTo>
                      <a:pt x="2" y="17"/>
                      <a:pt x="2" y="21"/>
                      <a:pt x="2" y="25"/>
                    </a:cubicBezTo>
                    <a:cubicBezTo>
                      <a:pt x="2" y="28"/>
                      <a:pt x="2" y="52"/>
                      <a:pt x="2" y="52"/>
                    </a:cubicBezTo>
                    <a:cubicBezTo>
                      <a:pt x="13" y="52"/>
                      <a:pt x="23" y="52"/>
                      <a:pt x="34" y="52"/>
                    </a:cubicBezTo>
                    <a:cubicBezTo>
                      <a:pt x="36" y="52"/>
                      <a:pt x="38" y="52"/>
                      <a:pt x="40" y="52"/>
                    </a:cubicBezTo>
                    <a:cubicBezTo>
                      <a:pt x="42" y="52"/>
                      <a:pt x="43" y="54"/>
                      <a:pt x="45" y="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9" name="Freeform 771">
                <a:extLst>
                  <a:ext uri="{FF2B5EF4-FFF2-40B4-BE49-F238E27FC236}">
                    <a16:creationId xmlns:a16="http://schemas.microsoft.com/office/drawing/2014/main" id="{0863BB31-6BD4-44D7-B83C-1753613F1F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826" y="3605468"/>
                <a:ext cx="93975" cy="181577"/>
              </a:xfrm>
              <a:custGeom>
                <a:avLst/>
                <a:gdLst>
                  <a:gd name="T0" fmla="*/ 14 w 20"/>
                  <a:gd name="T1" fmla="*/ 34 h 39"/>
                  <a:gd name="T2" fmla="*/ 17 w 20"/>
                  <a:gd name="T3" fmla="*/ 30 h 39"/>
                  <a:gd name="T4" fmla="*/ 20 w 20"/>
                  <a:gd name="T5" fmla="*/ 27 h 39"/>
                  <a:gd name="T6" fmla="*/ 20 w 20"/>
                  <a:gd name="T7" fmla="*/ 24 h 39"/>
                  <a:gd name="T8" fmla="*/ 19 w 20"/>
                  <a:gd name="T9" fmla="*/ 23 h 39"/>
                  <a:gd name="T10" fmla="*/ 17 w 20"/>
                  <a:gd name="T11" fmla="*/ 20 h 39"/>
                  <a:gd name="T12" fmla="*/ 14 w 20"/>
                  <a:gd name="T13" fmla="*/ 20 h 39"/>
                  <a:gd name="T14" fmla="*/ 16 w 20"/>
                  <a:gd name="T15" fmla="*/ 16 h 39"/>
                  <a:gd name="T16" fmla="*/ 17 w 20"/>
                  <a:gd name="T17" fmla="*/ 10 h 39"/>
                  <a:gd name="T18" fmla="*/ 15 w 20"/>
                  <a:gd name="T19" fmla="*/ 6 h 39"/>
                  <a:gd name="T20" fmla="*/ 18 w 20"/>
                  <a:gd name="T21" fmla="*/ 4 h 39"/>
                  <a:gd name="T22" fmla="*/ 18 w 20"/>
                  <a:gd name="T23" fmla="*/ 1 h 39"/>
                  <a:gd name="T24" fmla="*/ 15 w 20"/>
                  <a:gd name="T25" fmla="*/ 3 h 39"/>
                  <a:gd name="T26" fmla="*/ 14 w 20"/>
                  <a:gd name="T27" fmla="*/ 2 h 39"/>
                  <a:gd name="T28" fmla="*/ 11 w 20"/>
                  <a:gd name="T29" fmla="*/ 0 h 39"/>
                  <a:gd name="T30" fmla="*/ 5 w 20"/>
                  <a:gd name="T31" fmla="*/ 4 h 39"/>
                  <a:gd name="T32" fmla="*/ 2 w 20"/>
                  <a:gd name="T33" fmla="*/ 17 h 39"/>
                  <a:gd name="T34" fmla="*/ 1 w 20"/>
                  <a:gd name="T35" fmla="*/ 21 h 39"/>
                  <a:gd name="T36" fmla="*/ 4 w 20"/>
                  <a:gd name="T37" fmla="*/ 26 h 39"/>
                  <a:gd name="T38" fmla="*/ 8 w 20"/>
                  <a:gd name="T39" fmla="*/ 30 h 39"/>
                  <a:gd name="T40" fmla="*/ 10 w 20"/>
                  <a:gd name="T41" fmla="*/ 39 h 39"/>
                  <a:gd name="T42" fmla="*/ 14 w 20"/>
                  <a:gd name="T43" fmla="*/ 34 h 39"/>
                  <a:gd name="T44" fmla="*/ 14 w 20"/>
                  <a:gd name="T45" fmla="*/ 3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" h="39">
                    <a:moveTo>
                      <a:pt x="14" y="34"/>
                    </a:moveTo>
                    <a:cubicBezTo>
                      <a:pt x="12" y="32"/>
                      <a:pt x="16" y="30"/>
                      <a:pt x="17" y="30"/>
                    </a:cubicBezTo>
                    <a:cubicBezTo>
                      <a:pt x="19" y="29"/>
                      <a:pt x="20" y="28"/>
                      <a:pt x="20" y="27"/>
                    </a:cubicBezTo>
                    <a:cubicBezTo>
                      <a:pt x="20" y="26"/>
                      <a:pt x="20" y="25"/>
                      <a:pt x="20" y="24"/>
                    </a:cubicBezTo>
                    <a:cubicBezTo>
                      <a:pt x="20" y="23"/>
                      <a:pt x="19" y="23"/>
                      <a:pt x="19" y="23"/>
                    </a:cubicBezTo>
                    <a:cubicBezTo>
                      <a:pt x="18" y="22"/>
                      <a:pt x="18" y="21"/>
                      <a:pt x="17" y="20"/>
                    </a:cubicBezTo>
                    <a:cubicBezTo>
                      <a:pt x="16" y="20"/>
                      <a:pt x="15" y="21"/>
                      <a:pt x="14" y="20"/>
                    </a:cubicBezTo>
                    <a:cubicBezTo>
                      <a:pt x="11" y="18"/>
                      <a:pt x="14" y="17"/>
                      <a:pt x="16" y="16"/>
                    </a:cubicBezTo>
                    <a:cubicBezTo>
                      <a:pt x="18" y="15"/>
                      <a:pt x="19" y="12"/>
                      <a:pt x="17" y="10"/>
                    </a:cubicBezTo>
                    <a:cubicBezTo>
                      <a:pt x="17" y="9"/>
                      <a:pt x="14" y="7"/>
                      <a:pt x="15" y="6"/>
                    </a:cubicBezTo>
                    <a:cubicBezTo>
                      <a:pt x="16" y="5"/>
                      <a:pt x="17" y="5"/>
                      <a:pt x="18" y="4"/>
                    </a:cubicBezTo>
                    <a:cubicBezTo>
                      <a:pt x="18" y="4"/>
                      <a:pt x="18" y="1"/>
                      <a:pt x="18" y="1"/>
                    </a:cubicBezTo>
                    <a:cubicBezTo>
                      <a:pt x="17" y="1"/>
                      <a:pt x="16" y="4"/>
                      <a:pt x="15" y="3"/>
                    </a:cubicBezTo>
                    <a:cubicBezTo>
                      <a:pt x="15" y="3"/>
                      <a:pt x="14" y="2"/>
                      <a:pt x="14" y="2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1"/>
                      <a:pt x="6" y="2"/>
                      <a:pt x="5" y="4"/>
                    </a:cubicBezTo>
                    <a:cubicBezTo>
                      <a:pt x="3" y="8"/>
                      <a:pt x="5" y="14"/>
                      <a:pt x="2" y="17"/>
                    </a:cubicBezTo>
                    <a:cubicBezTo>
                      <a:pt x="0" y="19"/>
                      <a:pt x="0" y="19"/>
                      <a:pt x="1" y="21"/>
                    </a:cubicBezTo>
                    <a:cubicBezTo>
                      <a:pt x="1" y="23"/>
                      <a:pt x="4" y="24"/>
                      <a:pt x="4" y="26"/>
                    </a:cubicBezTo>
                    <a:cubicBezTo>
                      <a:pt x="5" y="28"/>
                      <a:pt x="8" y="29"/>
                      <a:pt x="8" y="30"/>
                    </a:cubicBezTo>
                    <a:cubicBezTo>
                      <a:pt x="9" y="33"/>
                      <a:pt x="10" y="37"/>
                      <a:pt x="10" y="39"/>
                    </a:cubicBezTo>
                    <a:cubicBezTo>
                      <a:pt x="12" y="39"/>
                      <a:pt x="16" y="37"/>
                      <a:pt x="14" y="34"/>
                    </a:cubicBezTo>
                    <a:cubicBezTo>
                      <a:pt x="13" y="33"/>
                      <a:pt x="15" y="35"/>
                      <a:pt x="14" y="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0" name="Freeform 772">
                <a:extLst>
                  <a:ext uri="{FF2B5EF4-FFF2-40B4-BE49-F238E27FC236}">
                    <a16:creationId xmlns:a16="http://schemas.microsoft.com/office/drawing/2014/main" id="{7963B86A-4F4F-4D8F-942E-9B9D1B2499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8239" y="3712182"/>
                <a:ext cx="355189" cy="342447"/>
              </a:xfrm>
              <a:custGeom>
                <a:avLst/>
                <a:gdLst>
                  <a:gd name="T0" fmla="*/ 21 w 76"/>
                  <a:gd name="T1" fmla="*/ 55 h 73"/>
                  <a:gd name="T2" fmla="*/ 25 w 76"/>
                  <a:gd name="T3" fmla="*/ 57 h 73"/>
                  <a:gd name="T4" fmla="*/ 28 w 76"/>
                  <a:gd name="T5" fmla="*/ 55 h 73"/>
                  <a:gd name="T6" fmla="*/ 33 w 76"/>
                  <a:gd name="T7" fmla="*/ 53 h 73"/>
                  <a:gd name="T8" fmla="*/ 44 w 76"/>
                  <a:gd name="T9" fmla="*/ 59 h 73"/>
                  <a:gd name="T10" fmla="*/ 70 w 76"/>
                  <a:gd name="T11" fmla="*/ 73 h 73"/>
                  <a:gd name="T12" fmla="*/ 71 w 76"/>
                  <a:gd name="T13" fmla="*/ 71 h 73"/>
                  <a:gd name="T14" fmla="*/ 75 w 76"/>
                  <a:gd name="T15" fmla="*/ 71 h 73"/>
                  <a:gd name="T16" fmla="*/ 75 w 76"/>
                  <a:gd name="T17" fmla="*/ 66 h 73"/>
                  <a:gd name="T18" fmla="*/ 75 w 76"/>
                  <a:gd name="T19" fmla="*/ 44 h 73"/>
                  <a:gd name="T20" fmla="*/ 75 w 76"/>
                  <a:gd name="T21" fmla="*/ 24 h 73"/>
                  <a:gd name="T22" fmla="*/ 75 w 76"/>
                  <a:gd name="T23" fmla="*/ 20 h 73"/>
                  <a:gd name="T24" fmla="*/ 74 w 76"/>
                  <a:gd name="T25" fmla="*/ 17 h 73"/>
                  <a:gd name="T26" fmla="*/ 76 w 76"/>
                  <a:gd name="T27" fmla="*/ 14 h 73"/>
                  <a:gd name="T28" fmla="*/ 74 w 76"/>
                  <a:gd name="T29" fmla="*/ 11 h 73"/>
                  <a:gd name="T30" fmla="*/ 76 w 76"/>
                  <a:gd name="T31" fmla="*/ 8 h 73"/>
                  <a:gd name="T32" fmla="*/ 67 w 76"/>
                  <a:gd name="T33" fmla="*/ 5 h 73"/>
                  <a:gd name="T34" fmla="*/ 61 w 76"/>
                  <a:gd name="T35" fmla="*/ 2 h 73"/>
                  <a:gd name="T36" fmla="*/ 51 w 76"/>
                  <a:gd name="T37" fmla="*/ 6 h 73"/>
                  <a:gd name="T38" fmla="*/ 51 w 76"/>
                  <a:gd name="T39" fmla="*/ 9 h 73"/>
                  <a:gd name="T40" fmla="*/ 50 w 76"/>
                  <a:gd name="T41" fmla="*/ 14 h 73"/>
                  <a:gd name="T42" fmla="*/ 41 w 76"/>
                  <a:gd name="T43" fmla="*/ 13 h 73"/>
                  <a:gd name="T44" fmla="*/ 36 w 76"/>
                  <a:gd name="T45" fmla="*/ 12 h 73"/>
                  <a:gd name="T46" fmla="*/ 31 w 76"/>
                  <a:gd name="T47" fmla="*/ 10 h 73"/>
                  <a:gd name="T48" fmla="*/ 29 w 76"/>
                  <a:gd name="T49" fmla="*/ 6 h 73"/>
                  <a:gd name="T50" fmla="*/ 23 w 76"/>
                  <a:gd name="T51" fmla="*/ 3 h 73"/>
                  <a:gd name="T52" fmla="*/ 17 w 76"/>
                  <a:gd name="T53" fmla="*/ 2 h 73"/>
                  <a:gd name="T54" fmla="*/ 11 w 76"/>
                  <a:gd name="T55" fmla="*/ 0 h 73"/>
                  <a:gd name="T56" fmla="*/ 11 w 76"/>
                  <a:gd name="T57" fmla="*/ 4 h 73"/>
                  <a:gd name="T58" fmla="*/ 9 w 76"/>
                  <a:gd name="T59" fmla="*/ 6 h 73"/>
                  <a:gd name="T60" fmla="*/ 5 w 76"/>
                  <a:gd name="T61" fmla="*/ 8 h 73"/>
                  <a:gd name="T62" fmla="*/ 5 w 76"/>
                  <a:gd name="T63" fmla="*/ 14 h 73"/>
                  <a:gd name="T64" fmla="*/ 1 w 76"/>
                  <a:gd name="T65" fmla="*/ 17 h 73"/>
                  <a:gd name="T66" fmla="*/ 3 w 76"/>
                  <a:gd name="T67" fmla="*/ 21 h 73"/>
                  <a:gd name="T68" fmla="*/ 3 w 76"/>
                  <a:gd name="T69" fmla="*/ 26 h 73"/>
                  <a:gd name="T70" fmla="*/ 3 w 76"/>
                  <a:gd name="T71" fmla="*/ 31 h 73"/>
                  <a:gd name="T72" fmla="*/ 3 w 76"/>
                  <a:gd name="T73" fmla="*/ 34 h 73"/>
                  <a:gd name="T74" fmla="*/ 3 w 76"/>
                  <a:gd name="T75" fmla="*/ 37 h 73"/>
                  <a:gd name="T76" fmla="*/ 1 w 76"/>
                  <a:gd name="T77" fmla="*/ 40 h 73"/>
                  <a:gd name="T78" fmla="*/ 4 w 76"/>
                  <a:gd name="T79" fmla="*/ 46 h 73"/>
                  <a:gd name="T80" fmla="*/ 7 w 76"/>
                  <a:gd name="T81" fmla="*/ 48 h 73"/>
                  <a:gd name="T82" fmla="*/ 11 w 76"/>
                  <a:gd name="T83" fmla="*/ 49 h 73"/>
                  <a:gd name="T84" fmla="*/ 14 w 76"/>
                  <a:gd name="T85" fmla="*/ 53 h 73"/>
                  <a:gd name="T86" fmla="*/ 21 w 76"/>
                  <a:gd name="T87" fmla="*/ 55 h 73"/>
                  <a:gd name="T88" fmla="*/ 21 w 76"/>
                  <a:gd name="T89" fmla="*/ 5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6" h="73">
                    <a:moveTo>
                      <a:pt x="21" y="55"/>
                    </a:moveTo>
                    <a:cubicBezTo>
                      <a:pt x="21" y="56"/>
                      <a:pt x="24" y="58"/>
                      <a:pt x="25" y="57"/>
                    </a:cubicBezTo>
                    <a:cubicBezTo>
                      <a:pt x="26" y="56"/>
                      <a:pt x="27" y="56"/>
                      <a:pt x="28" y="55"/>
                    </a:cubicBezTo>
                    <a:cubicBezTo>
                      <a:pt x="29" y="55"/>
                      <a:pt x="32" y="53"/>
                      <a:pt x="33" y="53"/>
                    </a:cubicBezTo>
                    <a:cubicBezTo>
                      <a:pt x="37" y="55"/>
                      <a:pt x="40" y="57"/>
                      <a:pt x="44" y="59"/>
                    </a:cubicBezTo>
                    <a:cubicBezTo>
                      <a:pt x="53" y="64"/>
                      <a:pt x="61" y="69"/>
                      <a:pt x="70" y="73"/>
                    </a:cubicBezTo>
                    <a:cubicBezTo>
                      <a:pt x="70" y="71"/>
                      <a:pt x="69" y="71"/>
                      <a:pt x="71" y="71"/>
                    </a:cubicBezTo>
                    <a:cubicBezTo>
                      <a:pt x="71" y="71"/>
                      <a:pt x="75" y="71"/>
                      <a:pt x="75" y="71"/>
                    </a:cubicBezTo>
                    <a:cubicBezTo>
                      <a:pt x="75" y="69"/>
                      <a:pt x="75" y="68"/>
                      <a:pt x="75" y="66"/>
                    </a:cubicBezTo>
                    <a:cubicBezTo>
                      <a:pt x="75" y="59"/>
                      <a:pt x="75" y="52"/>
                      <a:pt x="75" y="44"/>
                    </a:cubicBezTo>
                    <a:cubicBezTo>
                      <a:pt x="75" y="37"/>
                      <a:pt x="75" y="30"/>
                      <a:pt x="75" y="24"/>
                    </a:cubicBezTo>
                    <a:cubicBezTo>
                      <a:pt x="75" y="22"/>
                      <a:pt x="75" y="21"/>
                      <a:pt x="75" y="20"/>
                    </a:cubicBezTo>
                    <a:cubicBezTo>
                      <a:pt x="74" y="19"/>
                      <a:pt x="74" y="18"/>
                      <a:pt x="74" y="17"/>
                    </a:cubicBezTo>
                    <a:cubicBezTo>
                      <a:pt x="74" y="16"/>
                      <a:pt x="76" y="15"/>
                      <a:pt x="76" y="14"/>
                    </a:cubicBezTo>
                    <a:cubicBezTo>
                      <a:pt x="76" y="13"/>
                      <a:pt x="74" y="12"/>
                      <a:pt x="74" y="11"/>
                    </a:cubicBezTo>
                    <a:cubicBezTo>
                      <a:pt x="74" y="10"/>
                      <a:pt x="75" y="9"/>
                      <a:pt x="76" y="8"/>
                    </a:cubicBezTo>
                    <a:cubicBezTo>
                      <a:pt x="73" y="6"/>
                      <a:pt x="70" y="7"/>
                      <a:pt x="67" y="5"/>
                    </a:cubicBezTo>
                    <a:cubicBezTo>
                      <a:pt x="65" y="4"/>
                      <a:pt x="64" y="2"/>
                      <a:pt x="61" y="2"/>
                    </a:cubicBezTo>
                    <a:cubicBezTo>
                      <a:pt x="57" y="2"/>
                      <a:pt x="53" y="3"/>
                      <a:pt x="51" y="6"/>
                    </a:cubicBezTo>
                    <a:cubicBezTo>
                      <a:pt x="50" y="7"/>
                      <a:pt x="50" y="8"/>
                      <a:pt x="51" y="9"/>
                    </a:cubicBezTo>
                    <a:cubicBezTo>
                      <a:pt x="52" y="11"/>
                      <a:pt x="51" y="12"/>
                      <a:pt x="50" y="14"/>
                    </a:cubicBezTo>
                    <a:cubicBezTo>
                      <a:pt x="48" y="17"/>
                      <a:pt x="44" y="15"/>
                      <a:pt x="41" y="13"/>
                    </a:cubicBezTo>
                    <a:cubicBezTo>
                      <a:pt x="39" y="13"/>
                      <a:pt x="38" y="12"/>
                      <a:pt x="36" y="12"/>
                    </a:cubicBezTo>
                    <a:cubicBezTo>
                      <a:pt x="34" y="11"/>
                      <a:pt x="32" y="12"/>
                      <a:pt x="31" y="10"/>
                    </a:cubicBezTo>
                    <a:cubicBezTo>
                      <a:pt x="30" y="9"/>
                      <a:pt x="30" y="7"/>
                      <a:pt x="29" y="6"/>
                    </a:cubicBezTo>
                    <a:cubicBezTo>
                      <a:pt x="28" y="4"/>
                      <a:pt x="25" y="4"/>
                      <a:pt x="23" y="3"/>
                    </a:cubicBezTo>
                    <a:cubicBezTo>
                      <a:pt x="21" y="2"/>
                      <a:pt x="19" y="2"/>
                      <a:pt x="17" y="2"/>
                    </a:cubicBezTo>
                    <a:cubicBezTo>
                      <a:pt x="15" y="2"/>
                      <a:pt x="14" y="1"/>
                      <a:pt x="11" y="0"/>
                    </a:cubicBezTo>
                    <a:cubicBezTo>
                      <a:pt x="11" y="1"/>
                      <a:pt x="11" y="2"/>
                      <a:pt x="11" y="4"/>
                    </a:cubicBezTo>
                    <a:cubicBezTo>
                      <a:pt x="11" y="5"/>
                      <a:pt x="11" y="4"/>
                      <a:pt x="9" y="6"/>
                    </a:cubicBezTo>
                    <a:cubicBezTo>
                      <a:pt x="8" y="7"/>
                      <a:pt x="7" y="7"/>
                      <a:pt x="5" y="8"/>
                    </a:cubicBezTo>
                    <a:cubicBezTo>
                      <a:pt x="3" y="10"/>
                      <a:pt x="6" y="12"/>
                      <a:pt x="5" y="14"/>
                    </a:cubicBezTo>
                    <a:cubicBezTo>
                      <a:pt x="4" y="16"/>
                      <a:pt x="1" y="16"/>
                      <a:pt x="1" y="17"/>
                    </a:cubicBezTo>
                    <a:cubicBezTo>
                      <a:pt x="1" y="19"/>
                      <a:pt x="2" y="20"/>
                      <a:pt x="3" y="21"/>
                    </a:cubicBezTo>
                    <a:cubicBezTo>
                      <a:pt x="3" y="23"/>
                      <a:pt x="3" y="25"/>
                      <a:pt x="3" y="26"/>
                    </a:cubicBezTo>
                    <a:cubicBezTo>
                      <a:pt x="3" y="28"/>
                      <a:pt x="4" y="29"/>
                      <a:pt x="3" y="31"/>
                    </a:cubicBezTo>
                    <a:cubicBezTo>
                      <a:pt x="3" y="32"/>
                      <a:pt x="3" y="33"/>
                      <a:pt x="3" y="34"/>
                    </a:cubicBezTo>
                    <a:cubicBezTo>
                      <a:pt x="3" y="35"/>
                      <a:pt x="4" y="36"/>
                      <a:pt x="3" y="37"/>
                    </a:cubicBezTo>
                    <a:cubicBezTo>
                      <a:pt x="3" y="38"/>
                      <a:pt x="0" y="38"/>
                      <a:pt x="1" y="40"/>
                    </a:cubicBezTo>
                    <a:cubicBezTo>
                      <a:pt x="3" y="42"/>
                      <a:pt x="4" y="43"/>
                      <a:pt x="4" y="46"/>
                    </a:cubicBezTo>
                    <a:cubicBezTo>
                      <a:pt x="4" y="48"/>
                      <a:pt x="6" y="47"/>
                      <a:pt x="7" y="48"/>
                    </a:cubicBezTo>
                    <a:cubicBezTo>
                      <a:pt x="9" y="48"/>
                      <a:pt x="10" y="48"/>
                      <a:pt x="11" y="49"/>
                    </a:cubicBezTo>
                    <a:cubicBezTo>
                      <a:pt x="12" y="50"/>
                      <a:pt x="13" y="52"/>
                      <a:pt x="14" y="53"/>
                    </a:cubicBezTo>
                    <a:cubicBezTo>
                      <a:pt x="16" y="54"/>
                      <a:pt x="19" y="53"/>
                      <a:pt x="21" y="55"/>
                    </a:cubicBezTo>
                    <a:cubicBezTo>
                      <a:pt x="22" y="56"/>
                      <a:pt x="20" y="54"/>
                      <a:pt x="21" y="55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1" name="Freeform 773">
                <a:extLst>
                  <a:ext uri="{FF2B5EF4-FFF2-40B4-BE49-F238E27FC236}">
                    <a16:creationId xmlns:a16="http://schemas.microsoft.com/office/drawing/2014/main" id="{B1A6A2CE-44CF-41DB-9A59-8B4235457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613" y="3857127"/>
                <a:ext cx="195911" cy="159278"/>
              </a:xfrm>
              <a:custGeom>
                <a:avLst/>
                <a:gdLst>
                  <a:gd name="T0" fmla="*/ 19 w 42"/>
                  <a:gd name="T1" fmla="*/ 34 h 34"/>
                  <a:gd name="T2" fmla="*/ 20 w 42"/>
                  <a:gd name="T3" fmla="*/ 25 h 34"/>
                  <a:gd name="T4" fmla="*/ 24 w 42"/>
                  <a:gd name="T5" fmla="*/ 22 h 34"/>
                  <a:gd name="T6" fmla="*/ 25 w 42"/>
                  <a:gd name="T7" fmla="*/ 20 h 34"/>
                  <a:gd name="T8" fmla="*/ 25 w 42"/>
                  <a:gd name="T9" fmla="*/ 9 h 34"/>
                  <a:gd name="T10" fmla="*/ 32 w 42"/>
                  <a:gd name="T11" fmla="*/ 9 h 34"/>
                  <a:gd name="T12" fmla="*/ 41 w 42"/>
                  <a:gd name="T13" fmla="*/ 9 h 34"/>
                  <a:gd name="T14" fmla="*/ 42 w 42"/>
                  <a:gd name="T15" fmla="*/ 2 h 34"/>
                  <a:gd name="T16" fmla="*/ 40 w 42"/>
                  <a:gd name="T17" fmla="*/ 0 h 34"/>
                  <a:gd name="T18" fmla="*/ 20 w 42"/>
                  <a:gd name="T19" fmla="*/ 0 h 34"/>
                  <a:gd name="T20" fmla="*/ 15 w 42"/>
                  <a:gd name="T21" fmla="*/ 6 h 34"/>
                  <a:gd name="T22" fmla="*/ 10 w 42"/>
                  <a:gd name="T23" fmla="*/ 17 h 34"/>
                  <a:gd name="T24" fmla="*/ 8 w 42"/>
                  <a:gd name="T25" fmla="*/ 18 h 34"/>
                  <a:gd name="T26" fmla="*/ 4 w 42"/>
                  <a:gd name="T27" fmla="*/ 25 h 34"/>
                  <a:gd name="T28" fmla="*/ 0 w 42"/>
                  <a:gd name="T29" fmla="*/ 34 h 34"/>
                  <a:gd name="T30" fmla="*/ 19 w 42"/>
                  <a:gd name="T3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2" h="34">
                    <a:moveTo>
                      <a:pt x="19" y="34"/>
                    </a:moveTo>
                    <a:cubicBezTo>
                      <a:pt x="19" y="31"/>
                      <a:pt x="18" y="26"/>
                      <a:pt x="20" y="25"/>
                    </a:cubicBezTo>
                    <a:cubicBezTo>
                      <a:pt x="21" y="24"/>
                      <a:pt x="23" y="23"/>
                      <a:pt x="24" y="22"/>
                    </a:cubicBezTo>
                    <a:cubicBezTo>
                      <a:pt x="25" y="22"/>
                      <a:pt x="25" y="20"/>
                      <a:pt x="25" y="20"/>
                    </a:cubicBezTo>
                    <a:cubicBezTo>
                      <a:pt x="25" y="16"/>
                      <a:pt x="25" y="13"/>
                      <a:pt x="25" y="9"/>
                    </a:cubicBezTo>
                    <a:cubicBezTo>
                      <a:pt x="25" y="9"/>
                      <a:pt x="31" y="9"/>
                      <a:pt x="32" y="9"/>
                    </a:cubicBezTo>
                    <a:cubicBezTo>
                      <a:pt x="35" y="9"/>
                      <a:pt x="38" y="9"/>
                      <a:pt x="41" y="9"/>
                    </a:cubicBezTo>
                    <a:cubicBezTo>
                      <a:pt x="42" y="9"/>
                      <a:pt x="42" y="3"/>
                      <a:pt x="42" y="2"/>
                    </a:cubicBezTo>
                    <a:cubicBezTo>
                      <a:pt x="42" y="0"/>
                      <a:pt x="42" y="0"/>
                      <a:pt x="40" y="0"/>
                    </a:cubicBezTo>
                    <a:cubicBezTo>
                      <a:pt x="33" y="0"/>
                      <a:pt x="27" y="0"/>
                      <a:pt x="20" y="0"/>
                    </a:cubicBezTo>
                    <a:cubicBezTo>
                      <a:pt x="18" y="2"/>
                      <a:pt x="17" y="4"/>
                      <a:pt x="15" y="6"/>
                    </a:cubicBezTo>
                    <a:cubicBezTo>
                      <a:pt x="11" y="9"/>
                      <a:pt x="11" y="12"/>
                      <a:pt x="10" y="17"/>
                    </a:cubicBezTo>
                    <a:cubicBezTo>
                      <a:pt x="10" y="17"/>
                      <a:pt x="9" y="18"/>
                      <a:pt x="8" y="18"/>
                    </a:cubicBezTo>
                    <a:cubicBezTo>
                      <a:pt x="6" y="20"/>
                      <a:pt x="5" y="22"/>
                      <a:pt x="4" y="25"/>
                    </a:cubicBezTo>
                    <a:cubicBezTo>
                      <a:pt x="2" y="28"/>
                      <a:pt x="0" y="30"/>
                      <a:pt x="0" y="34"/>
                    </a:cubicBezTo>
                    <a:cubicBezTo>
                      <a:pt x="6" y="34"/>
                      <a:pt x="13" y="34"/>
                      <a:pt x="19" y="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2" name="Freeform 774">
                <a:extLst>
                  <a:ext uri="{FF2B5EF4-FFF2-40B4-BE49-F238E27FC236}">
                    <a16:creationId xmlns:a16="http://schemas.microsoft.com/office/drawing/2014/main" id="{E45F80B1-605E-4268-87D2-01ABE66DC5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0586" y="3632544"/>
                <a:ext cx="280328" cy="224581"/>
              </a:xfrm>
              <a:custGeom>
                <a:avLst/>
                <a:gdLst>
                  <a:gd name="T0" fmla="*/ 22 w 60"/>
                  <a:gd name="T1" fmla="*/ 48 h 48"/>
                  <a:gd name="T2" fmla="*/ 23 w 60"/>
                  <a:gd name="T3" fmla="*/ 41 h 48"/>
                  <a:gd name="T4" fmla="*/ 29 w 60"/>
                  <a:gd name="T5" fmla="*/ 37 h 48"/>
                  <a:gd name="T6" fmla="*/ 33 w 60"/>
                  <a:gd name="T7" fmla="*/ 37 h 48"/>
                  <a:gd name="T8" fmla="*/ 38 w 60"/>
                  <a:gd name="T9" fmla="*/ 35 h 48"/>
                  <a:gd name="T10" fmla="*/ 40 w 60"/>
                  <a:gd name="T11" fmla="*/ 32 h 48"/>
                  <a:gd name="T12" fmla="*/ 45 w 60"/>
                  <a:gd name="T13" fmla="*/ 31 h 48"/>
                  <a:gd name="T14" fmla="*/ 46 w 60"/>
                  <a:gd name="T15" fmla="*/ 28 h 48"/>
                  <a:gd name="T16" fmla="*/ 50 w 60"/>
                  <a:gd name="T17" fmla="*/ 25 h 48"/>
                  <a:gd name="T18" fmla="*/ 53 w 60"/>
                  <a:gd name="T19" fmla="*/ 23 h 48"/>
                  <a:gd name="T20" fmla="*/ 58 w 60"/>
                  <a:gd name="T21" fmla="*/ 24 h 48"/>
                  <a:gd name="T22" fmla="*/ 56 w 60"/>
                  <a:gd name="T23" fmla="*/ 16 h 48"/>
                  <a:gd name="T24" fmla="*/ 56 w 60"/>
                  <a:gd name="T25" fmla="*/ 10 h 48"/>
                  <a:gd name="T26" fmla="*/ 55 w 60"/>
                  <a:gd name="T27" fmla="*/ 7 h 48"/>
                  <a:gd name="T28" fmla="*/ 51 w 60"/>
                  <a:gd name="T29" fmla="*/ 6 h 48"/>
                  <a:gd name="T30" fmla="*/ 47 w 60"/>
                  <a:gd name="T31" fmla="*/ 6 h 48"/>
                  <a:gd name="T32" fmla="*/ 42 w 60"/>
                  <a:gd name="T33" fmla="*/ 6 h 48"/>
                  <a:gd name="T34" fmla="*/ 35 w 60"/>
                  <a:gd name="T35" fmla="*/ 4 h 48"/>
                  <a:gd name="T36" fmla="*/ 30 w 60"/>
                  <a:gd name="T37" fmla="*/ 13 h 48"/>
                  <a:gd name="T38" fmla="*/ 20 w 60"/>
                  <a:gd name="T39" fmla="*/ 19 h 48"/>
                  <a:gd name="T40" fmla="*/ 16 w 60"/>
                  <a:gd name="T41" fmla="*/ 27 h 48"/>
                  <a:gd name="T42" fmla="*/ 16 w 60"/>
                  <a:gd name="T43" fmla="*/ 35 h 48"/>
                  <a:gd name="T44" fmla="*/ 14 w 60"/>
                  <a:gd name="T45" fmla="*/ 39 h 48"/>
                  <a:gd name="T46" fmla="*/ 9 w 60"/>
                  <a:gd name="T47" fmla="*/ 42 h 48"/>
                  <a:gd name="T48" fmla="*/ 5 w 60"/>
                  <a:gd name="T49" fmla="*/ 45 h 48"/>
                  <a:gd name="T50" fmla="*/ 0 w 60"/>
                  <a:gd name="T51" fmla="*/ 48 h 48"/>
                  <a:gd name="T52" fmla="*/ 22 w 60"/>
                  <a:gd name="T53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0" h="48">
                    <a:moveTo>
                      <a:pt x="22" y="48"/>
                    </a:moveTo>
                    <a:cubicBezTo>
                      <a:pt x="22" y="45"/>
                      <a:pt x="21" y="43"/>
                      <a:pt x="23" y="41"/>
                    </a:cubicBezTo>
                    <a:cubicBezTo>
                      <a:pt x="25" y="40"/>
                      <a:pt x="28" y="39"/>
                      <a:pt x="29" y="37"/>
                    </a:cubicBezTo>
                    <a:cubicBezTo>
                      <a:pt x="30" y="37"/>
                      <a:pt x="32" y="37"/>
                      <a:pt x="33" y="37"/>
                    </a:cubicBezTo>
                    <a:cubicBezTo>
                      <a:pt x="34" y="36"/>
                      <a:pt x="36" y="36"/>
                      <a:pt x="38" y="35"/>
                    </a:cubicBezTo>
                    <a:cubicBezTo>
                      <a:pt x="39" y="34"/>
                      <a:pt x="39" y="33"/>
                      <a:pt x="40" y="32"/>
                    </a:cubicBezTo>
                    <a:cubicBezTo>
                      <a:pt x="41" y="31"/>
                      <a:pt x="44" y="32"/>
                      <a:pt x="45" y="31"/>
                    </a:cubicBezTo>
                    <a:cubicBezTo>
                      <a:pt x="46" y="30"/>
                      <a:pt x="46" y="29"/>
                      <a:pt x="46" y="28"/>
                    </a:cubicBezTo>
                    <a:cubicBezTo>
                      <a:pt x="46" y="26"/>
                      <a:pt x="49" y="26"/>
                      <a:pt x="50" y="25"/>
                    </a:cubicBezTo>
                    <a:cubicBezTo>
                      <a:pt x="51" y="24"/>
                      <a:pt x="51" y="23"/>
                      <a:pt x="53" y="23"/>
                    </a:cubicBezTo>
                    <a:cubicBezTo>
                      <a:pt x="54" y="23"/>
                      <a:pt x="57" y="24"/>
                      <a:pt x="58" y="24"/>
                    </a:cubicBezTo>
                    <a:cubicBezTo>
                      <a:pt x="60" y="23"/>
                      <a:pt x="56" y="17"/>
                      <a:pt x="56" y="16"/>
                    </a:cubicBezTo>
                    <a:cubicBezTo>
                      <a:pt x="56" y="14"/>
                      <a:pt x="56" y="12"/>
                      <a:pt x="56" y="10"/>
                    </a:cubicBezTo>
                    <a:cubicBezTo>
                      <a:pt x="55" y="9"/>
                      <a:pt x="55" y="8"/>
                      <a:pt x="55" y="7"/>
                    </a:cubicBezTo>
                    <a:cubicBezTo>
                      <a:pt x="53" y="7"/>
                      <a:pt x="52" y="6"/>
                      <a:pt x="51" y="6"/>
                    </a:cubicBezTo>
                    <a:cubicBezTo>
                      <a:pt x="50" y="5"/>
                      <a:pt x="48" y="6"/>
                      <a:pt x="47" y="6"/>
                    </a:cubicBezTo>
                    <a:cubicBezTo>
                      <a:pt x="46" y="5"/>
                      <a:pt x="44" y="6"/>
                      <a:pt x="42" y="6"/>
                    </a:cubicBezTo>
                    <a:cubicBezTo>
                      <a:pt x="40" y="6"/>
                      <a:pt x="36" y="0"/>
                      <a:pt x="35" y="4"/>
                    </a:cubicBezTo>
                    <a:cubicBezTo>
                      <a:pt x="34" y="7"/>
                      <a:pt x="33" y="10"/>
                      <a:pt x="30" y="13"/>
                    </a:cubicBezTo>
                    <a:cubicBezTo>
                      <a:pt x="27" y="16"/>
                      <a:pt x="23" y="16"/>
                      <a:pt x="20" y="19"/>
                    </a:cubicBezTo>
                    <a:cubicBezTo>
                      <a:pt x="18" y="21"/>
                      <a:pt x="17" y="24"/>
                      <a:pt x="16" y="27"/>
                    </a:cubicBezTo>
                    <a:cubicBezTo>
                      <a:pt x="16" y="29"/>
                      <a:pt x="17" y="32"/>
                      <a:pt x="16" y="35"/>
                    </a:cubicBezTo>
                    <a:cubicBezTo>
                      <a:pt x="15" y="36"/>
                      <a:pt x="14" y="38"/>
                      <a:pt x="14" y="39"/>
                    </a:cubicBezTo>
                    <a:cubicBezTo>
                      <a:pt x="13" y="41"/>
                      <a:pt x="11" y="41"/>
                      <a:pt x="9" y="42"/>
                    </a:cubicBezTo>
                    <a:cubicBezTo>
                      <a:pt x="8" y="43"/>
                      <a:pt x="7" y="44"/>
                      <a:pt x="5" y="45"/>
                    </a:cubicBezTo>
                    <a:cubicBezTo>
                      <a:pt x="4" y="46"/>
                      <a:pt x="2" y="46"/>
                      <a:pt x="0" y="48"/>
                    </a:cubicBezTo>
                    <a:lnTo>
                      <a:pt x="22" y="48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3" name="Freeform 775">
                <a:extLst>
                  <a:ext uri="{FF2B5EF4-FFF2-40B4-BE49-F238E27FC236}">
                    <a16:creationId xmlns:a16="http://schemas.microsoft.com/office/drawing/2014/main" id="{81714687-3BDB-4C97-AC68-6EED3F026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9339" y="3610246"/>
                <a:ext cx="484203" cy="461904"/>
              </a:xfrm>
              <a:custGeom>
                <a:avLst/>
                <a:gdLst>
                  <a:gd name="T0" fmla="*/ 35 w 104"/>
                  <a:gd name="T1" fmla="*/ 22 h 99"/>
                  <a:gd name="T2" fmla="*/ 36 w 104"/>
                  <a:gd name="T3" fmla="*/ 29 h 99"/>
                  <a:gd name="T4" fmla="*/ 31 w 104"/>
                  <a:gd name="T5" fmla="*/ 28 h 99"/>
                  <a:gd name="T6" fmla="*/ 29 w 104"/>
                  <a:gd name="T7" fmla="*/ 30 h 99"/>
                  <a:gd name="T8" fmla="*/ 26 w 104"/>
                  <a:gd name="T9" fmla="*/ 31 h 99"/>
                  <a:gd name="T10" fmla="*/ 24 w 104"/>
                  <a:gd name="T11" fmla="*/ 35 h 99"/>
                  <a:gd name="T12" fmla="*/ 20 w 104"/>
                  <a:gd name="T13" fmla="*/ 37 h 99"/>
                  <a:gd name="T14" fmla="*/ 17 w 104"/>
                  <a:gd name="T15" fmla="*/ 40 h 99"/>
                  <a:gd name="T16" fmla="*/ 11 w 104"/>
                  <a:gd name="T17" fmla="*/ 42 h 99"/>
                  <a:gd name="T18" fmla="*/ 8 w 104"/>
                  <a:gd name="T19" fmla="*/ 43 h 99"/>
                  <a:gd name="T20" fmla="*/ 4 w 104"/>
                  <a:gd name="T21" fmla="*/ 45 h 99"/>
                  <a:gd name="T22" fmla="*/ 1 w 104"/>
                  <a:gd name="T23" fmla="*/ 52 h 99"/>
                  <a:gd name="T24" fmla="*/ 2 w 104"/>
                  <a:gd name="T25" fmla="*/ 56 h 99"/>
                  <a:gd name="T26" fmla="*/ 6 w 104"/>
                  <a:gd name="T27" fmla="*/ 59 h 99"/>
                  <a:gd name="T28" fmla="*/ 37 w 104"/>
                  <a:gd name="T29" fmla="*/ 79 h 99"/>
                  <a:gd name="T30" fmla="*/ 48 w 104"/>
                  <a:gd name="T31" fmla="*/ 86 h 99"/>
                  <a:gd name="T32" fmla="*/ 49 w 104"/>
                  <a:gd name="T33" fmla="*/ 87 h 99"/>
                  <a:gd name="T34" fmla="*/ 58 w 104"/>
                  <a:gd name="T35" fmla="*/ 93 h 99"/>
                  <a:gd name="T36" fmla="*/ 61 w 104"/>
                  <a:gd name="T37" fmla="*/ 99 h 99"/>
                  <a:gd name="T38" fmla="*/ 67 w 104"/>
                  <a:gd name="T39" fmla="*/ 97 h 99"/>
                  <a:gd name="T40" fmla="*/ 72 w 104"/>
                  <a:gd name="T41" fmla="*/ 96 h 99"/>
                  <a:gd name="T42" fmla="*/ 85 w 104"/>
                  <a:gd name="T43" fmla="*/ 87 h 99"/>
                  <a:gd name="T44" fmla="*/ 100 w 104"/>
                  <a:gd name="T45" fmla="*/ 77 h 99"/>
                  <a:gd name="T46" fmla="*/ 104 w 104"/>
                  <a:gd name="T47" fmla="*/ 75 h 99"/>
                  <a:gd name="T48" fmla="*/ 97 w 104"/>
                  <a:gd name="T49" fmla="*/ 69 h 99"/>
                  <a:gd name="T50" fmla="*/ 94 w 104"/>
                  <a:gd name="T51" fmla="*/ 69 h 99"/>
                  <a:gd name="T52" fmla="*/ 92 w 104"/>
                  <a:gd name="T53" fmla="*/ 63 h 99"/>
                  <a:gd name="T54" fmla="*/ 92 w 104"/>
                  <a:gd name="T55" fmla="*/ 60 h 99"/>
                  <a:gd name="T56" fmla="*/ 93 w 104"/>
                  <a:gd name="T57" fmla="*/ 55 h 99"/>
                  <a:gd name="T58" fmla="*/ 93 w 104"/>
                  <a:gd name="T59" fmla="*/ 50 h 99"/>
                  <a:gd name="T60" fmla="*/ 93 w 104"/>
                  <a:gd name="T61" fmla="*/ 46 h 99"/>
                  <a:gd name="T62" fmla="*/ 92 w 104"/>
                  <a:gd name="T63" fmla="*/ 42 h 99"/>
                  <a:gd name="T64" fmla="*/ 91 w 104"/>
                  <a:gd name="T65" fmla="*/ 37 h 99"/>
                  <a:gd name="T66" fmla="*/ 87 w 104"/>
                  <a:gd name="T67" fmla="*/ 27 h 99"/>
                  <a:gd name="T68" fmla="*/ 82 w 104"/>
                  <a:gd name="T69" fmla="*/ 20 h 99"/>
                  <a:gd name="T70" fmla="*/ 85 w 104"/>
                  <a:gd name="T71" fmla="*/ 13 h 99"/>
                  <a:gd name="T72" fmla="*/ 86 w 104"/>
                  <a:gd name="T73" fmla="*/ 2 h 99"/>
                  <a:gd name="T74" fmla="*/ 84 w 104"/>
                  <a:gd name="T75" fmla="*/ 1 h 99"/>
                  <a:gd name="T76" fmla="*/ 81 w 104"/>
                  <a:gd name="T77" fmla="*/ 0 h 99"/>
                  <a:gd name="T78" fmla="*/ 79 w 104"/>
                  <a:gd name="T79" fmla="*/ 1 h 99"/>
                  <a:gd name="T80" fmla="*/ 75 w 104"/>
                  <a:gd name="T81" fmla="*/ 0 h 99"/>
                  <a:gd name="T82" fmla="*/ 72 w 104"/>
                  <a:gd name="T83" fmla="*/ 2 h 99"/>
                  <a:gd name="T84" fmla="*/ 68 w 104"/>
                  <a:gd name="T85" fmla="*/ 1 h 99"/>
                  <a:gd name="T86" fmla="*/ 61 w 104"/>
                  <a:gd name="T87" fmla="*/ 2 h 99"/>
                  <a:gd name="T88" fmla="*/ 46 w 104"/>
                  <a:gd name="T89" fmla="*/ 5 h 99"/>
                  <a:gd name="T90" fmla="*/ 43 w 104"/>
                  <a:gd name="T91" fmla="*/ 7 h 99"/>
                  <a:gd name="T92" fmla="*/ 39 w 104"/>
                  <a:gd name="T93" fmla="*/ 8 h 99"/>
                  <a:gd name="T94" fmla="*/ 34 w 104"/>
                  <a:gd name="T95" fmla="*/ 12 h 99"/>
                  <a:gd name="T96" fmla="*/ 35 w 104"/>
                  <a:gd name="T97" fmla="*/ 22 h 99"/>
                  <a:gd name="T98" fmla="*/ 35 w 104"/>
                  <a:gd name="T99" fmla="*/ 2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4" h="99">
                    <a:moveTo>
                      <a:pt x="35" y="22"/>
                    </a:moveTo>
                    <a:cubicBezTo>
                      <a:pt x="36" y="23"/>
                      <a:pt x="40" y="29"/>
                      <a:pt x="36" y="29"/>
                    </a:cubicBezTo>
                    <a:cubicBezTo>
                      <a:pt x="35" y="28"/>
                      <a:pt x="32" y="27"/>
                      <a:pt x="31" y="28"/>
                    </a:cubicBezTo>
                    <a:cubicBezTo>
                      <a:pt x="30" y="29"/>
                      <a:pt x="30" y="29"/>
                      <a:pt x="29" y="30"/>
                    </a:cubicBezTo>
                    <a:cubicBezTo>
                      <a:pt x="28" y="31"/>
                      <a:pt x="27" y="31"/>
                      <a:pt x="26" y="31"/>
                    </a:cubicBezTo>
                    <a:cubicBezTo>
                      <a:pt x="24" y="32"/>
                      <a:pt x="25" y="34"/>
                      <a:pt x="24" y="35"/>
                    </a:cubicBezTo>
                    <a:cubicBezTo>
                      <a:pt x="24" y="37"/>
                      <a:pt x="21" y="36"/>
                      <a:pt x="20" y="37"/>
                    </a:cubicBezTo>
                    <a:cubicBezTo>
                      <a:pt x="18" y="37"/>
                      <a:pt x="18" y="39"/>
                      <a:pt x="17" y="40"/>
                    </a:cubicBezTo>
                    <a:cubicBezTo>
                      <a:pt x="15" y="42"/>
                      <a:pt x="13" y="41"/>
                      <a:pt x="11" y="42"/>
                    </a:cubicBezTo>
                    <a:cubicBezTo>
                      <a:pt x="10" y="42"/>
                      <a:pt x="9" y="42"/>
                      <a:pt x="8" y="43"/>
                    </a:cubicBezTo>
                    <a:cubicBezTo>
                      <a:pt x="7" y="43"/>
                      <a:pt x="5" y="44"/>
                      <a:pt x="4" y="45"/>
                    </a:cubicBezTo>
                    <a:cubicBezTo>
                      <a:pt x="0" y="47"/>
                      <a:pt x="1" y="48"/>
                      <a:pt x="1" y="52"/>
                    </a:cubicBezTo>
                    <a:cubicBezTo>
                      <a:pt x="1" y="55"/>
                      <a:pt x="0" y="55"/>
                      <a:pt x="2" y="56"/>
                    </a:cubicBezTo>
                    <a:cubicBezTo>
                      <a:pt x="3" y="57"/>
                      <a:pt x="5" y="58"/>
                      <a:pt x="6" y="59"/>
                    </a:cubicBezTo>
                    <a:cubicBezTo>
                      <a:pt x="16" y="66"/>
                      <a:pt x="26" y="72"/>
                      <a:pt x="37" y="79"/>
                    </a:cubicBezTo>
                    <a:cubicBezTo>
                      <a:pt x="40" y="81"/>
                      <a:pt x="44" y="84"/>
                      <a:pt x="48" y="86"/>
                    </a:cubicBezTo>
                    <a:cubicBezTo>
                      <a:pt x="48" y="87"/>
                      <a:pt x="49" y="87"/>
                      <a:pt x="49" y="87"/>
                    </a:cubicBezTo>
                    <a:cubicBezTo>
                      <a:pt x="52" y="92"/>
                      <a:pt x="54" y="92"/>
                      <a:pt x="58" y="93"/>
                    </a:cubicBezTo>
                    <a:cubicBezTo>
                      <a:pt x="61" y="94"/>
                      <a:pt x="58" y="98"/>
                      <a:pt x="61" y="99"/>
                    </a:cubicBezTo>
                    <a:cubicBezTo>
                      <a:pt x="62" y="99"/>
                      <a:pt x="65" y="98"/>
                      <a:pt x="67" y="97"/>
                    </a:cubicBezTo>
                    <a:cubicBezTo>
                      <a:pt x="68" y="97"/>
                      <a:pt x="71" y="97"/>
                      <a:pt x="72" y="96"/>
                    </a:cubicBezTo>
                    <a:cubicBezTo>
                      <a:pt x="76" y="93"/>
                      <a:pt x="80" y="90"/>
                      <a:pt x="85" y="87"/>
                    </a:cubicBezTo>
                    <a:cubicBezTo>
                      <a:pt x="90" y="84"/>
                      <a:pt x="95" y="80"/>
                      <a:pt x="100" y="77"/>
                    </a:cubicBezTo>
                    <a:cubicBezTo>
                      <a:pt x="101" y="77"/>
                      <a:pt x="102" y="76"/>
                      <a:pt x="104" y="75"/>
                    </a:cubicBezTo>
                    <a:cubicBezTo>
                      <a:pt x="102" y="71"/>
                      <a:pt x="101" y="70"/>
                      <a:pt x="97" y="69"/>
                    </a:cubicBezTo>
                    <a:cubicBezTo>
                      <a:pt x="96" y="69"/>
                      <a:pt x="94" y="69"/>
                      <a:pt x="94" y="69"/>
                    </a:cubicBezTo>
                    <a:cubicBezTo>
                      <a:pt x="94" y="66"/>
                      <a:pt x="94" y="65"/>
                      <a:pt x="92" y="63"/>
                    </a:cubicBezTo>
                    <a:cubicBezTo>
                      <a:pt x="91" y="61"/>
                      <a:pt x="91" y="61"/>
                      <a:pt x="92" y="60"/>
                    </a:cubicBezTo>
                    <a:cubicBezTo>
                      <a:pt x="94" y="58"/>
                      <a:pt x="93" y="57"/>
                      <a:pt x="93" y="55"/>
                    </a:cubicBezTo>
                    <a:cubicBezTo>
                      <a:pt x="93" y="53"/>
                      <a:pt x="94" y="52"/>
                      <a:pt x="93" y="50"/>
                    </a:cubicBezTo>
                    <a:cubicBezTo>
                      <a:pt x="93" y="49"/>
                      <a:pt x="93" y="48"/>
                      <a:pt x="93" y="46"/>
                    </a:cubicBezTo>
                    <a:cubicBezTo>
                      <a:pt x="93" y="45"/>
                      <a:pt x="93" y="43"/>
                      <a:pt x="92" y="42"/>
                    </a:cubicBezTo>
                    <a:cubicBezTo>
                      <a:pt x="91" y="41"/>
                      <a:pt x="91" y="39"/>
                      <a:pt x="91" y="37"/>
                    </a:cubicBezTo>
                    <a:cubicBezTo>
                      <a:pt x="91" y="34"/>
                      <a:pt x="90" y="30"/>
                      <a:pt x="87" y="27"/>
                    </a:cubicBezTo>
                    <a:cubicBezTo>
                      <a:pt x="85" y="25"/>
                      <a:pt x="83" y="23"/>
                      <a:pt x="82" y="20"/>
                    </a:cubicBezTo>
                    <a:cubicBezTo>
                      <a:pt x="80" y="16"/>
                      <a:pt x="84" y="17"/>
                      <a:pt x="85" y="13"/>
                    </a:cubicBezTo>
                    <a:cubicBezTo>
                      <a:pt x="85" y="9"/>
                      <a:pt x="85" y="6"/>
                      <a:pt x="86" y="2"/>
                    </a:cubicBezTo>
                    <a:cubicBezTo>
                      <a:pt x="85" y="2"/>
                      <a:pt x="85" y="1"/>
                      <a:pt x="84" y="1"/>
                    </a:cubicBezTo>
                    <a:cubicBezTo>
                      <a:pt x="82" y="2"/>
                      <a:pt x="82" y="0"/>
                      <a:pt x="81" y="0"/>
                    </a:cubicBezTo>
                    <a:cubicBezTo>
                      <a:pt x="80" y="0"/>
                      <a:pt x="80" y="1"/>
                      <a:pt x="79" y="1"/>
                    </a:cubicBezTo>
                    <a:cubicBezTo>
                      <a:pt x="77" y="1"/>
                      <a:pt x="77" y="0"/>
                      <a:pt x="75" y="0"/>
                    </a:cubicBezTo>
                    <a:cubicBezTo>
                      <a:pt x="74" y="1"/>
                      <a:pt x="73" y="1"/>
                      <a:pt x="72" y="2"/>
                    </a:cubicBezTo>
                    <a:cubicBezTo>
                      <a:pt x="70" y="3"/>
                      <a:pt x="70" y="2"/>
                      <a:pt x="68" y="1"/>
                    </a:cubicBezTo>
                    <a:cubicBezTo>
                      <a:pt x="66" y="1"/>
                      <a:pt x="63" y="1"/>
                      <a:pt x="61" y="2"/>
                    </a:cubicBezTo>
                    <a:cubicBezTo>
                      <a:pt x="56" y="3"/>
                      <a:pt x="51" y="3"/>
                      <a:pt x="46" y="5"/>
                    </a:cubicBezTo>
                    <a:cubicBezTo>
                      <a:pt x="45" y="6"/>
                      <a:pt x="44" y="7"/>
                      <a:pt x="43" y="7"/>
                    </a:cubicBezTo>
                    <a:cubicBezTo>
                      <a:pt x="42" y="8"/>
                      <a:pt x="40" y="8"/>
                      <a:pt x="39" y="8"/>
                    </a:cubicBezTo>
                    <a:cubicBezTo>
                      <a:pt x="37" y="9"/>
                      <a:pt x="37" y="12"/>
                      <a:pt x="34" y="12"/>
                    </a:cubicBezTo>
                    <a:cubicBezTo>
                      <a:pt x="35" y="15"/>
                      <a:pt x="35" y="18"/>
                      <a:pt x="35" y="22"/>
                    </a:cubicBezTo>
                    <a:cubicBezTo>
                      <a:pt x="36" y="23"/>
                      <a:pt x="35" y="20"/>
                      <a:pt x="35" y="2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4" name="Freeform 776">
                <a:extLst>
                  <a:ext uri="{FF2B5EF4-FFF2-40B4-BE49-F238E27FC236}">
                    <a16:creationId xmlns:a16="http://schemas.microsoft.com/office/drawing/2014/main" id="{996F23AB-949C-42D4-8564-EE897F793D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8946" y="1859791"/>
                <a:ext cx="1425532" cy="1062380"/>
              </a:xfrm>
              <a:custGeom>
                <a:avLst/>
                <a:gdLst>
                  <a:gd name="T0" fmla="*/ 33 w 305"/>
                  <a:gd name="T1" fmla="*/ 54 h 227"/>
                  <a:gd name="T2" fmla="*/ 1 w 305"/>
                  <a:gd name="T3" fmla="*/ 63 h 227"/>
                  <a:gd name="T4" fmla="*/ 19 w 305"/>
                  <a:gd name="T5" fmla="*/ 72 h 227"/>
                  <a:gd name="T6" fmla="*/ 24 w 305"/>
                  <a:gd name="T7" fmla="*/ 75 h 227"/>
                  <a:gd name="T8" fmla="*/ 20 w 305"/>
                  <a:gd name="T9" fmla="*/ 81 h 227"/>
                  <a:gd name="T10" fmla="*/ 36 w 305"/>
                  <a:gd name="T11" fmla="*/ 86 h 227"/>
                  <a:gd name="T12" fmla="*/ 73 w 305"/>
                  <a:gd name="T13" fmla="*/ 93 h 227"/>
                  <a:gd name="T14" fmla="*/ 87 w 305"/>
                  <a:gd name="T15" fmla="*/ 112 h 227"/>
                  <a:gd name="T16" fmla="*/ 88 w 305"/>
                  <a:gd name="T17" fmla="*/ 122 h 227"/>
                  <a:gd name="T18" fmla="*/ 89 w 305"/>
                  <a:gd name="T19" fmla="*/ 131 h 227"/>
                  <a:gd name="T20" fmla="*/ 104 w 305"/>
                  <a:gd name="T21" fmla="*/ 129 h 227"/>
                  <a:gd name="T22" fmla="*/ 106 w 305"/>
                  <a:gd name="T23" fmla="*/ 135 h 227"/>
                  <a:gd name="T24" fmla="*/ 106 w 305"/>
                  <a:gd name="T25" fmla="*/ 144 h 227"/>
                  <a:gd name="T26" fmla="*/ 109 w 305"/>
                  <a:gd name="T27" fmla="*/ 155 h 227"/>
                  <a:gd name="T28" fmla="*/ 106 w 305"/>
                  <a:gd name="T29" fmla="*/ 160 h 227"/>
                  <a:gd name="T30" fmla="*/ 100 w 305"/>
                  <a:gd name="T31" fmla="*/ 162 h 227"/>
                  <a:gd name="T32" fmla="*/ 112 w 305"/>
                  <a:gd name="T33" fmla="*/ 165 h 227"/>
                  <a:gd name="T34" fmla="*/ 112 w 305"/>
                  <a:gd name="T35" fmla="*/ 169 h 227"/>
                  <a:gd name="T36" fmla="*/ 107 w 305"/>
                  <a:gd name="T37" fmla="*/ 172 h 227"/>
                  <a:gd name="T38" fmla="*/ 107 w 305"/>
                  <a:gd name="T39" fmla="*/ 180 h 227"/>
                  <a:gd name="T40" fmla="*/ 110 w 305"/>
                  <a:gd name="T41" fmla="*/ 192 h 227"/>
                  <a:gd name="T42" fmla="*/ 114 w 305"/>
                  <a:gd name="T43" fmla="*/ 193 h 227"/>
                  <a:gd name="T44" fmla="*/ 120 w 305"/>
                  <a:gd name="T45" fmla="*/ 210 h 227"/>
                  <a:gd name="T46" fmla="*/ 138 w 305"/>
                  <a:gd name="T47" fmla="*/ 219 h 227"/>
                  <a:gd name="T48" fmla="*/ 142 w 305"/>
                  <a:gd name="T49" fmla="*/ 224 h 227"/>
                  <a:gd name="T50" fmla="*/ 151 w 305"/>
                  <a:gd name="T51" fmla="*/ 214 h 227"/>
                  <a:gd name="T52" fmla="*/ 156 w 305"/>
                  <a:gd name="T53" fmla="*/ 200 h 227"/>
                  <a:gd name="T54" fmla="*/ 163 w 305"/>
                  <a:gd name="T55" fmla="*/ 192 h 227"/>
                  <a:gd name="T56" fmla="*/ 173 w 305"/>
                  <a:gd name="T57" fmla="*/ 179 h 227"/>
                  <a:gd name="T58" fmla="*/ 193 w 305"/>
                  <a:gd name="T59" fmla="*/ 173 h 227"/>
                  <a:gd name="T60" fmla="*/ 216 w 305"/>
                  <a:gd name="T61" fmla="*/ 160 h 227"/>
                  <a:gd name="T62" fmla="*/ 232 w 305"/>
                  <a:gd name="T63" fmla="*/ 142 h 227"/>
                  <a:gd name="T64" fmla="*/ 234 w 305"/>
                  <a:gd name="T65" fmla="*/ 130 h 227"/>
                  <a:gd name="T66" fmla="*/ 253 w 305"/>
                  <a:gd name="T67" fmla="*/ 129 h 227"/>
                  <a:gd name="T68" fmla="*/ 233 w 305"/>
                  <a:gd name="T69" fmla="*/ 119 h 227"/>
                  <a:gd name="T70" fmla="*/ 238 w 305"/>
                  <a:gd name="T71" fmla="*/ 113 h 227"/>
                  <a:gd name="T72" fmla="*/ 262 w 305"/>
                  <a:gd name="T73" fmla="*/ 112 h 227"/>
                  <a:gd name="T74" fmla="*/ 258 w 305"/>
                  <a:gd name="T75" fmla="*/ 106 h 227"/>
                  <a:gd name="T76" fmla="*/ 266 w 305"/>
                  <a:gd name="T77" fmla="*/ 95 h 227"/>
                  <a:gd name="T78" fmla="*/ 253 w 305"/>
                  <a:gd name="T79" fmla="*/ 80 h 227"/>
                  <a:gd name="T80" fmla="*/ 263 w 305"/>
                  <a:gd name="T81" fmla="*/ 66 h 227"/>
                  <a:gd name="T82" fmla="*/ 268 w 305"/>
                  <a:gd name="T83" fmla="*/ 51 h 227"/>
                  <a:gd name="T84" fmla="*/ 283 w 305"/>
                  <a:gd name="T85" fmla="*/ 38 h 227"/>
                  <a:gd name="T86" fmla="*/ 291 w 305"/>
                  <a:gd name="T87" fmla="*/ 33 h 227"/>
                  <a:gd name="T88" fmla="*/ 259 w 305"/>
                  <a:gd name="T89" fmla="*/ 28 h 227"/>
                  <a:gd name="T90" fmla="*/ 238 w 305"/>
                  <a:gd name="T91" fmla="*/ 21 h 227"/>
                  <a:gd name="T92" fmla="*/ 256 w 305"/>
                  <a:gd name="T93" fmla="*/ 14 h 227"/>
                  <a:gd name="T94" fmla="*/ 206 w 305"/>
                  <a:gd name="T95" fmla="*/ 8 h 227"/>
                  <a:gd name="T96" fmla="*/ 213 w 305"/>
                  <a:gd name="T97" fmla="*/ 0 h 227"/>
                  <a:gd name="T98" fmla="*/ 173 w 305"/>
                  <a:gd name="T99" fmla="*/ 8 h 227"/>
                  <a:gd name="T100" fmla="*/ 155 w 305"/>
                  <a:gd name="T101" fmla="*/ 10 h 227"/>
                  <a:gd name="T102" fmla="*/ 154 w 305"/>
                  <a:gd name="T103" fmla="*/ 11 h 227"/>
                  <a:gd name="T104" fmla="*/ 140 w 305"/>
                  <a:gd name="T105" fmla="*/ 14 h 227"/>
                  <a:gd name="T106" fmla="*/ 111 w 305"/>
                  <a:gd name="T107" fmla="*/ 14 h 227"/>
                  <a:gd name="T108" fmla="*/ 98 w 305"/>
                  <a:gd name="T109" fmla="*/ 23 h 227"/>
                  <a:gd name="T110" fmla="*/ 73 w 305"/>
                  <a:gd name="T111" fmla="*/ 21 h 227"/>
                  <a:gd name="T112" fmla="*/ 55 w 305"/>
                  <a:gd name="T113" fmla="*/ 3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05" h="227">
                    <a:moveTo>
                      <a:pt x="32" y="37"/>
                    </a:moveTo>
                    <a:cubicBezTo>
                      <a:pt x="31" y="38"/>
                      <a:pt x="26" y="40"/>
                      <a:pt x="27" y="41"/>
                    </a:cubicBezTo>
                    <a:cubicBezTo>
                      <a:pt x="28" y="42"/>
                      <a:pt x="30" y="42"/>
                      <a:pt x="32" y="43"/>
                    </a:cubicBezTo>
                    <a:cubicBezTo>
                      <a:pt x="34" y="43"/>
                      <a:pt x="36" y="43"/>
                      <a:pt x="39" y="43"/>
                    </a:cubicBezTo>
                    <a:cubicBezTo>
                      <a:pt x="39" y="43"/>
                      <a:pt x="44" y="42"/>
                      <a:pt x="45" y="42"/>
                    </a:cubicBezTo>
                    <a:cubicBezTo>
                      <a:pt x="44" y="42"/>
                      <a:pt x="42" y="43"/>
                      <a:pt x="41" y="44"/>
                    </a:cubicBezTo>
                    <a:cubicBezTo>
                      <a:pt x="40" y="45"/>
                      <a:pt x="39" y="46"/>
                      <a:pt x="40" y="48"/>
                    </a:cubicBezTo>
                    <a:cubicBezTo>
                      <a:pt x="42" y="50"/>
                      <a:pt x="36" y="55"/>
                      <a:pt x="33" y="54"/>
                    </a:cubicBezTo>
                    <a:cubicBezTo>
                      <a:pt x="32" y="53"/>
                      <a:pt x="30" y="54"/>
                      <a:pt x="28" y="54"/>
                    </a:cubicBezTo>
                    <a:cubicBezTo>
                      <a:pt x="27" y="53"/>
                      <a:pt x="25" y="54"/>
                      <a:pt x="24" y="54"/>
                    </a:cubicBezTo>
                    <a:cubicBezTo>
                      <a:pt x="23" y="54"/>
                      <a:pt x="21" y="54"/>
                      <a:pt x="20" y="56"/>
                    </a:cubicBezTo>
                    <a:cubicBezTo>
                      <a:pt x="19" y="57"/>
                      <a:pt x="18" y="57"/>
                      <a:pt x="16" y="57"/>
                    </a:cubicBezTo>
                    <a:cubicBezTo>
                      <a:pt x="13" y="58"/>
                      <a:pt x="10" y="59"/>
                      <a:pt x="7" y="59"/>
                    </a:cubicBezTo>
                    <a:cubicBezTo>
                      <a:pt x="6" y="59"/>
                      <a:pt x="4" y="58"/>
                      <a:pt x="4" y="59"/>
                    </a:cubicBezTo>
                    <a:cubicBezTo>
                      <a:pt x="3" y="60"/>
                      <a:pt x="0" y="60"/>
                      <a:pt x="0" y="62"/>
                    </a:cubicBezTo>
                    <a:cubicBezTo>
                      <a:pt x="0" y="63"/>
                      <a:pt x="1" y="62"/>
                      <a:pt x="1" y="63"/>
                    </a:cubicBezTo>
                    <a:cubicBezTo>
                      <a:pt x="1" y="63"/>
                      <a:pt x="0" y="64"/>
                      <a:pt x="0" y="64"/>
                    </a:cubicBezTo>
                    <a:cubicBezTo>
                      <a:pt x="0" y="65"/>
                      <a:pt x="2" y="67"/>
                      <a:pt x="3" y="68"/>
                    </a:cubicBezTo>
                    <a:cubicBezTo>
                      <a:pt x="3" y="68"/>
                      <a:pt x="4" y="67"/>
                      <a:pt x="4" y="67"/>
                    </a:cubicBezTo>
                    <a:cubicBezTo>
                      <a:pt x="5" y="66"/>
                      <a:pt x="6" y="67"/>
                      <a:pt x="7" y="68"/>
                    </a:cubicBezTo>
                    <a:cubicBezTo>
                      <a:pt x="8" y="68"/>
                      <a:pt x="13" y="69"/>
                      <a:pt x="13" y="67"/>
                    </a:cubicBezTo>
                    <a:cubicBezTo>
                      <a:pt x="13" y="68"/>
                      <a:pt x="12" y="68"/>
                      <a:pt x="13" y="69"/>
                    </a:cubicBezTo>
                    <a:cubicBezTo>
                      <a:pt x="13" y="70"/>
                      <a:pt x="15" y="71"/>
                      <a:pt x="16" y="71"/>
                    </a:cubicBezTo>
                    <a:cubicBezTo>
                      <a:pt x="17" y="72"/>
                      <a:pt x="18" y="72"/>
                      <a:pt x="19" y="72"/>
                    </a:cubicBezTo>
                    <a:cubicBezTo>
                      <a:pt x="21" y="72"/>
                      <a:pt x="21" y="70"/>
                      <a:pt x="22" y="71"/>
                    </a:cubicBezTo>
                    <a:cubicBezTo>
                      <a:pt x="24" y="71"/>
                      <a:pt x="27" y="71"/>
                      <a:pt x="28" y="71"/>
                    </a:cubicBezTo>
                    <a:cubicBezTo>
                      <a:pt x="29" y="71"/>
                      <a:pt x="29" y="70"/>
                      <a:pt x="30" y="69"/>
                    </a:cubicBezTo>
                    <a:cubicBezTo>
                      <a:pt x="31" y="69"/>
                      <a:pt x="34" y="71"/>
                      <a:pt x="34" y="72"/>
                    </a:cubicBezTo>
                    <a:cubicBezTo>
                      <a:pt x="34" y="73"/>
                      <a:pt x="24" y="72"/>
                      <a:pt x="22" y="73"/>
                    </a:cubicBezTo>
                    <a:cubicBezTo>
                      <a:pt x="20" y="73"/>
                      <a:pt x="23" y="74"/>
                      <a:pt x="24" y="74"/>
                    </a:cubicBezTo>
                    <a:cubicBezTo>
                      <a:pt x="26" y="75"/>
                      <a:pt x="27" y="74"/>
                      <a:pt x="29" y="75"/>
                    </a:cubicBezTo>
                    <a:cubicBezTo>
                      <a:pt x="28" y="74"/>
                      <a:pt x="26" y="75"/>
                      <a:pt x="24" y="75"/>
                    </a:cubicBezTo>
                    <a:cubicBezTo>
                      <a:pt x="21" y="75"/>
                      <a:pt x="18" y="74"/>
                      <a:pt x="15" y="74"/>
                    </a:cubicBezTo>
                    <a:cubicBezTo>
                      <a:pt x="13" y="74"/>
                      <a:pt x="9" y="74"/>
                      <a:pt x="9" y="76"/>
                    </a:cubicBezTo>
                    <a:cubicBezTo>
                      <a:pt x="8" y="77"/>
                      <a:pt x="11" y="78"/>
                      <a:pt x="12" y="78"/>
                    </a:cubicBezTo>
                    <a:cubicBezTo>
                      <a:pt x="13" y="78"/>
                      <a:pt x="15" y="77"/>
                      <a:pt x="15" y="77"/>
                    </a:cubicBezTo>
                    <a:cubicBezTo>
                      <a:pt x="16" y="78"/>
                      <a:pt x="15" y="78"/>
                      <a:pt x="15" y="79"/>
                    </a:cubicBezTo>
                    <a:cubicBezTo>
                      <a:pt x="16" y="80"/>
                      <a:pt x="18" y="80"/>
                      <a:pt x="19" y="80"/>
                    </a:cubicBezTo>
                    <a:cubicBezTo>
                      <a:pt x="21" y="80"/>
                      <a:pt x="23" y="80"/>
                      <a:pt x="25" y="80"/>
                    </a:cubicBezTo>
                    <a:cubicBezTo>
                      <a:pt x="25" y="80"/>
                      <a:pt x="21" y="81"/>
                      <a:pt x="20" y="81"/>
                    </a:cubicBezTo>
                    <a:cubicBezTo>
                      <a:pt x="16" y="82"/>
                      <a:pt x="19" y="84"/>
                      <a:pt x="21" y="85"/>
                    </a:cubicBezTo>
                    <a:cubicBezTo>
                      <a:pt x="23" y="86"/>
                      <a:pt x="25" y="86"/>
                      <a:pt x="27" y="87"/>
                    </a:cubicBezTo>
                    <a:cubicBezTo>
                      <a:pt x="27" y="87"/>
                      <a:pt x="31" y="87"/>
                      <a:pt x="31" y="87"/>
                    </a:cubicBezTo>
                    <a:cubicBezTo>
                      <a:pt x="31" y="87"/>
                      <a:pt x="29" y="86"/>
                      <a:pt x="29" y="85"/>
                    </a:cubicBezTo>
                    <a:cubicBezTo>
                      <a:pt x="29" y="84"/>
                      <a:pt x="31" y="85"/>
                      <a:pt x="31" y="85"/>
                    </a:cubicBezTo>
                    <a:cubicBezTo>
                      <a:pt x="32" y="86"/>
                      <a:pt x="33" y="85"/>
                      <a:pt x="34" y="84"/>
                    </a:cubicBezTo>
                    <a:cubicBezTo>
                      <a:pt x="34" y="84"/>
                      <a:pt x="35" y="83"/>
                      <a:pt x="36" y="83"/>
                    </a:cubicBezTo>
                    <a:cubicBezTo>
                      <a:pt x="37" y="84"/>
                      <a:pt x="36" y="86"/>
                      <a:pt x="36" y="86"/>
                    </a:cubicBezTo>
                    <a:cubicBezTo>
                      <a:pt x="37" y="87"/>
                      <a:pt x="40" y="85"/>
                      <a:pt x="41" y="85"/>
                    </a:cubicBezTo>
                    <a:cubicBezTo>
                      <a:pt x="43" y="84"/>
                      <a:pt x="43" y="84"/>
                      <a:pt x="44" y="85"/>
                    </a:cubicBezTo>
                    <a:cubicBezTo>
                      <a:pt x="45" y="86"/>
                      <a:pt x="46" y="84"/>
                      <a:pt x="47" y="84"/>
                    </a:cubicBezTo>
                    <a:cubicBezTo>
                      <a:pt x="48" y="83"/>
                      <a:pt x="50" y="84"/>
                      <a:pt x="51" y="84"/>
                    </a:cubicBezTo>
                    <a:cubicBezTo>
                      <a:pt x="54" y="84"/>
                      <a:pt x="58" y="85"/>
                      <a:pt x="61" y="86"/>
                    </a:cubicBezTo>
                    <a:cubicBezTo>
                      <a:pt x="63" y="86"/>
                      <a:pt x="65" y="88"/>
                      <a:pt x="67" y="88"/>
                    </a:cubicBezTo>
                    <a:cubicBezTo>
                      <a:pt x="69" y="88"/>
                      <a:pt x="71" y="89"/>
                      <a:pt x="72" y="90"/>
                    </a:cubicBezTo>
                    <a:cubicBezTo>
                      <a:pt x="74" y="91"/>
                      <a:pt x="73" y="92"/>
                      <a:pt x="73" y="93"/>
                    </a:cubicBezTo>
                    <a:cubicBezTo>
                      <a:pt x="73" y="94"/>
                      <a:pt x="75" y="96"/>
                      <a:pt x="76" y="96"/>
                    </a:cubicBezTo>
                    <a:cubicBezTo>
                      <a:pt x="77" y="97"/>
                      <a:pt x="79" y="96"/>
                      <a:pt x="80" y="97"/>
                    </a:cubicBezTo>
                    <a:cubicBezTo>
                      <a:pt x="80" y="99"/>
                      <a:pt x="82" y="100"/>
                      <a:pt x="83" y="101"/>
                    </a:cubicBezTo>
                    <a:cubicBezTo>
                      <a:pt x="84" y="102"/>
                      <a:pt x="83" y="104"/>
                      <a:pt x="84" y="105"/>
                    </a:cubicBezTo>
                    <a:cubicBezTo>
                      <a:pt x="84" y="106"/>
                      <a:pt x="86" y="107"/>
                      <a:pt x="86" y="109"/>
                    </a:cubicBezTo>
                    <a:cubicBezTo>
                      <a:pt x="86" y="110"/>
                      <a:pt x="85" y="110"/>
                      <a:pt x="86" y="111"/>
                    </a:cubicBezTo>
                    <a:cubicBezTo>
                      <a:pt x="86" y="111"/>
                      <a:pt x="87" y="112"/>
                      <a:pt x="87" y="112"/>
                    </a:cubicBezTo>
                    <a:cubicBezTo>
                      <a:pt x="87" y="112"/>
                      <a:pt x="87" y="112"/>
                      <a:pt x="87" y="112"/>
                    </a:cubicBezTo>
                    <a:cubicBezTo>
                      <a:pt x="88" y="111"/>
                      <a:pt x="90" y="113"/>
                      <a:pt x="89" y="114"/>
                    </a:cubicBezTo>
                    <a:cubicBezTo>
                      <a:pt x="88" y="115"/>
                      <a:pt x="88" y="115"/>
                      <a:pt x="88" y="117"/>
                    </a:cubicBezTo>
                    <a:cubicBezTo>
                      <a:pt x="88" y="116"/>
                      <a:pt x="90" y="115"/>
                      <a:pt x="91" y="117"/>
                    </a:cubicBezTo>
                    <a:cubicBezTo>
                      <a:pt x="91" y="118"/>
                      <a:pt x="91" y="118"/>
                      <a:pt x="91" y="119"/>
                    </a:cubicBezTo>
                    <a:cubicBezTo>
                      <a:pt x="91" y="119"/>
                      <a:pt x="91" y="121"/>
                      <a:pt x="91" y="120"/>
                    </a:cubicBezTo>
                    <a:cubicBezTo>
                      <a:pt x="91" y="121"/>
                      <a:pt x="93" y="121"/>
                      <a:pt x="93" y="121"/>
                    </a:cubicBezTo>
                    <a:cubicBezTo>
                      <a:pt x="92" y="120"/>
                      <a:pt x="89" y="126"/>
                      <a:pt x="90" y="122"/>
                    </a:cubicBezTo>
                    <a:cubicBezTo>
                      <a:pt x="90" y="122"/>
                      <a:pt x="88" y="121"/>
                      <a:pt x="88" y="122"/>
                    </a:cubicBezTo>
                    <a:cubicBezTo>
                      <a:pt x="88" y="122"/>
                      <a:pt x="89" y="122"/>
                      <a:pt x="89" y="122"/>
                    </a:cubicBezTo>
                    <a:cubicBezTo>
                      <a:pt x="89" y="123"/>
                      <a:pt x="86" y="123"/>
                      <a:pt x="87" y="124"/>
                    </a:cubicBezTo>
                    <a:cubicBezTo>
                      <a:pt x="87" y="124"/>
                      <a:pt x="90" y="125"/>
                      <a:pt x="89" y="125"/>
                    </a:cubicBezTo>
                    <a:cubicBezTo>
                      <a:pt x="87" y="127"/>
                      <a:pt x="91" y="127"/>
                      <a:pt x="92" y="126"/>
                    </a:cubicBezTo>
                    <a:cubicBezTo>
                      <a:pt x="91" y="127"/>
                      <a:pt x="90" y="127"/>
                      <a:pt x="88" y="127"/>
                    </a:cubicBezTo>
                    <a:cubicBezTo>
                      <a:pt x="88" y="127"/>
                      <a:pt x="86" y="129"/>
                      <a:pt x="86" y="129"/>
                    </a:cubicBezTo>
                    <a:cubicBezTo>
                      <a:pt x="86" y="129"/>
                      <a:pt x="87" y="130"/>
                      <a:pt x="87" y="130"/>
                    </a:cubicBezTo>
                    <a:cubicBezTo>
                      <a:pt x="89" y="131"/>
                      <a:pt x="88" y="131"/>
                      <a:pt x="89" y="131"/>
                    </a:cubicBezTo>
                    <a:cubicBezTo>
                      <a:pt x="90" y="131"/>
                      <a:pt x="94" y="133"/>
                      <a:pt x="95" y="131"/>
                    </a:cubicBezTo>
                    <a:cubicBezTo>
                      <a:pt x="95" y="128"/>
                      <a:pt x="97" y="129"/>
                      <a:pt x="98" y="128"/>
                    </a:cubicBezTo>
                    <a:cubicBezTo>
                      <a:pt x="98" y="128"/>
                      <a:pt x="96" y="122"/>
                      <a:pt x="96" y="122"/>
                    </a:cubicBezTo>
                    <a:cubicBezTo>
                      <a:pt x="96" y="123"/>
                      <a:pt x="98" y="126"/>
                      <a:pt x="98" y="126"/>
                    </a:cubicBezTo>
                    <a:cubicBezTo>
                      <a:pt x="99" y="128"/>
                      <a:pt x="100" y="126"/>
                      <a:pt x="101" y="126"/>
                    </a:cubicBezTo>
                    <a:cubicBezTo>
                      <a:pt x="101" y="126"/>
                      <a:pt x="98" y="130"/>
                      <a:pt x="98" y="130"/>
                    </a:cubicBezTo>
                    <a:cubicBezTo>
                      <a:pt x="98" y="130"/>
                      <a:pt x="102" y="129"/>
                      <a:pt x="102" y="129"/>
                    </a:cubicBezTo>
                    <a:cubicBezTo>
                      <a:pt x="103" y="129"/>
                      <a:pt x="104" y="129"/>
                      <a:pt x="104" y="129"/>
                    </a:cubicBezTo>
                    <a:cubicBezTo>
                      <a:pt x="105" y="129"/>
                      <a:pt x="106" y="128"/>
                      <a:pt x="107" y="128"/>
                    </a:cubicBezTo>
                    <a:cubicBezTo>
                      <a:pt x="107" y="129"/>
                      <a:pt x="106" y="130"/>
                      <a:pt x="105" y="130"/>
                    </a:cubicBezTo>
                    <a:cubicBezTo>
                      <a:pt x="104" y="130"/>
                      <a:pt x="102" y="130"/>
                      <a:pt x="101" y="131"/>
                    </a:cubicBezTo>
                    <a:cubicBezTo>
                      <a:pt x="100" y="132"/>
                      <a:pt x="103" y="131"/>
                      <a:pt x="103" y="131"/>
                    </a:cubicBezTo>
                    <a:cubicBezTo>
                      <a:pt x="105" y="131"/>
                      <a:pt x="107" y="131"/>
                      <a:pt x="109" y="131"/>
                    </a:cubicBezTo>
                    <a:cubicBezTo>
                      <a:pt x="108" y="131"/>
                      <a:pt x="104" y="131"/>
                      <a:pt x="104" y="132"/>
                    </a:cubicBezTo>
                    <a:cubicBezTo>
                      <a:pt x="104" y="132"/>
                      <a:pt x="106" y="133"/>
                      <a:pt x="106" y="134"/>
                    </a:cubicBezTo>
                    <a:cubicBezTo>
                      <a:pt x="106" y="134"/>
                      <a:pt x="106" y="135"/>
                      <a:pt x="106" y="135"/>
                    </a:cubicBezTo>
                    <a:cubicBezTo>
                      <a:pt x="106" y="136"/>
                      <a:pt x="105" y="136"/>
                      <a:pt x="106" y="137"/>
                    </a:cubicBezTo>
                    <a:cubicBezTo>
                      <a:pt x="106" y="137"/>
                      <a:pt x="108" y="136"/>
                      <a:pt x="109" y="136"/>
                    </a:cubicBezTo>
                    <a:cubicBezTo>
                      <a:pt x="110" y="136"/>
                      <a:pt x="109" y="136"/>
                      <a:pt x="110" y="137"/>
                    </a:cubicBezTo>
                    <a:cubicBezTo>
                      <a:pt x="111" y="138"/>
                      <a:pt x="111" y="139"/>
                      <a:pt x="112" y="140"/>
                    </a:cubicBezTo>
                    <a:cubicBezTo>
                      <a:pt x="112" y="141"/>
                      <a:pt x="109" y="141"/>
                      <a:pt x="109" y="141"/>
                    </a:cubicBezTo>
                    <a:cubicBezTo>
                      <a:pt x="105" y="138"/>
                      <a:pt x="99" y="136"/>
                      <a:pt x="95" y="137"/>
                    </a:cubicBezTo>
                    <a:cubicBezTo>
                      <a:pt x="91" y="137"/>
                      <a:pt x="96" y="140"/>
                      <a:pt x="98" y="140"/>
                    </a:cubicBezTo>
                    <a:cubicBezTo>
                      <a:pt x="101" y="141"/>
                      <a:pt x="103" y="144"/>
                      <a:pt x="106" y="144"/>
                    </a:cubicBezTo>
                    <a:cubicBezTo>
                      <a:pt x="107" y="144"/>
                      <a:pt x="108" y="143"/>
                      <a:pt x="110" y="143"/>
                    </a:cubicBezTo>
                    <a:cubicBezTo>
                      <a:pt x="110" y="144"/>
                      <a:pt x="113" y="144"/>
                      <a:pt x="113" y="144"/>
                    </a:cubicBezTo>
                    <a:cubicBezTo>
                      <a:pt x="114" y="145"/>
                      <a:pt x="113" y="146"/>
                      <a:pt x="113" y="146"/>
                    </a:cubicBezTo>
                    <a:cubicBezTo>
                      <a:pt x="110" y="147"/>
                      <a:pt x="114" y="148"/>
                      <a:pt x="113" y="149"/>
                    </a:cubicBezTo>
                    <a:cubicBezTo>
                      <a:pt x="113" y="150"/>
                      <a:pt x="111" y="149"/>
                      <a:pt x="111" y="151"/>
                    </a:cubicBezTo>
                    <a:cubicBezTo>
                      <a:pt x="111" y="152"/>
                      <a:pt x="113" y="152"/>
                      <a:pt x="113" y="152"/>
                    </a:cubicBezTo>
                    <a:cubicBezTo>
                      <a:pt x="112" y="153"/>
                      <a:pt x="110" y="151"/>
                      <a:pt x="110" y="152"/>
                    </a:cubicBezTo>
                    <a:cubicBezTo>
                      <a:pt x="109" y="153"/>
                      <a:pt x="109" y="154"/>
                      <a:pt x="109" y="155"/>
                    </a:cubicBezTo>
                    <a:cubicBezTo>
                      <a:pt x="109" y="155"/>
                      <a:pt x="111" y="155"/>
                      <a:pt x="111" y="155"/>
                    </a:cubicBezTo>
                    <a:cubicBezTo>
                      <a:pt x="111" y="156"/>
                      <a:pt x="109" y="157"/>
                      <a:pt x="108" y="157"/>
                    </a:cubicBezTo>
                    <a:cubicBezTo>
                      <a:pt x="107" y="157"/>
                      <a:pt x="106" y="157"/>
                      <a:pt x="105" y="157"/>
                    </a:cubicBezTo>
                    <a:cubicBezTo>
                      <a:pt x="104" y="156"/>
                      <a:pt x="103" y="156"/>
                      <a:pt x="102" y="157"/>
                    </a:cubicBezTo>
                    <a:cubicBezTo>
                      <a:pt x="101" y="158"/>
                      <a:pt x="101" y="157"/>
                      <a:pt x="100" y="158"/>
                    </a:cubicBezTo>
                    <a:cubicBezTo>
                      <a:pt x="100" y="158"/>
                      <a:pt x="103" y="161"/>
                      <a:pt x="104" y="161"/>
                    </a:cubicBezTo>
                    <a:cubicBezTo>
                      <a:pt x="104" y="160"/>
                      <a:pt x="104" y="160"/>
                      <a:pt x="103" y="160"/>
                    </a:cubicBezTo>
                    <a:cubicBezTo>
                      <a:pt x="103" y="160"/>
                      <a:pt x="106" y="160"/>
                      <a:pt x="106" y="160"/>
                    </a:cubicBezTo>
                    <a:cubicBezTo>
                      <a:pt x="106" y="160"/>
                      <a:pt x="111" y="158"/>
                      <a:pt x="111" y="159"/>
                    </a:cubicBezTo>
                    <a:cubicBezTo>
                      <a:pt x="110" y="159"/>
                      <a:pt x="109" y="159"/>
                      <a:pt x="108" y="160"/>
                    </a:cubicBezTo>
                    <a:cubicBezTo>
                      <a:pt x="109" y="159"/>
                      <a:pt x="111" y="161"/>
                      <a:pt x="110" y="161"/>
                    </a:cubicBezTo>
                    <a:cubicBezTo>
                      <a:pt x="111" y="161"/>
                      <a:pt x="114" y="162"/>
                      <a:pt x="115" y="162"/>
                    </a:cubicBezTo>
                    <a:cubicBezTo>
                      <a:pt x="114" y="162"/>
                      <a:pt x="112" y="162"/>
                      <a:pt x="112" y="162"/>
                    </a:cubicBezTo>
                    <a:cubicBezTo>
                      <a:pt x="112" y="162"/>
                      <a:pt x="116" y="165"/>
                      <a:pt x="116" y="165"/>
                    </a:cubicBezTo>
                    <a:cubicBezTo>
                      <a:pt x="113" y="165"/>
                      <a:pt x="111" y="161"/>
                      <a:pt x="108" y="161"/>
                    </a:cubicBezTo>
                    <a:cubicBezTo>
                      <a:pt x="106" y="161"/>
                      <a:pt x="101" y="160"/>
                      <a:pt x="100" y="162"/>
                    </a:cubicBezTo>
                    <a:cubicBezTo>
                      <a:pt x="100" y="163"/>
                      <a:pt x="99" y="163"/>
                      <a:pt x="98" y="164"/>
                    </a:cubicBezTo>
                    <a:cubicBezTo>
                      <a:pt x="97" y="164"/>
                      <a:pt x="97" y="166"/>
                      <a:pt x="98" y="165"/>
                    </a:cubicBezTo>
                    <a:cubicBezTo>
                      <a:pt x="100" y="165"/>
                      <a:pt x="102" y="164"/>
                      <a:pt x="103" y="162"/>
                    </a:cubicBezTo>
                    <a:cubicBezTo>
                      <a:pt x="103" y="163"/>
                      <a:pt x="105" y="163"/>
                      <a:pt x="105" y="163"/>
                    </a:cubicBezTo>
                    <a:cubicBezTo>
                      <a:pt x="106" y="163"/>
                      <a:pt x="108" y="166"/>
                      <a:pt x="108" y="163"/>
                    </a:cubicBezTo>
                    <a:cubicBezTo>
                      <a:pt x="108" y="162"/>
                      <a:pt x="110" y="164"/>
                      <a:pt x="110" y="164"/>
                    </a:cubicBezTo>
                    <a:cubicBezTo>
                      <a:pt x="110" y="164"/>
                      <a:pt x="114" y="164"/>
                      <a:pt x="113" y="165"/>
                    </a:cubicBezTo>
                    <a:cubicBezTo>
                      <a:pt x="113" y="165"/>
                      <a:pt x="112" y="165"/>
                      <a:pt x="112" y="165"/>
                    </a:cubicBezTo>
                    <a:cubicBezTo>
                      <a:pt x="112" y="165"/>
                      <a:pt x="114" y="166"/>
                      <a:pt x="114" y="166"/>
                    </a:cubicBezTo>
                    <a:cubicBezTo>
                      <a:pt x="113" y="166"/>
                      <a:pt x="111" y="166"/>
                      <a:pt x="110" y="165"/>
                    </a:cubicBezTo>
                    <a:cubicBezTo>
                      <a:pt x="109" y="164"/>
                      <a:pt x="109" y="165"/>
                      <a:pt x="109" y="166"/>
                    </a:cubicBezTo>
                    <a:cubicBezTo>
                      <a:pt x="109" y="165"/>
                      <a:pt x="103" y="164"/>
                      <a:pt x="102" y="164"/>
                    </a:cubicBezTo>
                    <a:cubicBezTo>
                      <a:pt x="101" y="164"/>
                      <a:pt x="95" y="166"/>
                      <a:pt x="96" y="168"/>
                    </a:cubicBezTo>
                    <a:cubicBezTo>
                      <a:pt x="97" y="169"/>
                      <a:pt x="103" y="167"/>
                      <a:pt x="104" y="167"/>
                    </a:cubicBezTo>
                    <a:cubicBezTo>
                      <a:pt x="105" y="167"/>
                      <a:pt x="107" y="167"/>
                      <a:pt x="108" y="168"/>
                    </a:cubicBezTo>
                    <a:cubicBezTo>
                      <a:pt x="108" y="168"/>
                      <a:pt x="112" y="169"/>
                      <a:pt x="112" y="169"/>
                    </a:cubicBezTo>
                    <a:cubicBezTo>
                      <a:pt x="112" y="170"/>
                      <a:pt x="107" y="168"/>
                      <a:pt x="107" y="168"/>
                    </a:cubicBezTo>
                    <a:cubicBezTo>
                      <a:pt x="105" y="167"/>
                      <a:pt x="102" y="168"/>
                      <a:pt x="100" y="168"/>
                    </a:cubicBezTo>
                    <a:cubicBezTo>
                      <a:pt x="93" y="170"/>
                      <a:pt x="101" y="172"/>
                      <a:pt x="103" y="171"/>
                    </a:cubicBezTo>
                    <a:cubicBezTo>
                      <a:pt x="102" y="172"/>
                      <a:pt x="101" y="173"/>
                      <a:pt x="99" y="173"/>
                    </a:cubicBezTo>
                    <a:cubicBezTo>
                      <a:pt x="96" y="174"/>
                      <a:pt x="101" y="175"/>
                      <a:pt x="101" y="175"/>
                    </a:cubicBezTo>
                    <a:cubicBezTo>
                      <a:pt x="101" y="175"/>
                      <a:pt x="97" y="174"/>
                      <a:pt x="97" y="176"/>
                    </a:cubicBezTo>
                    <a:cubicBezTo>
                      <a:pt x="97" y="179"/>
                      <a:pt x="99" y="177"/>
                      <a:pt x="101" y="176"/>
                    </a:cubicBezTo>
                    <a:cubicBezTo>
                      <a:pt x="103" y="175"/>
                      <a:pt x="105" y="173"/>
                      <a:pt x="107" y="172"/>
                    </a:cubicBezTo>
                    <a:cubicBezTo>
                      <a:pt x="108" y="172"/>
                      <a:pt x="114" y="169"/>
                      <a:pt x="114" y="171"/>
                    </a:cubicBezTo>
                    <a:cubicBezTo>
                      <a:pt x="114" y="171"/>
                      <a:pt x="111" y="171"/>
                      <a:pt x="111" y="171"/>
                    </a:cubicBezTo>
                    <a:cubicBezTo>
                      <a:pt x="111" y="171"/>
                      <a:pt x="113" y="171"/>
                      <a:pt x="114" y="172"/>
                    </a:cubicBezTo>
                    <a:cubicBezTo>
                      <a:pt x="111" y="170"/>
                      <a:pt x="98" y="178"/>
                      <a:pt x="99" y="179"/>
                    </a:cubicBezTo>
                    <a:cubicBezTo>
                      <a:pt x="99" y="180"/>
                      <a:pt x="105" y="178"/>
                      <a:pt x="106" y="178"/>
                    </a:cubicBezTo>
                    <a:cubicBezTo>
                      <a:pt x="106" y="178"/>
                      <a:pt x="102" y="179"/>
                      <a:pt x="101" y="180"/>
                    </a:cubicBezTo>
                    <a:cubicBezTo>
                      <a:pt x="101" y="180"/>
                      <a:pt x="103" y="184"/>
                      <a:pt x="104" y="183"/>
                    </a:cubicBezTo>
                    <a:cubicBezTo>
                      <a:pt x="105" y="182"/>
                      <a:pt x="106" y="180"/>
                      <a:pt x="107" y="180"/>
                    </a:cubicBezTo>
                    <a:cubicBezTo>
                      <a:pt x="108" y="180"/>
                      <a:pt x="112" y="181"/>
                      <a:pt x="112" y="181"/>
                    </a:cubicBezTo>
                    <a:cubicBezTo>
                      <a:pt x="112" y="181"/>
                      <a:pt x="108" y="181"/>
                      <a:pt x="108" y="181"/>
                    </a:cubicBezTo>
                    <a:cubicBezTo>
                      <a:pt x="106" y="181"/>
                      <a:pt x="105" y="182"/>
                      <a:pt x="104" y="183"/>
                    </a:cubicBezTo>
                    <a:cubicBezTo>
                      <a:pt x="104" y="184"/>
                      <a:pt x="104" y="185"/>
                      <a:pt x="104" y="186"/>
                    </a:cubicBezTo>
                    <a:cubicBezTo>
                      <a:pt x="105" y="189"/>
                      <a:pt x="105" y="188"/>
                      <a:pt x="107" y="187"/>
                    </a:cubicBezTo>
                    <a:cubicBezTo>
                      <a:pt x="106" y="188"/>
                      <a:pt x="105" y="192"/>
                      <a:pt x="106" y="193"/>
                    </a:cubicBezTo>
                    <a:cubicBezTo>
                      <a:pt x="106" y="193"/>
                      <a:pt x="109" y="189"/>
                      <a:pt x="110" y="189"/>
                    </a:cubicBezTo>
                    <a:cubicBezTo>
                      <a:pt x="110" y="190"/>
                      <a:pt x="109" y="191"/>
                      <a:pt x="110" y="192"/>
                    </a:cubicBezTo>
                    <a:cubicBezTo>
                      <a:pt x="110" y="193"/>
                      <a:pt x="111" y="191"/>
                      <a:pt x="112" y="191"/>
                    </a:cubicBezTo>
                    <a:cubicBezTo>
                      <a:pt x="114" y="189"/>
                      <a:pt x="110" y="187"/>
                      <a:pt x="110" y="186"/>
                    </a:cubicBezTo>
                    <a:cubicBezTo>
                      <a:pt x="110" y="186"/>
                      <a:pt x="112" y="189"/>
                      <a:pt x="113" y="189"/>
                    </a:cubicBezTo>
                    <a:cubicBezTo>
                      <a:pt x="114" y="190"/>
                      <a:pt x="114" y="189"/>
                      <a:pt x="115" y="188"/>
                    </a:cubicBezTo>
                    <a:cubicBezTo>
                      <a:pt x="114" y="188"/>
                      <a:pt x="117" y="191"/>
                      <a:pt x="116" y="192"/>
                    </a:cubicBezTo>
                    <a:cubicBezTo>
                      <a:pt x="117" y="191"/>
                      <a:pt x="114" y="189"/>
                      <a:pt x="114" y="191"/>
                    </a:cubicBezTo>
                    <a:cubicBezTo>
                      <a:pt x="114" y="193"/>
                      <a:pt x="116" y="195"/>
                      <a:pt x="114" y="196"/>
                    </a:cubicBezTo>
                    <a:cubicBezTo>
                      <a:pt x="114" y="196"/>
                      <a:pt x="114" y="193"/>
                      <a:pt x="114" y="193"/>
                    </a:cubicBezTo>
                    <a:cubicBezTo>
                      <a:pt x="114" y="192"/>
                      <a:pt x="112" y="194"/>
                      <a:pt x="111" y="194"/>
                    </a:cubicBezTo>
                    <a:cubicBezTo>
                      <a:pt x="110" y="194"/>
                      <a:pt x="109" y="196"/>
                      <a:pt x="109" y="197"/>
                    </a:cubicBezTo>
                    <a:cubicBezTo>
                      <a:pt x="108" y="199"/>
                      <a:pt x="111" y="197"/>
                      <a:pt x="111" y="198"/>
                    </a:cubicBezTo>
                    <a:cubicBezTo>
                      <a:pt x="112" y="199"/>
                      <a:pt x="110" y="200"/>
                      <a:pt x="110" y="200"/>
                    </a:cubicBezTo>
                    <a:cubicBezTo>
                      <a:pt x="110" y="200"/>
                      <a:pt x="112" y="199"/>
                      <a:pt x="113" y="201"/>
                    </a:cubicBezTo>
                    <a:cubicBezTo>
                      <a:pt x="113" y="203"/>
                      <a:pt x="115" y="204"/>
                      <a:pt x="115" y="205"/>
                    </a:cubicBezTo>
                    <a:cubicBezTo>
                      <a:pt x="114" y="207"/>
                      <a:pt x="115" y="207"/>
                      <a:pt x="117" y="209"/>
                    </a:cubicBezTo>
                    <a:cubicBezTo>
                      <a:pt x="118" y="210"/>
                      <a:pt x="119" y="212"/>
                      <a:pt x="120" y="210"/>
                    </a:cubicBezTo>
                    <a:cubicBezTo>
                      <a:pt x="120" y="210"/>
                      <a:pt x="121" y="215"/>
                      <a:pt x="122" y="215"/>
                    </a:cubicBezTo>
                    <a:cubicBezTo>
                      <a:pt x="123" y="216"/>
                      <a:pt x="122" y="215"/>
                      <a:pt x="123" y="215"/>
                    </a:cubicBezTo>
                    <a:cubicBezTo>
                      <a:pt x="124" y="216"/>
                      <a:pt x="125" y="217"/>
                      <a:pt x="126" y="218"/>
                    </a:cubicBezTo>
                    <a:cubicBezTo>
                      <a:pt x="128" y="219"/>
                      <a:pt x="130" y="220"/>
                      <a:pt x="132" y="219"/>
                    </a:cubicBezTo>
                    <a:cubicBezTo>
                      <a:pt x="133" y="219"/>
                      <a:pt x="136" y="219"/>
                      <a:pt x="136" y="218"/>
                    </a:cubicBezTo>
                    <a:cubicBezTo>
                      <a:pt x="136" y="218"/>
                      <a:pt x="136" y="221"/>
                      <a:pt x="136" y="221"/>
                    </a:cubicBezTo>
                    <a:cubicBezTo>
                      <a:pt x="136" y="221"/>
                      <a:pt x="138" y="217"/>
                      <a:pt x="138" y="218"/>
                    </a:cubicBezTo>
                    <a:cubicBezTo>
                      <a:pt x="139" y="218"/>
                      <a:pt x="138" y="219"/>
                      <a:pt x="138" y="219"/>
                    </a:cubicBezTo>
                    <a:cubicBezTo>
                      <a:pt x="138" y="220"/>
                      <a:pt x="139" y="220"/>
                      <a:pt x="139" y="220"/>
                    </a:cubicBezTo>
                    <a:cubicBezTo>
                      <a:pt x="139" y="220"/>
                      <a:pt x="136" y="221"/>
                      <a:pt x="137" y="222"/>
                    </a:cubicBezTo>
                    <a:cubicBezTo>
                      <a:pt x="138" y="222"/>
                      <a:pt x="138" y="222"/>
                      <a:pt x="139" y="221"/>
                    </a:cubicBezTo>
                    <a:cubicBezTo>
                      <a:pt x="140" y="222"/>
                      <a:pt x="139" y="223"/>
                      <a:pt x="139" y="223"/>
                    </a:cubicBezTo>
                    <a:cubicBezTo>
                      <a:pt x="139" y="224"/>
                      <a:pt x="142" y="221"/>
                      <a:pt x="142" y="222"/>
                    </a:cubicBezTo>
                    <a:cubicBezTo>
                      <a:pt x="142" y="223"/>
                      <a:pt x="140" y="224"/>
                      <a:pt x="140" y="225"/>
                    </a:cubicBezTo>
                    <a:cubicBezTo>
                      <a:pt x="140" y="224"/>
                      <a:pt x="143" y="223"/>
                      <a:pt x="142" y="225"/>
                    </a:cubicBezTo>
                    <a:cubicBezTo>
                      <a:pt x="142" y="225"/>
                      <a:pt x="142" y="225"/>
                      <a:pt x="142" y="224"/>
                    </a:cubicBezTo>
                    <a:cubicBezTo>
                      <a:pt x="142" y="226"/>
                      <a:pt x="145" y="223"/>
                      <a:pt x="145" y="223"/>
                    </a:cubicBezTo>
                    <a:cubicBezTo>
                      <a:pt x="146" y="224"/>
                      <a:pt x="145" y="226"/>
                      <a:pt x="145" y="227"/>
                    </a:cubicBezTo>
                    <a:cubicBezTo>
                      <a:pt x="144" y="225"/>
                      <a:pt x="153" y="225"/>
                      <a:pt x="147" y="222"/>
                    </a:cubicBezTo>
                    <a:cubicBezTo>
                      <a:pt x="148" y="222"/>
                      <a:pt x="153" y="222"/>
                      <a:pt x="150" y="221"/>
                    </a:cubicBezTo>
                    <a:cubicBezTo>
                      <a:pt x="147" y="219"/>
                      <a:pt x="151" y="220"/>
                      <a:pt x="152" y="218"/>
                    </a:cubicBezTo>
                    <a:cubicBezTo>
                      <a:pt x="152" y="218"/>
                      <a:pt x="149" y="218"/>
                      <a:pt x="149" y="218"/>
                    </a:cubicBezTo>
                    <a:cubicBezTo>
                      <a:pt x="150" y="217"/>
                      <a:pt x="151" y="216"/>
                      <a:pt x="152" y="216"/>
                    </a:cubicBezTo>
                    <a:cubicBezTo>
                      <a:pt x="154" y="214"/>
                      <a:pt x="151" y="215"/>
                      <a:pt x="151" y="214"/>
                    </a:cubicBezTo>
                    <a:cubicBezTo>
                      <a:pt x="151" y="214"/>
                      <a:pt x="154" y="213"/>
                      <a:pt x="154" y="212"/>
                    </a:cubicBezTo>
                    <a:cubicBezTo>
                      <a:pt x="154" y="211"/>
                      <a:pt x="154" y="209"/>
                      <a:pt x="153" y="208"/>
                    </a:cubicBezTo>
                    <a:cubicBezTo>
                      <a:pt x="152" y="208"/>
                      <a:pt x="154" y="207"/>
                      <a:pt x="153" y="206"/>
                    </a:cubicBezTo>
                    <a:cubicBezTo>
                      <a:pt x="153" y="206"/>
                      <a:pt x="151" y="205"/>
                      <a:pt x="151" y="205"/>
                    </a:cubicBezTo>
                    <a:cubicBezTo>
                      <a:pt x="151" y="205"/>
                      <a:pt x="155" y="204"/>
                      <a:pt x="156" y="204"/>
                    </a:cubicBezTo>
                    <a:cubicBezTo>
                      <a:pt x="159" y="204"/>
                      <a:pt x="156" y="203"/>
                      <a:pt x="155" y="202"/>
                    </a:cubicBezTo>
                    <a:cubicBezTo>
                      <a:pt x="155" y="202"/>
                      <a:pt x="160" y="202"/>
                      <a:pt x="160" y="202"/>
                    </a:cubicBezTo>
                    <a:cubicBezTo>
                      <a:pt x="159" y="201"/>
                      <a:pt x="157" y="201"/>
                      <a:pt x="156" y="200"/>
                    </a:cubicBezTo>
                    <a:cubicBezTo>
                      <a:pt x="156" y="200"/>
                      <a:pt x="160" y="201"/>
                      <a:pt x="160" y="200"/>
                    </a:cubicBezTo>
                    <a:cubicBezTo>
                      <a:pt x="161" y="200"/>
                      <a:pt x="160" y="200"/>
                      <a:pt x="160" y="199"/>
                    </a:cubicBezTo>
                    <a:cubicBezTo>
                      <a:pt x="161" y="199"/>
                      <a:pt x="161" y="199"/>
                      <a:pt x="161" y="199"/>
                    </a:cubicBezTo>
                    <a:cubicBezTo>
                      <a:pt x="162" y="198"/>
                      <a:pt x="158" y="197"/>
                      <a:pt x="158" y="197"/>
                    </a:cubicBezTo>
                    <a:cubicBezTo>
                      <a:pt x="158" y="197"/>
                      <a:pt x="163" y="197"/>
                      <a:pt x="162" y="196"/>
                    </a:cubicBezTo>
                    <a:cubicBezTo>
                      <a:pt x="162" y="195"/>
                      <a:pt x="163" y="195"/>
                      <a:pt x="161" y="194"/>
                    </a:cubicBezTo>
                    <a:cubicBezTo>
                      <a:pt x="161" y="194"/>
                      <a:pt x="158" y="194"/>
                      <a:pt x="158" y="193"/>
                    </a:cubicBezTo>
                    <a:cubicBezTo>
                      <a:pt x="158" y="193"/>
                      <a:pt x="163" y="192"/>
                      <a:pt x="163" y="192"/>
                    </a:cubicBezTo>
                    <a:cubicBezTo>
                      <a:pt x="165" y="192"/>
                      <a:pt x="164" y="189"/>
                      <a:pt x="162" y="189"/>
                    </a:cubicBezTo>
                    <a:cubicBezTo>
                      <a:pt x="161" y="188"/>
                      <a:pt x="158" y="187"/>
                      <a:pt x="161" y="186"/>
                    </a:cubicBezTo>
                    <a:cubicBezTo>
                      <a:pt x="163" y="186"/>
                      <a:pt x="166" y="187"/>
                      <a:pt x="167" y="185"/>
                    </a:cubicBezTo>
                    <a:cubicBezTo>
                      <a:pt x="167" y="185"/>
                      <a:pt x="165" y="183"/>
                      <a:pt x="165" y="183"/>
                    </a:cubicBezTo>
                    <a:cubicBezTo>
                      <a:pt x="165" y="182"/>
                      <a:pt x="167" y="182"/>
                      <a:pt x="167" y="182"/>
                    </a:cubicBezTo>
                    <a:cubicBezTo>
                      <a:pt x="168" y="181"/>
                      <a:pt x="170" y="181"/>
                      <a:pt x="172" y="182"/>
                    </a:cubicBezTo>
                    <a:cubicBezTo>
                      <a:pt x="172" y="182"/>
                      <a:pt x="174" y="182"/>
                      <a:pt x="174" y="182"/>
                    </a:cubicBezTo>
                    <a:cubicBezTo>
                      <a:pt x="175" y="181"/>
                      <a:pt x="173" y="180"/>
                      <a:pt x="173" y="179"/>
                    </a:cubicBezTo>
                    <a:cubicBezTo>
                      <a:pt x="174" y="178"/>
                      <a:pt x="177" y="174"/>
                      <a:pt x="179" y="176"/>
                    </a:cubicBezTo>
                    <a:cubicBezTo>
                      <a:pt x="178" y="175"/>
                      <a:pt x="175" y="181"/>
                      <a:pt x="176" y="181"/>
                    </a:cubicBezTo>
                    <a:cubicBezTo>
                      <a:pt x="177" y="182"/>
                      <a:pt x="179" y="179"/>
                      <a:pt x="181" y="179"/>
                    </a:cubicBezTo>
                    <a:cubicBezTo>
                      <a:pt x="181" y="179"/>
                      <a:pt x="183" y="180"/>
                      <a:pt x="183" y="180"/>
                    </a:cubicBezTo>
                    <a:cubicBezTo>
                      <a:pt x="183" y="180"/>
                      <a:pt x="183" y="178"/>
                      <a:pt x="183" y="178"/>
                    </a:cubicBezTo>
                    <a:cubicBezTo>
                      <a:pt x="186" y="179"/>
                      <a:pt x="186" y="178"/>
                      <a:pt x="187" y="177"/>
                    </a:cubicBezTo>
                    <a:cubicBezTo>
                      <a:pt x="188" y="176"/>
                      <a:pt x="189" y="176"/>
                      <a:pt x="190" y="176"/>
                    </a:cubicBezTo>
                    <a:cubicBezTo>
                      <a:pt x="192" y="175"/>
                      <a:pt x="192" y="174"/>
                      <a:pt x="193" y="173"/>
                    </a:cubicBezTo>
                    <a:cubicBezTo>
                      <a:pt x="194" y="172"/>
                      <a:pt x="196" y="170"/>
                      <a:pt x="197" y="168"/>
                    </a:cubicBezTo>
                    <a:cubicBezTo>
                      <a:pt x="199" y="166"/>
                      <a:pt x="199" y="165"/>
                      <a:pt x="201" y="165"/>
                    </a:cubicBezTo>
                    <a:cubicBezTo>
                      <a:pt x="202" y="164"/>
                      <a:pt x="205" y="164"/>
                      <a:pt x="205" y="162"/>
                    </a:cubicBezTo>
                    <a:cubicBezTo>
                      <a:pt x="204" y="162"/>
                      <a:pt x="203" y="157"/>
                      <a:pt x="203" y="157"/>
                    </a:cubicBezTo>
                    <a:cubicBezTo>
                      <a:pt x="204" y="157"/>
                      <a:pt x="207" y="160"/>
                      <a:pt x="208" y="160"/>
                    </a:cubicBezTo>
                    <a:cubicBezTo>
                      <a:pt x="209" y="161"/>
                      <a:pt x="210" y="161"/>
                      <a:pt x="211" y="161"/>
                    </a:cubicBezTo>
                    <a:cubicBezTo>
                      <a:pt x="211" y="161"/>
                      <a:pt x="213" y="160"/>
                      <a:pt x="213" y="160"/>
                    </a:cubicBezTo>
                    <a:cubicBezTo>
                      <a:pt x="214" y="160"/>
                      <a:pt x="215" y="161"/>
                      <a:pt x="216" y="160"/>
                    </a:cubicBezTo>
                    <a:cubicBezTo>
                      <a:pt x="216" y="160"/>
                      <a:pt x="214" y="158"/>
                      <a:pt x="217" y="159"/>
                    </a:cubicBezTo>
                    <a:cubicBezTo>
                      <a:pt x="219" y="159"/>
                      <a:pt x="221" y="159"/>
                      <a:pt x="223" y="158"/>
                    </a:cubicBezTo>
                    <a:cubicBezTo>
                      <a:pt x="228" y="157"/>
                      <a:pt x="232" y="156"/>
                      <a:pt x="237" y="154"/>
                    </a:cubicBezTo>
                    <a:cubicBezTo>
                      <a:pt x="238" y="153"/>
                      <a:pt x="254" y="143"/>
                      <a:pt x="255" y="143"/>
                    </a:cubicBezTo>
                    <a:cubicBezTo>
                      <a:pt x="254" y="143"/>
                      <a:pt x="247" y="143"/>
                      <a:pt x="246" y="143"/>
                    </a:cubicBezTo>
                    <a:cubicBezTo>
                      <a:pt x="244" y="142"/>
                      <a:pt x="242" y="141"/>
                      <a:pt x="240" y="141"/>
                    </a:cubicBezTo>
                    <a:cubicBezTo>
                      <a:pt x="238" y="141"/>
                      <a:pt x="236" y="142"/>
                      <a:pt x="235" y="142"/>
                    </a:cubicBezTo>
                    <a:cubicBezTo>
                      <a:pt x="233" y="143"/>
                      <a:pt x="233" y="141"/>
                      <a:pt x="232" y="142"/>
                    </a:cubicBezTo>
                    <a:cubicBezTo>
                      <a:pt x="231" y="142"/>
                      <a:pt x="230" y="144"/>
                      <a:pt x="229" y="144"/>
                    </a:cubicBezTo>
                    <a:cubicBezTo>
                      <a:pt x="225" y="144"/>
                      <a:pt x="232" y="140"/>
                      <a:pt x="233" y="141"/>
                    </a:cubicBezTo>
                    <a:cubicBezTo>
                      <a:pt x="232" y="140"/>
                      <a:pt x="229" y="141"/>
                      <a:pt x="228" y="141"/>
                    </a:cubicBezTo>
                    <a:cubicBezTo>
                      <a:pt x="225" y="141"/>
                      <a:pt x="223" y="140"/>
                      <a:pt x="221" y="140"/>
                    </a:cubicBezTo>
                    <a:cubicBezTo>
                      <a:pt x="222" y="140"/>
                      <a:pt x="225" y="138"/>
                      <a:pt x="226" y="137"/>
                    </a:cubicBezTo>
                    <a:cubicBezTo>
                      <a:pt x="226" y="134"/>
                      <a:pt x="228" y="135"/>
                      <a:pt x="229" y="136"/>
                    </a:cubicBezTo>
                    <a:cubicBezTo>
                      <a:pt x="231" y="136"/>
                      <a:pt x="239" y="134"/>
                      <a:pt x="240" y="133"/>
                    </a:cubicBezTo>
                    <a:cubicBezTo>
                      <a:pt x="240" y="132"/>
                      <a:pt x="235" y="131"/>
                      <a:pt x="234" y="130"/>
                    </a:cubicBezTo>
                    <a:cubicBezTo>
                      <a:pt x="235" y="131"/>
                      <a:pt x="239" y="132"/>
                      <a:pt x="240" y="132"/>
                    </a:cubicBezTo>
                    <a:cubicBezTo>
                      <a:pt x="241" y="133"/>
                      <a:pt x="245" y="133"/>
                      <a:pt x="245" y="135"/>
                    </a:cubicBezTo>
                    <a:cubicBezTo>
                      <a:pt x="244" y="138"/>
                      <a:pt x="246" y="139"/>
                      <a:pt x="248" y="139"/>
                    </a:cubicBezTo>
                    <a:cubicBezTo>
                      <a:pt x="248" y="139"/>
                      <a:pt x="254" y="139"/>
                      <a:pt x="253" y="138"/>
                    </a:cubicBezTo>
                    <a:cubicBezTo>
                      <a:pt x="253" y="138"/>
                      <a:pt x="253" y="140"/>
                      <a:pt x="254" y="140"/>
                    </a:cubicBezTo>
                    <a:cubicBezTo>
                      <a:pt x="256" y="139"/>
                      <a:pt x="257" y="136"/>
                      <a:pt x="257" y="134"/>
                    </a:cubicBezTo>
                    <a:cubicBezTo>
                      <a:pt x="257" y="133"/>
                      <a:pt x="257" y="129"/>
                      <a:pt x="255" y="130"/>
                    </a:cubicBezTo>
                    <a:cubicBezTo>
                      <a:pt x="253" y="132"/>
                      <a:pt x="254" y="130"/>
                      <a:pt x="253" y="129"/>
                    </a:cubicBezTo>
                    <a:cubicBezTo>
                      <a:pt x="251" y="127"/>
                      <a:pt x="248" y="126"/>
                      <a:pt x="245" y="124"/>
                    </a:cubicBezTo>
                    <a:cubicBezTo>
                      <a:pt x="244" y="123"/>
                      <a:pt x="243" y="123"/>
                      <a:pt x="242" y="122"/>
                    </a:cubicBezTo>
                    <a:cubicBezTo>
                      <a:pt x="242" y="122"/>
                      <a:pt x="238" y="123"/>
                      <a:pt x="238" y="124"/>
                    </a:cubicBezTo>
                    <a:cubicBezTo>
                      <a:pt x="238" y="124"/>
                      <a:pt x="239" y="123"/>
                      <a:pt x="238" y="123"/>
                    </a:cubicBezTo>
                    <a:cubicBezTo>
                      <a:pt x="238" y="123"/>
                      <a:pt x="237" y="122"/>
                      <a:pt x="237" y="122"/>
                    </a:cubicBezTo>
                    <a:cubicBezTo>
                      <a:pt x="237" y="121"/>
                      <a:pt x="241" y="122"/>
                      <a:pt x="241" y="121"/>
                    </a:cubicBezTo>
                    <a:cubicBezTo>
                      <a:pt x="241" y="119"/>
                      <a:pt x="241" y="118"/>
                      <a:pt x="238" y="118"/>
                    </a:cubicBezTo>
                    <a:cubicBezTo>
                      <a:pt x="236" y="119"/>
                      <a:pt x="235" y="121"/>
                      <a:pt x="233" y="119"/>
                    </a:cubicBezTo>
                    <a:cubicBezTo>
                      <a:pt x="233" y="119"/>
                      <a:pt x="229" y="119"/>
                      <a:pt x="229" y="118"/>
                    </a:cubicBezTo>
                    <a:cubicBezTo>
                      <a:pt x="229" y="116"/>
                      <a:pt x="234" y="119"/>
                      <a:pt x="234" y="119"/>
                    </a:cubicBezTo>
                    <a:cubicBezTo>
                      <a:pt x="235" y="119"/>
                      <a:pt x="240" y="118"/>
                      <a:pt x="240" y="117"/>
                    </a:cubicBezTo>
                    <a:cubicBezTo>
                      <a:pt x="241" y="117"/>
                      <a:pt x="236" y="115"/>
                      <a:pt x="235" y="115"/>
                    </a:cubicBezTo>
                    <a:cubicBezTo>
                      <a:pt x="233" y="115"/>
                      <a:pt x="230" y="115"/>
                      <a:pt x="228" y="116"/>
                    </a:cubicBezTo>
                    <a:cubicBezTo>
                      <a:pt x="229" y="116"/>
                      <a:pt x="233" y="113"/>
                      <a:pt x="233" y="114"/>
                    </a:cubicBezTo>
                    <a:cubicBezTo>
                      <a:pt x="233" y="113"/>
                      <a:pt x="229" y="113"/>
                      <a:pt x="229" y="112"/>
                    </a:cubicBezTo>
                    <a:cubicBezTo>
                      <a:pt x="232" y="113"/>
                      <a:pt x="235" y="115"/>
                      <a:pt x="238" y="113"/>
                    </a:cubicBezTo>
                    <a:cubicBezTo>
                      <a:pt x="238" y="113"/>
                      <a:pt x="241" y="112"/>
                      <a:pt x="241" y="111"/>
                    </a:cubicBezTo>
                    <a:cubicBezTo>
                      <a:pt x="240" y="110"/>
                      <a:pt x="238" y="109"/>
                      <a:pt x="238" y="108"/>
                    </a:cubicBezTo>
                    <a:cubicBezTo>
                      <a:pt x="238" y="109"/>
                      <a:pt x="241" y="110"/>
                      <a:pt x="242" y="110"/>
                    </a:cubicBezTo>
                    <a:cubicBezTo>
                      <a:pt x="244" y="111"/>
                      <a:pt x="243" y="109"/>
                      <a:pt x="245" y="109"/>
                    </a:cubicBezTo>
                    <a:cubicBezTo>
                      <a:pt x="246" y="109"/>
                      <a:pt x="254" y="111"/>
                      <a:pt x="254" y="111"/>
                    </a:cubicBezTo>
                    <a:cubicBezTo>
                      <a:pt x="253" y="111"/>
                      <a:pt x="246" y="110"/>
                      <a:pt x="246" y="110"/>
                    </a:cubicBezTo>
                    <a:cubicBezTo>
                      <a:pt x="248" y="114"/>
                      <a:pt x="254" y="113"/>
                      <a:pt x="257" y="113"/>
                    </a:cubicBezTo>
                    <a:cubicBezTo>
                      <a:pt x="258" y="112"/>
                      <a:pt x="261" y="113"/>
                      <a:pt x="262" y="112"/>
                    </a:cubicBezTo>
                    <a:cubicBezTo>
                      <a:pt x="265" y="111"/>
                      <a:pt x="264" y="109"/>
                      <a:pt x="262" y="108"/>
                    </a:cubicBezTo>
                    <a:cubicBezTo>
                      <a:pt x="261" y="107"/>
                      <a:pt x="258" y="106"/>
                      <a:pt x="257" y="106"/>
                    </a:cubicBezTo>
                    <a:cubicBezTo>
                      <a:pt x="256" y="106"/>
                      <a:pt x="257" y="109"/>
                      <a:pt x="257" y="110"/>
                    </a:cubicBezTo>
                    <a:cubicBezTo>
                      <a:pt x="256" y="109"/>
                      <a:pt x="256" y="108"/>
                      <a:pt x="255" y="107"/>
                    </a:cubicBezTo>
                    <a:cubicBezTo>
                      <a:pt x="255" y="106"/>
                      <a:pt x="254" y="107"/>
                      <a:pt x="253" y="106"/>
                    </a:cubicBezTo>
                    <a:cubicBezTo>
                      <a:pt x="254" y="107"/>
                      <a:pt x="256" y="101"/>
                      <a:pt x="256" y="100"/>
                    </a:cubicBezTo>
                    <a:cubicBezTo>
                      <a:pt x="256" y="100"/>
                      <a:pt x="257" y="103"/>
                      <a:pt x="257" y="103"/>
                    </a:cubicBezTo>
                    <a:cubicBezTo>
                      <a:pt x="257" y="105"/>
                      <a:pt x="257" y="106"/>
                      <a:pt x="258" y="106"/>
                    </a:cubicBezTo>
                    <a:cubicBezTo>
                      <a:pt x="261" y="106"/>
                      <a:pt x="263" y="105"/>
                      <a:pt x="265" y="105"/>
                    </a:cubicBezTo>
                    <a:cubicBezTo>
                      <a:pt x="266" y="105"/>
                      <a:pt x="272" y="103"/>
                      <a:pt x="270" y="101"/>
                    </a:cubicBezTo>
                    <a:cubicBezTo>
                      <a:pt x="268" y="100"/>
                      <a:pt x="267" y="102"/>
                      <a:pt x="266" y="101"/>
                    </a:cubicBezTo>
                    <a:cubicBezTo>
                      <a:pt x="266" y="100"/>
                      <a:pt x="266" y="100"/>
                      <a:pt x="266" y="99"/>
                    </a:cubicBezTo>
                    <a:cubicBezTo>
                      <a:pt x="267" y="98"/>
                      <a:pt x="266" y="97"/>
                      <a:pt x="265" y="97"/>
                    </a:cubicBezTo>
                    <a:cubicBezTo>
                      <a:pt x="265" y="96"/>
                      <a:pt x="262" y="96"/>
                      <a:pt x="261" y="96"/>
                    </a:cubicBezTo>
                    <a:cubicBezTo>
                      <a:pt x="259" y="96"/>
                      <a:pt x="258" y="98"/>
                      <a:pt x="256" y="96"/>
                    </a:cubicBezTo>
                    <a:cubicBezTo>
                      <a:pt x="260" y="99"/>
                      <a:pt x="262" y="91"/>
                      <a:pt x="266" y="95"/>
                    </a:cubicBezTo>
                    <a:cubicBezTo>
                      <a:pt x="267" y="97"/>
                      <a:pt x="269" y="94"/>
                      <a:pt x="269" y="92"/>
                    </a:cubicBezTo>
                    <a:cubicBezTo>
                      <a:pt x="269" y="91"/>
                      <a:pt x="266" y="88"/>
                      <a:pt x="266" y="88"/>
                    </a:cubicBezTo>
                    <a:cubicBezTo>
                      <a:pt x="266" y="87"/>
                      <a:pt x="269" y="90"/>
                      <a:pt x="269" y="91"/>
                    </a:cubicBezTo>
                    <a:cubicBezTo>
                      <a:pt x="269" y="92"/>
                      <a:pt x="271" y="90"/>
                      <a:pt x="270" y="88"/>
                    </a:cubicBezTo>
                    <a:cubicBezTo>
                      <a:pt x="269" y="87"/>
                      <a:pt x="267" y="85"/>
                      <a:pt x="266" y="84"/>
                    </a:cubicBezTo>
                    <a:cubicBezTo>
                      <a:pt x="264" y="84"/>
                      <a:pt x="261" y="85"/>
                      <a:pt x="259" y="84"/>
                    </a:cubicBezTo>
                    <a:cubicBezTo>
                      <a:pt x="258" y="83"/>
                      <a:pt x="258" y="81"/>
                      <a:pt x="256" y="81"/>
                    </a:cubicBezTo>
                    <a:cubicBezTo>
                      <a:pt x="256" y="80"/>
                      <a:pt x="252" y="81"/>
                      <a:pt x="253" y="80"/>
                    </a:cubicBezTo>
                    <a:cubicBezTo>
                      <a:pt x="254" y="78"/>
                      <a:pt x="254" y="77"/>
                      <a:pt x="256" y="79"/>
                    </a:cubicBezTo>
                    <a:cubicBezTo>
                      <a:pt x="258" y="81"/>
                      <a:pt x="260" y="78"/>
                      <a:pt x="262" y="77"/>
                    </a:cubicBezTo>
                    <a:cubicBezTo>
                      <a:pt x="265" y="75"/>
                      <a:pt x="271" y="81"/>
                      <a:pt x="274" y="78"/>
                    </a:cubicBezTo>
                    <a:cubicBezTo>
                      <a:pt x="275" y="77"/>
                      <a:pt x="275" y="72"/>
                      <a:pt x="272" y="73"/>
                    </a:cubicBezTo>
                    <a:cubicBezTo>
                      <a:pt x="271" y="73"/>
                      <a:pt x="270" y="74"/>
                      <a:pt x="269" y="73"/>
                    </a:cubicBezTo>
                    <a:cubicBezTo>
                      <a:pt x="267" y="73"/>
                      <a:pt x="265" y="72"/>
                      <a:pt x="263" y="70"/>
                    </a:cubicBezTo>
                    <a:cubicBezTo>
                      <a:pt x="260" y="68"/>
                      <a:pt x="271" y="71"/>
                      <a:pt x="271" y="70"/>
                    </a:cubicBezTo>
                    <a:cubicBezTo>
                      <a:pt x="270" y="68"/>
                      <a:pt x="265" y="67"/>
                      <a:pt x="263" y="66"/>
                    </a:cubicBezTo>
                    <a:cubicBezTo>
                      <a:pt x="260" y="65"/>
                      <a:pt x="260" y="66"/>
                      <a:pt x="259" y="68"/>
                    </a:cubicBezTo>
                    <a:cubicBezTo>
                      <a:pt x="259" y="69"/>
                      <a:pt x="257" y="70"/>
                      <a:pt x="256" y="69"/>
                    </a:cubicBezTo>
                    <a:cubicBezTo>
                      <a:pt x="255" y="69"/>
                      <a:pt x="258" y="65"/>
                      <a:pt x="258" y="64"/>
                    </a:cubicBezTo>
                    <a:cubicBezTo>
                      <a:pt x="258" y="63"/>
                      <a:pt x="259" y="61"/>
                      <a:pt x="260" y="60"/>
                    </a:cubicBezTo>
                    <a:cubicBezTo>
                      <a:pt x="260" y="59"/>
                      <a:pt x="260" y="57"/>
                      <a:pt x="261" y="57"/>
                    </a:cubicBezTo>
                    <a:cubicBezTo>
                      <a:pt x="262" y="57"/>
                      <a:pt x="264" y="57"/>
                      <a:pt x="265" y="56"/>
                    </a:cubicBezTo>
                    <a:cubicBezTo>
                      <a:pt x="265" y="56"/>
                      <a:pt x="270" y="51"/>
                      <a:pt x="270" y="52"/>
                    </a:cubicBezTo>
                    <a:cubicBezTo>
                      <a:pt x="270" y="52"/>
                      <a:pt x="268" y="51"/>
                      <a:pt x="268" y="51"/>
                    </a:cubicBezTo>
                    <a:cubicBezTo>
                      <a:pt x="268" y="50"/>
                      <a:pt x="268" y="49"/>
                      <a:pt x="268" y="48"/>
                    </a:cubicBezTo>
                    <a:cubicBezTo>
                      <a:pt x="268" y="46"/>
                      <a:pt x="269" y="46"/>
                      <a:pt x="271" y="46"/>
                    </a:cubicBezTo>
                    <a:cubicBezTo>
                      <a:pt x="273" y="46"/>
                      <a:pt x="281" y="43"/>
                      <a:pt x="276" y="43"/>
                    </a:cubicBezTo>
                    <a:cubicBezTo>
                      <a:pt x="273" y="43"/>
                      <a:pt x="268" y="42"/>
                      <a:pt x="266" y="44"/>
                    </a:cubicBezTo>
                    <a:cubicBezTo>
                      <a:pt x="265" y="45"/>
                      <a:pt x="265" y="47"/>
                      <a:pt x="263" y="46"/>
                    </a:cubicBezTo>
                    <a:cubicBezTo>
                      <a:pt x="261" y="45"/>
                      <a:pt x="263" y="43"/>
                      <a:pt x="264" y="42"/>
                    </a:cubicBezTo>
                    <a:cubicBezTo>
                      <a:pt x="266" y="39"/>
                      <a:pt x="270" y="41"/>
                      <a:pt x="273" y="41"/>
                    </a:cubicBezTo>
                    <a:cubicBezTo>
                      <a:pt x="277" y="41"/>
                      <a:pt x="281" y="42"/>
                      <a:pt x="283" y="38"/>
                    </a:cubicBezTo>
                    <a:cubicBezTo>
                      <a:pt x="284" y="38"/>
                      <a:pt x="280" y="37"/>
                      <a:pt x="280" y="37"/>
                    </a:cubicBezTo>
                    <a:cubicBezTo>
                      <a:pt x="278" y="36"/>
                      <a:pt x="276" y="37"/>
                      <a:pt x="274" y="37"/>
                    </a:cubicBezTo>
                    <a:cubicBezTo>
                      <a:pt x="272" y="37"/>
                      <a:pt x="271" y="36"/>
                      <a:pt x="269" y="36"/>
                    </a:cubicBezTo>
                    <a:cubicBezTo>
                      <a:pt x="268" y="36"/>
                      <a:pt x="266" y="36"/>
                      <a:pt x="265" y="36"/>
                    </a:cubicBezTo>
                    <a:cubicBezTo>
                      <a:pt x="266" y="37"/>
                      <a:pt x="269" y="36"/>
                      <a:pt x="271" y="36"/>
                    </a:cubicBezTo>
                    <a:cubicBezTo>
                      <a:pt x="274" y="36"/>
                      <a:pt x="276" y="35"/>
                      <a:pt x="279" y="35"/>
                    </a:cubicBezTo>
                    <a:cubicBezTo>
                      <a:pt x="283" y="36"/>
                      <a:pt x="285" y="34"/>
                      <a:pt x="288" y="34"/>
                    </a:cubicBezTo>
                    <a:cubicBezTo>
                      <a:pt x="289" y="34"/>
                      <a:pt x="291" y="34"/>
                      <a:pt x="291" y="33"/>
                    </a:cubicBezTo>
                    <a:cubicBezTo>
                      <a:pt x="291" y="33"/>
                      <a:pt x="289" y="31"/>
                      <a:pt x="290" y="31"/>
                    </a:cubicBezTo>
                    <a:cubicBezTo>
                      <a:pt x="295" y="30"/>
                      <a:pt x="300" y="29"/>
                      <a:pt x="304" y="26"/>
                    </a:cubicBezTo>
                    <a:cubicBezTo>
                      <a:pt x="305" y="25"/>
                      <a:pt x="301" y="24"/>
                      <a:pt x="301" y="24"/>
                    </a:cubicBezTo>
                    <a:cubicBezTo>
                      <a:pt x="298" y="23"/>
                      <a:pt x="295" y="22"/>
                      <a:pt x="293" y="22"/>
                    </a:cubicBezTo>
                    <a:cubicBezTo>
                      <a:pt x="287" y="21"/>
                      <a:pt x="282" y="20"/>
                      <a:pt x="277" y="25"/>
                    </a:cubicBezTo>
                    <a:cubicBezTo>
                      <a:pt x="275" y="28"/>
                      <a:pt x="273" y="26"/>
                      <a:pt x="269" y="26"/>
                    </a:cubicBezTo>
                    <a:cubicBezTo>
                      <a:pt x="268" y="26"/>
                      <a:pt x="264" y="29"/>
                      <a:pt x="265" y="26"/>
                    </a:cubicBezTo>
                    <a:cubicBezTo>
                      <a:pt x="265" y="24"/>
                      <a:pt x="260" y="27"/>
                      <a:pt x="259" y="28"/>
                    </a:cubicBezTo>
                    <a:cubicBezTo>
                      <a:pt x="257" y="29"/>
                      <a:pt x="255" y="30"/>
                      <a:pt x="253" y="31"/>
                    </a:cubicBezTo>
                    <a:cubicBezTo>
                      <a:pt x="252" y="31"/>
                      <a:pt x="244" y="37"/>
                      <a:pt x="244" y="37"/>
                    </a:cubicBezTo>
                    <a:cubicBezTo>
                      <a:pt x="242" y="35"/>
                      <a:pt x="264" y="22"/>
                      <a:pt x="251" y="19"/>
                    </a:cubicBezTo>
                    <a:cubicBezTo>
                      <a:pt x="246" y="19"/>
                      <a:pt x="247" y="22"/>
                      <a:pt x="243" y="24"/>
                    </a:cubicBezTo>
                    <a:cubicBezTo>
                      <a:pt x="240" y="25"/>
                      <a:pt x="238" y="25"/>
                      <a:pt x="235" y="26"/>
                    </a:cubicBezTo>
                    <a:cubicBezTo>
                      <a:pt x="234" y="26"/>
                      <a:pt x="229" y="28"/>
                      <a:pt x="228" y="28"/>
                    </a:cubicBezTo>
                    <a:cubicBezTo>
                      <a:pt x="226" y="25"/>
                      <a:pt x="233" y="24"/>
                      <a:pt x="235" y="24"/>
                    </a:cubicBezTo>
                    <a:cubicBezTo>
                      <a:pt x="235" y="23"/>
                      <a:pt x="241" y="22"/>
                      <a:pt x="238" y="21"/>
                    </a:cubicBezTo>
                    <a:cubicBezTo>
                      <a:pt x="235" y="20"/>
                      <a:pt x="232" y="20"/>
                      <a:pt x="229" y="20"/>
                    </a:cubicBezTo>
                    <a:cubicBezTo>
                      <a:pt x="221" y="20"/>
                      <a:pt x="213" y="21"/>
                      <a:pt x="205" y="23"/>
                    </a:cubicBezTo>
                    <a:cubicBezTo>
                      <a:pt x="205" y="23"/>
                      <a:pt x="202" y="25"/>
                      <a:pt x="201" y="24"/>
                    </a:cubicBezTo>
                    <a:cubicBezTo>
                      <a:pt x="201" y="22"/>
                      <a:pt x="200" y="22"/>
                      <a:pt x="202" y="22"/>
                    </a:cubicBezTo>
                    <a:cubicBezTo>
                      <a:pt x="206" y="20"/>
                      <a:pt x="210" y="19"/>
                      <a:pt x="214" y="18"/>
                    </a:cubicBezTo>
                    <a:cubicBezTo>
                      <a:pt x="221" y="17"/>
                      <a:pt x="229" y="18"/>
                      <a:pt x="237" y="18"/>
                    </a:cubicBezTo>
                    <a:cubicBezTo>
                      <a:pt x="239" y="18"/>
                      <a:pt x="241" y="18"/>
                      <a:pt x="243" y="18"/>
                    </a:cubicBezTo>
                    <a:cubicBezTo>
                      <a:pt x="247" y="16"/>
                      <a:pt x="252" y="16"/>
                      <a:pt x="256" y="14"/>
                    </a:cubicBezTo>
                    <a:cubicBezTo>
                      <a:pt x="258" y="14"/>
                      <a:pt x="259" y="13"/>
                      <a:pt x="256" y="12"/>
                    </a:cubicBezTo>
                    <a:cubicBezTo>
                      <a:pt x="254" y="11"/>
                      <a:pt x="250" y="10"/>
                      <a:pt x="248" y="11"/>
                    </a:cubicBezTo>
                    <a:cubicBezTo>
                      <a:pt x="246" y="11"/>
                      <a:pt x="246" y="10"/>
                      <a:pt x="244" y="9"/>
                    </a:cubicBezTo>
                    <a:cubicBezTo>
                      <a:pt x="242" y="9"/>
                      <a:pt x="240" y="11"/>
                      <a:pt x="238" y="11"/>
                    </a:cubicBezTo>
                    <a:cubicBezTo>
                      <a:pt x="238" y="11"/>
                      <a:pt x="240" y="8"/>
                      <a:pt x="241" y="8"/>
                    </a:cubicBezTo>
                    <a:cubicBezTo>
                      <a:pt x="242" y="6"/>
                      <a:pt x="238" y="6"/>
                      <a:pt x="237" y="6"/>
                    </a:cubicBezTo>
                    <a:cubicBezTo>
                      <a:pt x="231" y="7"/>
                      <a:pt x="226" y="7"/>
                      <a:pt x="220" y="6"/>
                    </a:cubicBezTo>
                    <a:cubicBezTo>
                      <a:pt x="215" y="6"/>
                      <a:pt x="211" y="8"/>
                      <a:pt x="206" y="8"/>
                    </a:cubicBezTo>
                    <a:cubicBezTo>
                      <a:pt x="204" y="8"/>
                      <a:pt x="201" y="8"/>
                      <a:pt x="199" y="8"/>
                    </a:cubicBezTo>
                    <a:cubicBezTo>
                      <a:pt x="197" y="9"/>
                      <a:pt x="194" y="8"/>
                      <a:pt x="193" y="9"/>
                    </a:cubicBezTo>
                    <a:cubicBezTo>
                      <a:pt x="196" y="8"/>
                      <a:pt x="199" y="8"/>
                      <a:pt x="202" y="7"/>
                    </a:cubicBezTo>
                    <a:cubicBezTo>
                      <a:pt x="207" y="7"/>
                      <a:pt x="211" y="6"/>
                      <a:pt x="215" y="6"/>
                    </a:cubicBezTo>
                    <a:cubicBezTo>
                      <a:pt x="217" y="6"/>
                      <a:pt x="237" y="6"/>
                      <a:pt x="237" y="4"/>
                    </a:cubicBezTo>
                    <a:cubicBezTo>
                      <a:pt x="236" y="4"/>
                      <a:pt x="233" y="3"/>
                      <a:pt x="232" y="2"/>
                    </a:cubicBezTo>
                    <a:cubicBezTo>
                      <a:pt x="229" y="2"/>
                      <a:pt x="227" y="2"/>
                      <a:pt x="224" y="2"/>
                    </a:cubicBezTo>
                    <a:cubicBezTo>
                      <a:pt x="220" y="2"/>
                      <a:pt x="216" y="1"/>
                      <a:pt x="213" y="0"/>
                    </a:cubicBezTo>
                    <a:cubicBezTo>
                      <a:pt x="206" y="0"/>
                      <a:pt x="200" y="0"/>
                      <a:pt x="194" y="0"/>
                    </a:cubicBezTo>
                    <a:cubicBezTo>
                      <a:pt x="191" y="1"/>
                      <a:pt x="188" y="1"/>
                      <a:pt x="185" y="1"/>
                    </a:cubicBezTo>
                    <a:cubicBezTo>
                      <a:pt x="184" y="1"/>
                      <a:pt x="183" y="3"/>
                      <a:pt x="183" y="3"/>
                    </a:cubicBezTo>
                    <a:cubicBezTo>
                      <a:pt x="181" y="3"/>
                      <a:pt x="179" y="2"/>
                      <a:pt x="177" y="2"/>
                    </a:cubicBezTo>
                    <a:cubicBezTo>
                      <a:pt x="176" y="2"/>
                      <a:pt x="175" y="3"/>
                      <a:pt x="173" y="3"/>
                    </a:cubicBezTo>
                    <a:cubicBezTo>
                      <a:pt x="171" y="3"/>
                      <a:pt x="171" y="4"/>
                      <a:pt x="173" y="4"/>
                    </a:cubicBezTo>
                    <a:cubicBezTo>
                      <a:pt x="176" y="5"/>
                      <a:pt x="179" y="5"/>
                      <a:pt x="181" y="6"/>
                    </a:cubicBezTo>
                    <a:cubicBezTo>
                      <a:pt x="180" y="5"/>
                      <a:pt x="174" y="7"/>
                      <a:pt x="173" y="8"/>
                    </a:cubicBezTo>
                    <a:cubicBezTo>
                      <a:pt x="173" y="8"/>
                      <a:pt x="170" y="8"/>
                      <a:pt x="170" y="8"/>
                    </a:cubicBezTo>
                    <a:cubicBezTo>
                      <a:pt x="170" y="8"/>
                      <a:pt x="172" y="10"/>
                      <a:pt x="172" y="10"/>
                    </a:cubicBezTo>
                    <a:cubicBezTo>
                      <a:pt x="171" y="10"/>
                      <a:pt x="169" y="9"/>
                      <a:pt x="168" y="8"/>
                    </a:cubicBezTo>
                    <a:cubicBezTo>
                      <a:pt x="167" y="7"/>
                      <a:pt x="164" y="8"/>
                      <a:pt x="163" y="8"/>
                    </a:cubicBezTo>
                    <a:cubicBezTo>
                      <a:pt x="160" y="7"/>
                      <a:pt x="157" y="6"/>
                      <a:pt x="154" y="5"/>
                    </a:cubicBezTo>
                    <a:cubicBezTo>
                      <a:pt x="152" y="4"/>
                      <a:pt x="150" y="6"/>
                      <a:pt x="147" y="6"/>
                    </a:cubicBezTo>
                    <a:cubicBezTo>
                      <a:pt x="146" y="6"/>
                      <a:pt x="140" y="5"/>
                      <a:pt x="140" y="7"/>
                    </a:cubicBezTo>
                    <a:cubicBezTo>
                      <a:pt x="139" y="7"/>
                      <a:pt x="153" y="9"/>
                      <a:pt x="155" y="10"/>
                    </a:cubicBezTo>
                    <a:cubicBezTo>
                      <a:pt x="158" y="10"/>
                      <a:pt x="161" y="10"/>
                      <a:pt x="163" y="11"/>
                    </a:cubicBezTo>
                    <a:cubicBezTo>
                      <a:pt x="164" y="11"/>
                      <a:pt x="165" y="11"/>
                      <a:pt x="166" y="12"/>
                    </a:cubicBezTo>
                    <a:cubicBezTo>
                      <a:pt x="166" y="12"/>
                      <a:pt x="166" y="15"/>
                      <a:pt x="166" y="15"/>
                    </a:cubicBezTo>
                    <a:cubicBezTo>
                      <a:pt x="166" y="16"/>
                      <a:pt x="165" y="14"/>
                      <a:pt x="165" y="13"/>
                    </a:cubicBezTo>
                    <a:cubicBezTo>
                      <a:pt x="164" y="12"/>
                      <a:pt x="161" y="12"/>
                      <a:pt x="160" y="11"/>
                    </a:cubicBezTo>
                    <a:cubicBezTo>
                      <a:pt x="160" y="11"/>
                      <a:pt x="157" y="11"/>
                      <a:pt x="157" y="11"/>
                    </a:cubicBezTo>
                    <a:cubicBezTo>
                      <a:pt x="157" y="12"/>
                      <a:pt x="158" y="14"/>
                      <a:pt x="158" y="14"/>
                    </a:cubicBezTo>
                    <a:cubicBezTo>
                      <a:pt x="156" y="14"/>
                      <a:pt x="155" y="11"/>
                      <a:pt x="154" y="11"/>
                    </a:cubicBezTo>
                    <a:cubicBezTo>
                      <a:pt x="152" y="11"/>
                      <a:pt x="150" y="11"/>
                      <a:pt x="148" y="10"/>
                    </a:cubicBezTo>
                    <a:cubicBezTo>
                      <a:pt x="147" y="10"/>
                      <a:pt x="139" y="10"/>
                      <a:pt x="139" y="10"/>
                    </a:cubicBezTo>
                    <a:cubicBezTo>
                      <a:pt x="138" y="12"/>
                      <a:pt x="151" y="17"/>
                      <a:pt x="151" y="17"/>
                    </a:cubicBezTo>
                    <a:cubicBezTo>
                      <a:pt x="151" y="18"/>
                      <a:pt x="146" y="17"/>
                      <a:pt x="146" y="17"/>
                    </a:cubicBezTo>
                    <a:cubicBezTo>
                      <a:pt x="143" y="17"/>
                      <a:pt x="142" y="16"/>
                      <a:pt x="143" y="19"/>
                    </a:cubicBezTo>
                    <a:cubicBezTo>
                      <a:pt x="142" y="19"/>
                      <a:pt x="141" y="18"/>
                      <a:pt x="140" y="17"/>
                    </a:cubicBezTo>
                    <a:cubicBezTo>
                      <a:pt x="140" y="16"/>
                      <a:pt x="142" y="17"/>
                      <a:pt x="143" y="16"/>
                    </a:cubicBezTo>
                    <a:cubicBezTo>
                      <a:pt x="143" y="16"/>
                      <a:pt x="141" y="14"/>
                      <a:pt x="140" y="14"/>
                    </a:cubicBezTo>
                    <a:cubicBezTo>
                      <a:pt x="138" y="13"/>
                      <a:pt x="136" y="12"/>
                      <a:pt x="133" y="12"/>
                    </a:cubicBezTo>
                    <a:cubicBezTo>
                      <a:pt x="132" y="12"/>
                      <a:pt x="130" y="11"/>
                      <a:pt x="129" y="12"/>
                    </a:cubicBezTo>
                    <a:cubicBezTo>
                      <a:pt x="128" y="12"/>
                      <a:pt x="131" y="15"/>
                      <a:pt x="131" y="15"/>
                    </a:cubicBezTo>
                    <a:cubicBezTo>
                      <a:pt x="134" y="17"/>
                      <a:pt x="138" y="17"/>
                      <a:pt x="142" y="20"/>
                    </a:cubicBezTo>
                    <a:cubicBezTo>
                      <a:pt x="143" y="20"/>
                      <a:pt x="144" y="21"/>
                      <a:pt x="143" y="22"/>
                    </a:cubicBezTo>
                    <a:cubicBezTo>
                      <a:pt x="141" y="24"/>
                      <a:pt x="139" y="22"/>
                      <a:pt x="137" y="21"/>
                    </a:cubicBezTo>
                    <a:cubicBezTo>
                      <a:pt x="132" y="18"/>
                      <a:pt x="126" y="16"/>
                      <a:pt x="120" y="15"/>
                    </a:cubicBezTo>
                    <a:cubicBezTo>
                      <a:pt x="117" y="14"/>
                      <a:pt x="114" y="13"/>
                      <a:pt x="111" y="14"/>
                    </a:cubicBezTo>
                    <a:cubicBezTo>
                      <a:pt x="110" y="14"/>
                      <a:pt x="113" y="17"/>
                      <a:pt x="113" y="18"/>
                    </a:cubicBezTo>
                    <a:cubicBezTo>
                      <a:pt x="113" y="18"/>
                      <a:pt x="117" y="21"/>
                      <a:pt x="117" y="21"/>
                    </a:cubicBezTo>
                    <a:cubicBezTo>
                      <a:pt x="117" y="22"/>
                      <a:pt x="111" y="21"/>
                      <a:pt x="111" y="21"/>
                    </a:cubicBezTo>
                    <a:cubicBezTo>
                      <a:pt x="111" y="23"/>
                      <a:pt x="115" y="22"/>
                      <a:pt x="115" y="24"/>
                    </a:cubicBezTo>
                    <a:cubicBezTo>
                      <a:pt x="115" y="24"/>
                      <a:pt x="111" y="23"/>
                      <a:pt x="110" y="22"/>
                    </a:cubicBezTo>
                    <a:cubicBezTo>
                      <a:pt x="108" y="21"/>
                      <a:pt x="106" y="21"/>
                      <a:pt x="103" y="20"/>
                    </a:cubicBezTo>
                    <a:cubicBezTo>
                      <a:pt x="101" y="19"/>
                      <a:pt x="101" y="20"/>
                      <a:pt x="101" y="22"/>
                    </a:cubicBezTo>
                    <a:cubicBezTo>
                      <a:pt x="100" y="23"/>
                      <a:pt x="99" y="23"/>
                      <a:pt x="98" y="23"/>
                    </a:cubicBezTo>
                    <a:cubicBezTo>
                      <a:pt x="98" y="24"/>
                      <a:pt x="98" y="26"/>
                      <a:pt x="97" y="26"/>
                    </a:cubicBezTo>
                    <a:cubicBezTo>
                      <a:pt x="97" y="27"/>
                      <a:pt x="97" y="24"/>
                      <a:pt x="97" y="23"/>
                    </a:cubicBezTo>
                    <a:cubicBezTo>
                      <a:pt x="97" y="22"/>
                      <a:pt x="98" y="21"/>
                      <a:pt x="98" y="20"/>
                    </a:cubicBezTo>
                    <a:cubicBezTo>
                      <a:pt x="97" y="16"/>
                      <a:pt x="93" y="16"/>
                      <a:pt x="90" y="16"/>
                    </a:cubicBezTo>
                    <a:cubicBezTo>
                      <a:pt x="86" y="17"/>
                      <a:pt x="82" y="18"/>
                      <a:pt x="78" y="18"/>
                    </a:cubicBezTo>
                    <a:cubicBezTo>
                      <a:pt x="77" y="19"/>
                      <a:pt x="75" y="19"/>
                      <a:pt x="74" y="19"/>
                    </a:cubicBezTo>
                    <a:cubicBezTo>
                      <a:pt x="74" y="19"/>
                      <a:pt x="69" y="20"/>
                      <a:pt x="69" y="20"/>
                    </a:cubicBezTo>
                    <a:cubicBezTo>
                      <a:pt x="70" y="21"/>
                      <a:pt x="72" y="21"/>
                      <a:pt x="73" y="21"/>
                    </a:cubicBezTo>
                    <a:cubicBezTo>
                      <a:pt x="74" y="22"/>
                      <a:pt x="75" y="23"/>
                      <a:pt x="77" y="24"/>
                    </a:cubicBezTo>
                    <a:cubicBezTo>
                      <a:pt x="77" y="24"/>
                      <a:pt x="81" y="27"/>
                      <a:pt x="81" y="27"/>
                    </a:cubicBezTo>
                    <a:cubicBezTo>
                      <a:pt x="80" y="27"/>
                      <a:pt x="76" y="25"/>
                      <a:pt x="75" y="25"/>
                    </a:cubicBezTo>
                    <a:cubicBezTo>
                      <a:pt x="73" y="24"/>
                      <a:pt x="72" y="22"/>
                      <a:pt x="70" y="22"/>
                    </a:cubicBezTo>
                    <a:cubicBezTo>
                      <a:pt x="67" y="21"/>
                      <a:pt x="64" y="22"/>
                      <a:pt x="61" y="22"/>
                    </a:cubicBezTo>
                    <a:cubicBezTo>
                      <a:pt x="58" y="23"/>
                      <a:pt x="58" y="22"/>
                      <a:pt x="60" y="25"/>
                    </a:cubicBezTo>
                    <a:cubicBezTo>
                      <a:pt x="60" y="26"/>
                      <a:pt x="60" y="29"/>
                      <a:pt x="60" y="30"/>
                    </a:cubicBezTo>
                    <a:cubicBezTo>
                      <a:pt x="60" y="32"/>
                      <a:pt x="56" y="30"/>
                      <a:pt x="55" y="30"/>
                    </a:cubicBezTo>
                    <a:cubicBezTo>
                      <a:pt x="54" y="30"/>
                      <a:pt x="51" y="28"/>
                      <a:pt x="50" y="30"/>
                    </a:cubicBezTo>
                    <a:cubicBezTo>
                      <a:pt x="49" y="31"/>
                      <a:pt x="50" y="34"/>
                      <a:pt x="50" y="34"/>
                    </a:cubicBezTo>
                    <a:cubicBezTo>
                      <a:pt x="49" y="35"/>
                      <a:pt x="48" y="33"/>
                      <a:pt x="47" y="32"/>
                    </a:cubicBezTo>
                    <a:cubicBezTo>
                      <a:pt x="45" y="31"/>
                      <a:pt x="43" y="31"/>
                      <a:pt x="42" y="32"/>
                    </a:cubicBezTo>
                    <a:cubicBezTo>
                      <a:pt x="39" y="34"/>
                      <a:pt x="36" y="36"/>
                      <a:pt x="32" y="37"/>
                    </a:cubicBezTo>
                    <a:cubicBezTo>
                      <a:pt x="31" y="38"/>
                      <a:pt x="34" y="37"/>
                      <a:pt x="32" y="3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380" name="Freeform 6">
              <a:extLst>
                <a:ext uri="{FF2B5EF4-FFF2-40B4-BE49-F238E27FC236}">
                  <a16:creationId xmlns:a16="http://schemas.microsoft.com/office/drawing/2014/main" id="{BBAEDEA9-F945-400D-B1B4-5C5BDF099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0029" y="3627790"/>
              <a:ext cx="223476" cy="272084"/>
            </a:xfrm>
            <a:custGeom>
              <a:avLst/>
              <a:gdLst>
                <a:gd name="T0" fmla="*/ 9380 w 11410"/>
                <a:gd name="T1" fmla="*/ 2029 h 14353"/>
                <a:gd name="T2" fmla="*/ 9380 w 11410"/>
                <a:gd name="T3" fmla="*/ 9380 h 14353"/>
                <a:gd name="T4" fmla="*/ 5705 w 11410"/>
                <a:gd name="T5" fmla="*/ 14353 h 14353"/>
                <a:gd name="T6" fmla="*/ 2030 w 11410"/>
                <a:gd name="T7" fmla="*/ 9380 h 14353"/>
                <a:gd name="T8" fmla="*/ 2030 w 11410"/>
                <a:gd name="T9" fmla="*/ 2029 h 14353"/>
                <a:gd name="T10" fmla="*/ 9380 w 11410"/>
                <a:gd name="T11" fmla="*/ 2029 h 14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10" h="14353">
                  <a:moveTo>
                    <a:pt x="9380" y="2029"/>
                  </a:moveTo>
                  <a:cubicBezTo>
                    <a:pt x="11410" y="4059"/>
                    <a:pt x="11410" y="7350"/>
                    <a:pt x="9380" y="9380"/>
                  </a:cubicBezTo>
                  <a:cubicBezTo>
                    <a:pt x="7939" y="10821"/>
                    <a:pt x="6714" y="12479"/>
                    <a:pt x="5705" y="14353"/>
                  </a:cubicBezTo>
                  <a:cubicBezTo>
                    <a:pt x="4696" y="12479"/>
                    <a:pt x="3471" y="10821"/>
                    <a:pt x="2030" y="9380"/>
                  </a:cubicBezTo>
                  <a:cubicBezTo>
                    <a:pt x="0" y="7350"/>
                    <a:pt x="0" y="4059"/>
                    <a:pt x="2030" y="2029"/>
                  </a:cubicBezTo>
                  <a:cubicBezTo>
                    <a:pt x="4060" y="0"/>
                    <a:pt x="7351" y="0"/>
                    <a:pt x="9380" y="2029"/>
                  </a:cubicBezTo>
                </a:path>
              </a:pathLst>
            </a:custGeom>
            <a:solidFill>
              <a:srgbClr val="00B9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3" name="Freeform 6">
              <a:extLst>
                <a:ext uri="{FF2B5EF4-FFF2-40B4-BE49-F238E27FC236}">
                  <a16:creationId xmlns:a16="http://schemas.microsoft.com/office/drawing/2014/main" id="{71E449F0-E155-49C4-8C32-8CE412B4D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4605" y="3166060"/>
              <a:ext cx="223676" cy="278129"/>
            </a:xfrm>
            <a:custGeom>
              <a:avLst/>
              <a:gdLst>
                <a:gd name="T0" fmla="*/ 9380 w 11410"/>
                <a:gd name="T1" fmla="*/ 2029 h 14353"/>
                <a:gd name="T2" fmla="*/ 9380 w 11410"/>
                <a:gd name="T3" fmla="*/ 9380 h 14353"/>
                <a:gd name="T4" fmla="*/ 5705 w 11410"/>
                <a:gd name="T5" fmla="*/ 14353 h 14353"/>
                <a:gd name="T6" fmla="*/ 2030 w 11410"/>
                <a:gd name="T7" fmla="*/ 9380 h 14353"/>
                <a:gd name="T8" fmla="*/ 2030 w 11410"/>
                <a:gd name="T9" fmla="*/ 2029 h 14353"/>
                <a:gd name="T10" fmla="*/ 9380 w 11410"/>
                <a:gd name="T11" fmla="*/ 2029 h 14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10" h="14353">
                  <a:moveTo>
                    <a:pt x="9380" y="2029"/>
                  </a:moveTo>
                  <a:cubicBezTo>
                    <a:pt x="11410" y="4059"/>
                    <a:pt x="11410" y="7350"/>
                    <a:pt x="9380" y="9380"/>
                  </a:cubicBezTo>
                  <a:cubicBezTo>
                    <a:pt x="7939" y="10821"/>
                    <a:pt x="6714" y="12479"/>
                    <a:pt x="5705" y="14353"/>
                  </a:cubicBezTo>
                  <a:cubicBezTo>
                    <a:pt x="4696" y="12479"/>
                    <a:pt x="3471" y="10821"/>
                    <a:pt x="2030" y="9380"/>
                  </a:cubicBezTo>
                  <a:cubicBezTo>
                    <a:pt x="0" y="7350"/>
                    <a:pt x="0" y="4059"/>
                    <a:pt x="2030" y="2029"/>
                  </a:cubicBezTo>
                  <a:cubicBezTo>
                    <a:pt x="4060" y="0"/>
                    <a:pt x="7351" y="0"/>
                    <a:pt x="9380" y="2029"/>
                  </a:cubicBezTo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4" name="Freeform 6">
              <a:extLst>
                <a:ext uri="{FF2B5EF4-FFF2-40B4-BE49-F238E27FC236}">
                  <a16:creationId xmlns:a16="http://schemas.microsoft.com/office/drawing/2014/main" id="{75E2EFC4-84F3-4C74-B15A-6C28C5558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3330" y="3497500"/>
              <a:ext cx="223676" cy="278129"/>
            </a:xfrm>
            <a:custGeom>
              <a:avLst/>
              <a:gdLst>
                <a:gd name="T0" fmla="*/ 9380 w 11410"/>
                <a:gd name="T1" fmla="*/ 2029 h 14353"/>
                <a:gd name="T2" fmla="*/ 9380 w 11410"/>
                <a:gd name="T3" fmla="*/ 9380 h 14353"/>
                <a:gd name="T4" fmla="*/ 5705 w 11410"/>
                <a:gd name="T5" fmla="*/ 14353 h 14353"/>
                <a:gd name="T6" fmla="*/ 2030 w 11410"/>
                <a:gd name="T7" fmla="*/ 9380 h 14353"/>
                <a:gd name="T8" fmla="*/ 2030 w 11410"/>
                <a:gd name="T9" fmla="*/ 2029 h 14353"/>
                <a:gd name="T10" fmla="*/ 9380 w 11410"/>
                <a:gd name="T11" fmla="*/ 2029 h 14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10" h="14353">
                  <a:moveTo>
                    <a:pt x="9380" y="2029"/>
                  </a:moveTo>
                  <a:cubicBezTo>
                    <a:pt x="11410" y="4059"/>
                    <a:pt x="11410" y="7350"/>
                    <a:pt x="9380" y="9380"/>
                  </a:cubicBezTo>
                  <a:cubicBezTo>
                    <a:pt x="7939" y="10821"/>
                    <a:pt x="6714" y="12479"/>
                    <a:pt x="5705" y="14353"/>
                  </a:cubicBezTo>
                  <a:cubicBezTo>
                    <a:pt x="4696" y="12479"/>
                    <a:pt x="3471" y="10821"/>
                    <a:pt x="2030" y="9380"/>
                  </a:cubicBezTo>
                  <a:cubicBezTo>
                    <a:pt x="0" y="7350"/>
                    <a:pt x="0" y="4059"/>
                    <a:pt x="2030" y="2029"/>
                  </a:cubicBezTo>
                  <a:cubicBezTo>
                    <a:pt x="4060" y="0"/>
                    <a:pt x="7351" y="0"/>
                    <a:pt x="9380" y="2029"/>
                  </a:cubicBezTo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5" name="Freeform 6">
              <a:extLst>
                <a:ext uri="{FF2B5EF4-FFF2-40B4-BE49-F238E27FC236}">
                  <a16:creationId xmlns:a16="http://schemas.microsoft.com/office/drawing/2014/main" id="{31C44E27-5353-4C4C-AA5E-96DAE8449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2820" y="3467678"/>
              <a:ext cx="223676" cy="278129"/>
            </a:xfrm>
            <a:custGeom>
              <a:avLst/>
              <a:gdLst>
                <a:gd name="T0" fmla="*/ 9380 w 11410"/>
                <a:gd name="T1" fmla="*/ 2029 h 14353"/>
                <a:gd name="T2" fmla="*/ 9380 w 11410"/>
                <a:gd name="T3" fmla="*/ 9380 h 14353"/>
                <a:gd name="T4" fmla="*/ 5705 w 11410"/>
                <a:gd name="T5" fmla="*/ 14353 h 14353"/>
                <a:gd name="T6" fmla="*/ 2030 w 11410"/>
                <a:gd name="T7" fmla="*/ 9380 h 14353"/>
                <a:gd name="T8" fmla="*/ 2030 w 11410"/>
                <a:gd name="T9" fmla="*/ 2029 h 14353"/>
                <a:gd name="T10" fmla="*/ 9380 w 11410"/>
                <a:gd name="T11" fmla="*/ 2029 h 14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10" h="14353">
                  <a:moveTo>
                    <a:pt x="9380" y="2029"/>
                  </a:moveTo>
                  <a:cubicBezTo>
                    <a:pt x="11410" y="4059"/>
                    <a:pt x="11410" y="7350"/>
                    <a:pt x="9380" y="9380"/>
                  </a:cubicBezTo>
                  <a:cubicBezTo>
                    <a:pt x="7939" y="10821"/>
                    <a:pt x="6714" y="12479"/>
                    <a:pt x="5705" y="14353"/>
                  </a:cubicBezTo>
                  <a:cubicBezTo>
                    <a:pt x="4696" y="12479"/>
                    <a:pt x="3471" y="10821"/>
                    <a:pt x="2030" y="9380"/>
                  </a:cubicBezTo>
                  <a:cubicBezTo>
                    <a:pt x="0" y="7350"/>
                    <a:pt x="0" y="4059"/>
                    <a:pt x="2030" y="2029"/>
                  </a:cubicBezTo>
                  <a:cubicBezTo>
                    <a:pt x="4060" y="0"/>
                    <a:pt x="7351" y="0"/>
                    <a:pt x="9380" y="2029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2" name="Freeform 6">
              <a:extLst>
                <a:ext uri="{FF2B5EF4-FFF2-40B4-BE49-F238E27FC236}">
                  <a16:creationId xmlns:a16="http://schemas.microsoft.com/office/drawing/2014/main" id="{4D51B8D3-9BB5-48A7-A0EA-8BC50C79A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0807" y="3420107"/>
              <a:ext cx="223676" cy="278129"/>
            </a:xfrm>
            <a:custGeom>
              <a:avLst/>
              <a:gdLst>
                <a:gd name="T0" fmla="*/ 9380 w 11410"/>
                <a:gd name="T1" fmla="*/ 2029 h 14353"/>
                <a:gd name="T2" fmla="*/ 9380 w 11410"/>
                <a:gd name="T3" fmla="*/ 9380 h 14353"/>
                <a:gd name="T4" fmla="*/ 5705 w 11410"/>
                <a:gd name="T5" fmla="*/ 14353 h 14353"/>
                <a:gd name="T6" fmla="*/ 2030 w 11410"/>
                <a:gd name="T7" fmla="*/ 9380 h 14353"/>
                <a:gd name="T8" fmla="*/ 2030 w 11410"/>
                <a:gd name="T9" fmla="*/ 2029 h 14353"/>
                <a:gd name="T10" fmla="*/ 9380 w 11410"/>
                <a:gd name="T11" fmla="*/ 2029 h 14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10" h="14353">
                  <a:moveTo>
                    <a:pt x="9380" y="2029"/>
                  </a:moveTo>
                  <a:cubicBezTo>
                    <a:pt x="11410" y="4059"/>
                    <a:pt x="11410" y="7350"/>
                    <a:pt x="9380" y="9380"/>
                  </a:cubicBezTo>
                  <a:cubicBezTo>
                    <a:pt x="7939" y="10821"/>
                    <a:pt x="6714" y="12479"/>
                    <a:pt x="5705" y="14353"/>
                  </a:cubicBezTo>
                  <a:cubicBezTo>
                    <a:pt x="4696" y="12479"/>
                    <a:pt x="3471" y="10821"/>
                    <a:pt x="2030" y="9380"/>
                  </a:cubicBezTo>
                  <a:cubicBezTo>
                    <a:pt x="0" y="7350"/>
                    <a:pt x="0" y="4059"/>
                    <a:pt x="2030" y="2029"/>
                  </a:cubicBezTo>
                  <a:cubicBezTo>
                    <a:pt x="4060" y="0"/>
                    <a:pt x="7351" y="0"/>
                    <a:pt x="9380" y="2029"/>
                  </a:cubicBez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378" name="Text Placeholder 3">
            <a:extLst>
              <a:ext uri="{FF2B5EF4-FFF2-40B4-BE49-F238E27FC236}">
                <a16:creationId xmlns:a16="http://schemas.microsoft.com/office/drawing/2014/main" id="{EB499ED4-F252-40C7-8697-A55609EB687C}"/>
              </a:ext>
            </a:extLst>
          </p:cNvPr>
          <p:cNvSpPr txBox="1">
            <a:spLocks/>
          </p:cNvSpPr>
          <p:nvPr/>
        </p:nvSpPr>
        <p:spPr>
          <a:xfrm>
            <a:off x="6556984" y="1621456"/>
            <a:ext cx="4974432" cy="3585365"/>
          </a:xfrm>
          <a:prstGeom prst="roundRect">
            <a:avLst>
              <a:gd name="adj" fmla="val 8678"/>
            </a:avLst>
          </a:prstGeom>
          <a:solidFill>
            <a:schemeClr val="bg1"/>
          </a:solidFill>
          <a:ln>
            <a:noFill/>
          </a:ln>
          <a:effectLst>
            <a:outerShdw blurRad="635000" algn="ctr" rotWithShape="0">
              <a:prstClr val="black">
                <a:alpha val="10000"/>
              </a:prstClr>
            </a:outerShdw>
          </a:effectLst>
        </p:spPr>
        <p:txBody>
          <a:bodyPr lIns="182880" tIns="640080" rIns="182880" bIns="0" anchor="t" anchorCtr="0">
            <a:noAutofit/>
          </a:bodyPr>
          <a:lstStyle>
            <a:lvl1pPr marL="0" indent="0" algn="ctr" defTabSz="742927" rtl="0" eaLnBrk="1" latinLnBrk="0" hangingPunct="1">
              <a:lnSpc>
                <a:spcPct val="110000"/>
              </a:lnSpc>
              <a:spcBef>
                <a:spcPts val="0"/>
              </a:spcBef>
              <a:buFont typeface="+mj-lt"/>
              <a:buNone/>
              <a:defRPr sz="1517" b="1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94076" indent="-190892" algn="l" defTabSz="74292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1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8183" indent="-220557" algn="l" defTabSz="74292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1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290" indent="-206369" algn="l" defTabSz="74292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1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0586" indent="-228296" algn="l" defTabSz="742927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 sz="11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050" indent="-185732" algn="l" defTabSz="7429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13" indent="-185732" algn="l" defTabSz="7429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5977" indent="-185732" algn="l" defTabSz="7429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440" indent="-185732" algn="l" defTabSz="7429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</a:pPr>
            <a:endParaRPr lang="en-US" sz="1600" b="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 algn="l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</a:rPr>
              <a:t>Infomineo is a </a:t>
            </a: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Brainshoring</a:t>
            </a:r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</a:rPr>
              <a:t> company </a:t>
            </a:r>
          </a:p>
          <a:p>
            <a:pPr algn="l">
              <a:lnSpc>
                <a:spcPts val="1700"/>
              </a:lnSpc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 algn="l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Founded in 2011 by two former consultants</a:t>
            </a:r>
          </a:p>
          <a:p>
            <a:pPr algn="l">
              <a:lnSpc>
                <a:spcPts val="1700"/>
              </a:lnSpc>
            </a:pPr>
            <a:endParaRPr lang="en-US" sz="1600" b="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</a:rPr>
              <a:t>Through the research provided, we help our clients: </a:t>
            </a:r>
          </a:p>
          <a:p>
            <a:pPr marL="579826" lvl="1" indent="-285750">
              <a:lnSpc>
                <a:spcPct val="150000"/>
              </a:lnSpc>
            </a:pPr>
            <a:r>
              <a:rPr lang="en-US" sz="1400" dirty="0">
                <a:latin typeface="Calibri" panose="020F0502020204030204" pitchFamily="34" charset="0"/>
              </a:rPr>
              <a:t>F</a:t>
            </a:r>
            <a:r>
              <a:rPr lang="en-US" sz="1400" b="0" dirty="0">
                <a:solidFill>
                  <a:schemeClr val="tx1"/>
                </a:solidFill>
                <a:latin typeface="Calibri" panose="020F0502020204030204" pitchFamily="34" charset="0"/>
              </a:rPr>
              <a:t>ocus on their core capabilities</a:t>
            </a:r>
          </a:p>
          <a:p>
            <a:pPr marL="579826" lvl="1" indent="-285750">
              <a:lnSpc>
                <a:spcPct val="150000"/>
              </a:lnSpc>
            </a:pPr>
            <a:r>
              <a:rPr lang="en-US" sz="1400" b="0" dirty="0">
                <a:solidFill>
                  <a:schemeClr val="tx1"/>
                </a:solidFill>
                <a:latin typeface="Calibri" panose="020F0502020204030204" pitchFamily="34" charset="0"/>
              </a:rPr>
              <a:t>Make well educated business decisions</a:t>
            </a:r>
          </a:p>
        </p:txBody>
      </p:sp>
    </p:spTree>
    <p:extLst>
      <p:ext uri="{BB962C8B-B14F-4D97-AF65-F5344CB8AC3E}">
        <p14:creationId xmlns:p14="http://schemas.microsoft.com/office/powerpoint/2010/main" val="17882728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5"/>
          <p:cNvSpPr/>
          <p:nvPr/>
        </p:nvSpPr>
        <p:spPr>
          <a:xfrm rot="5400000">
            <a:off x="4775482" y="-568154"/>
            <a:ext cx="2113097" cy="11641138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6" name="Google Shape;1226;p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 err="1"/>
              <a:t>Infomineo</a:t>
            </a:r>
            <a:r>
              <a:rPr lang="en-US" dirty="0"/>
              <a:t>, the leader in </a:t>
            </a:r>
            <a:r>
              <a:rPr lang="en-US" dirty="0" err="1"/>
              <a:t>Brainshoring</a:t>
            </a:r>
            <a:endParaRPr dirty="0"/>
          </a:p>
        </p:txBody>
      </p:sp>
      <p:pic>
        <p:nvPicPr>
          <p:cNvPr id="1227" name="Google Shape;1227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42994" y="2333299"/>
            <a:ext cx="714504" cy="49433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8" name="Google Shape;1228;p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427239" y="2315443"/>
            <a:ext cx="601854" cy="57849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9" name="Google Shape;1229;p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76522" y="2332853"/>
            <a:ext cx="654540" cy="543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30" name="Google Shape;1230;p5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923878" y="2329054"/>
            <a:ext cx="491429" cy="551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31" name="Google Shape;1231;p5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369430" y="2332853"/>
            <a:ext cx="542514" cy="543675"/>
          </a:xfrm>
          <a:prstGeom prst="rect">
            <a:avLst/>
          </a:prstGeom>
          <a:noFill/>
          <a:ln>
            <a:noFill/>
          </a:ln>
        </p:spPr>
      </p:pic>
      <p:sp>
        <p:nvSpPr>
          <p:cNvPr id="1232" name="Google Shape;1232;p5"/>
          <p:cNvSpPr txBox="1"/>
          <p:nvPr/>
        </p:nvSpPr>
        <p:spPr>
          <a:xfrm>
            <a:off x="1658246" y="1623527"/>
            <a:ext cx="27111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250</a:t>
            </a:r>
            <a:r>
              <a:rPr lang="en-US" sz="16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mployees, 55% of women</a:t>
            </a:r>
            <a:b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ix of business and technical (engineering, design) background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5"/>
          <p:cNvSpPr txBox="1"/>
          <p:nvPr/>
        </p:nvSpPr>
        <p:spPr>
          <a:xfrm>
            <a:off x="606641" y="2963529"/>
            <a:ext cx="1394302" cy="637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>
                <a:solidFill>
                  <a:schemeClr val="dk2"/>
                </a:solidFill>
                <a:latin typeface="Franklin Gothic"/>
                <a:ea typeface="Calibri"/>
                <a:cs typeface="Calibri"/>
                <a:sym typeface="Franklin Gothic"/>
              </a:rPr>
              <a:t>25</a:t>
            </a:r>
            <a:r>
              <a:rPr lang="en-US" sz="1400" b="0" i="0" u="none" strike="noStrike" cap="none" dirty="0">
                <a:solidFill>
                  <a:srgbClr val="00B05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ationalities,</a:t>
            </a:r>
            <a:br>
              <a:rPr lang="en-US" sz="1400" b="0" i="0" u="none" strike="noStrike" cap="none" dirty="0">
                <a:solidFill>
                  <a:srgbClr val="72727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600" b="0" i="0" u="none" strike="noStrike" cap="none" dirty="0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18</a:t>
            </a:r>
            <a:r>
              <a:rPr lang="en-US" sz="14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nguages spoken nativel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5"/>
          <p:cNvSpPr txBox="1"/>
          <p:nvPr/>
        </p:nvSpPr>
        <p:spPr>
          <a:xfrm>
            <a:off x="3696925" y="3039876"/>
            <a:ext cx="1818300" cy="80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5 offices</a:t>
            </a:r>
            <a:br>
              <a:rPr lang="en-US" sz="1600" b="1" i="0" u="none" strike="noStrike" cap="none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sablanca, Cairo, Mexico, Dubai and Barcelona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5" name="Google Shape;1235;p5"/>
          <p:cNvSpPr txBox="1"/>
          <p:nvPr/>
        </p:nvSpPr>
        <p:spPr>
          <a:xfrm>
            <a:off x="5186909" y="1623527"/>
            <a:ext cx="1818181" cy="6093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200,000+</a:t>
            </a:r>
            <a:br>
              <a:rPr lang="en-US" sz="1600" b="1" i="0" u="none" strike="noStrike" cap="none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quests successfully execute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6" name="Google Shape;1236;p5"/>
          <p:cNvSpPr txBox="1"/>
          <p:nvPr/>
        </p:nvSpPr>
        <p:spPr>
          <a:xfrm>
            <a:off x="6551999" y="2963529"/>
            <a:ext cx="2302786" cy="80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Geographic distribution</a:t>
            </a:r>
            <a:b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 our work:</a:t>
            </a:r>
            <a:b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0% Europe, 40% Middle East and Africa, 20% ROW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8" name="Google Shape;1238;p5"/>
          <p:cNvSpPr txBox="1"/>
          <p:nvPr/>
        </p:nvSpPr>
        <p:spPr>
          <a:xfrm>
            <a:off x="273274" y="4482974"/>
            <a:ext cx="1478944" cy="15388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1" i="0" u="none" strike="noStrike" cap="none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Clients</a:t>
            </a:r>
            <a:endParaRPr sz="2000" b="1" i="0" u="none" strike="noStrike" cap="none" baseline="30000">
              <a:solidFill>
                <a:srgbClr val="0070C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ll the leading consultancies and</a:t>
            </a:r>
            <a:br>
              <a:rPr lang="en-US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0+ of the Fortune 500 companies 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9" name="Google Shape;1239;p5"/>
          <p:cNvSpPr txBox="1"/>
          <p:nvPr/>
        </p:nvSpPr>
        <p:spPr>
          <a:xfrm>
            <a:off x="8479682" y="1566252"/>
            <a:ext cx="1547166" cy="6093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90</a:t>
            </a:r>
            <a:r>
              <a:rPr lang="en-US" sz="1600" b="0" i="0" u="none" strike="noStrike" cap="none" dirty="0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%</a:t>
            </a:r>
            <a:br>
              <a:rPr lang="en-US" sz="1600" b="1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 our business on</a:t>
            </a:r>
            <a:b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 retainer basi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40" name="Google Shape;1240;p5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2279302" y="4244167"/>
            <a:ext cx="962118" cy="4810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1" name="Google Shape;1241;p5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8480325" y="5288952"/>
            <a:ext cx="608534" cy="4620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2" name="Google Shape;1242;p5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7093643" y="4868362"/>
            <a:ext cx="1098298" cy="274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3" name="Google Shape;1243;p5" descr="Cerba HealthCare &amp; Laboratoire Cerba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2243740" y="5304222"/>
            <a:ext cx="1403706" cy="51121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4" name="Google Shape;1244;p5" descr="Minister of Foreign Affairs and International Cooperation"/>
          <p:cNvPicPr preferRelativeResize="0"/>
          <p:nvPr/>
        </p:nvPicPr>
        <p:blipFill rotWithShape="1">
          <a:blip r:embed="rId12">
            <a:alphaModFix/>
          </a:blip>
          <a:srcRect r="9835"/>
          <a:stretch/>
        </p:blipFill>
        <p:spPr>
          <a:xfrm>
            <a:off x="3605426" y="4251199"/>
            <a:ext cx="1637446" cy="4669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5" name="Google Shape;1245;p5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5715552" y="5900917"/>
            <a:ext cx="943318" cy="3148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6" name="Google Shape;1246;p5" descr="L'Oreal Logo PNG Transparent &amp; SVG Vector - Freebie Supply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4274351" y="4927385"/>
            <a:ext cx="813002" cy="1565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7" name="Google Shape;1247;p5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9180119" y="4238184"/>
            <a:ext cx="878284" cy="4930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8" name="Google Shape;1248;p5" descr="averda — George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4924650" y="5367759"/>
            <a:ext cx="1163906" cy="30448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9" name="Google Shape;1249;p5" descr="OCP Logo [ Download - Logo - icon ]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7395322" y="5284476"/>
            <a:ext cx="370560" cy="471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0" name="Google Shape;1250;p5" descr="Societe Generale Logo - Société Générale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5548678" y="4355098"/>
            <a:ext cx="1277066" cy="2591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2" name="Google Shape;1252;p5" descr="Almarai Logo Vector (.EPS) Free Download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3813038" y="5318792"/>
            <a:ext cx="638758" cy="4024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3" name="Google Shape;1253;p5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10984950" y="5256887"/>
            <a:ext cx="526226" cy="5262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4" name="Google Shape;1254;p5" descr="Carrefour Logo transparent PNG - StickPNG"/>
          <p:cNvPicPr preferRelativeResize="0"/>
          <p:nvPr/>
        </p:nvPicPr>
        <p:blipFill rotWithShape="1">
          <a:blip r:embed="rId21">
            <a:alphaModFix/>
          </a:blip>
          <a:srcRect l="5383" t="13999" r="5187" b="13998"/>
          <a:stretch/>
        </p:blipFill>
        <p:spPr>
          <a:xfrm>
            <a:off x="9793581" y="5291539"/>
            <a:ext cx="567526" cy="45692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5" name="Google Shape;1255;p5" descr="Methodology on information resources and systems - GIZ Azerbaijan"/>
          <p:cNvPicPr preferRelativeResize="0"/>
          <p:nvPr/>
        </p:nvPicPr>
        <p:blipFill rotWithShape="1">
          <a:blip r:embed="rId22">
            <a:alphaModFix/>
          </a:blip>
          <a:srcRect l="2182" t="14255" r="2232" b="35388"/>
          <a:stretch/>
        </p:blipFill>
        <p:spPr>
          <a:xfrm>
            <a:off x="7430612" y="4297144"/>
            <a:ext cx="1424178" cy="3751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6" name="Google Shape;1256;p5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5638117" y="4857278"/>
            <a:ext cx="803326" cy="2967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7" name="Google Shape;1257;p5" descr="Honeywell Home Developer Site | home"/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8839325" y="4906373"/>
            <a:ext cx="1055806" cy="19855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8" name="Google Shape;1258;p5"/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10197969" y="4880769"/>
            <a:ext cx="1338004" cy="24976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9" name="Google Shape;1259;p5" descr="Novo Nordisk Logo PNG Transparent &amp; SVG Vector - Freebie Supply"/>
          <p:cNvPicPr preferRelativeResize="0"/>
          <p:nvPr/>
        </p:nvPicPr>
        <p:blipFill rotWithShape="1">
          <a:blip r:embed="rId26">
            <a:alphaModFix/>
          </a:blip>
          <a:srcRect/>
          <a:stretch/>
        </p:blipFill>
        <p:spPr>
          <a:xfrm>
            <a:off x="9095144" y="5587492"/>
            <a:ext cx="800286" cy="573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0" name="Google Shape;1260;p5"/>
          <p:cNvPicPr preferRelativeResize="0"/>
          <p:nvPr/>
        </p:nvPicPr>
        <p:blipFill rotWithShape="1">
          <a:blip r:embed="rId27">
            <a:alphaModFix/>
          </a:blip>
          <a:srcRect/>
          <a:stretch/>
        </p:blipFill>
        <p:spPr>
          <a:xfrm>
            <a:off x="7468665" y="5730915"/>
            <a:ext cx="1181898" cy="434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1" name="Google Shape;1261;p5" descr="Renault Logo Transparent PNG | PNG Mart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10449236" y="4297829"/>
            <a:ext cx="1040478" cy="3737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2" name="Google Shape;1262;p5" descr="Saint-Gobain logo and symbol, meaning, history, PNG"/>
          <p:cNvPicPr preferRelativeResize="0"/>
          <p:nvPr/>
        </p:nvPicPr>
        <p:blipFill rotWithShape="1">
          <a:blip r:embed="rId29">
            <a:alphaModFix/>
          </a:blip>
          <a:srcRect l="5204" t="15865" r="6398" b="24892"/>
          <a:stretch/>
        </p:blipFill>
        <p:spPr>
          <a:xfrm>
            <a:off x="4095563" y="5792943"/>
            <a:ext cx="1009420" cy="4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3" name="Google Shape;1263;p5" descr="McDonald Development - Top Developer of Investment-Quality Real Estate"/>
          <p:cNvPicPr preferRelativeResize="0"/>
          <p:nvPr/>
        </p:nvPicPr>
        <p:blipFill rotWithShape="1">
          <a:blip r:embed="rId30">
            <a:alphaModFix/>
          </a:blip>
          <a:srcRect/>
          <a:stretch/>
        </p:blipFill>
        <p:spPr>
          <a:xfrm>
            <a:off x="2258978" y="4839840"/>
            <a:ext cx="1658092" cy="3316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4" name="Google Shape;1264;p5" descr="General Mills | Partners in Food Solutions"/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6415305" y="5266213"/>
            <a:ext cx="785820" cy="4635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6" name="Google Shape;1266;p5"/>
          <p:cNvPicPr preferRelativeResize="0"/>
          <p:nvPr/>
        </p:nvPicPr>
        <p:blipFill rotWithShape="1">
          <a:blip r:embed="rId32">
            <a:alphaModFix/>
          </a:blip>
          <a:srcRect/>
          <a:stretch/>
        </p:blipFill>
        <p:spPr>
          <a:xfrm>
            <a:off x="9088859" y="2329054"/>
            <a:ext cx="528788" cy="52878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67" name="Google Shape;1267;p5"/>
          <p:cNvCxnSpPr/>
          <p:nvPr/>
        </p:nvCxnSpPr>
        <p:spPr>
          <a:xfrm>
            <a:off x="9793581" y="2604690"/>
            <a:ext cx="769620" cy="0"/>
          </a:xfrm>
          <a:prstGeom prst="straightConnector1">
            <a:avLst/>
          </a:prstGeom>
          <a:solidFill>
            <a:schemeClr val="lt1"/>
          </a:solidFill>
          <a:ln w="9525" cap="flat" cmpd="sng">
            <a:solidFill>
              <a:srgbClr val="A1A1A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69" name="Google Shape;1269;p5"/>
          <p:cNvCxnSpPr/>
          <p:nvPr/>
        </p:nvCxnSpPr>
        <p:spPr>
          <a:xfrm>
            <a:off x="8150249" y="2604690"/>
            <a:ext cx="769620" cy="0"/>
          </a:xfrm>
          <a:prstGeom prst="straightConnector1">
            <a:avLst/>
          </a:prstGeom>
          <a:solidFill>
            <a:schemeClr val="lt1"/>
          </a:solidFill>
          <a:ln w="9525" cap="flat" cmpd="sng">
            <a:solidFill>
              <a:srgbClr val="A1A1A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70" name="Google Shape;1270;p5"/>
          <p:cNvCxnSpPr/>
          <p:nvPr/>
        </p:nvCxnSpPr>
        <p:spPr>
          <a:xfrm>
            <a:off x="6536463" y="2604690"/>
            <a:ext cx="769620" cy="0"/>
          </a:xfrm>
          <a:prstGeom prst="straightConnector1">
            <a:avLst/>
          </a:prstGeom>
          <a:solidFill>
            <a:schemeClr val="lt1"/>
          </a:solidFill>
          <a:ln w="9525" cap="flat" cmpd="sng">
            <a:solidFill>
              <a:srgbClr val="A1A1A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71" name="Google Shape;1271;p5"/>
          <p:cNvCxnSpPr/>
          <p:nvPr/>
        </p:nvCxnSpPr>
        <p:spPr>
          <a:xfrm>
            <a:off x="5033102" y="2604690"/>
            <a:ext cx="769620" cy="0"/>
          </a:xfrm>
          <a:prstGeom prst="straightConnector1">
            <a:avLst/>
          </a:prstGeom>
          <a:solidFill>
            <a:schemeClr val="lt1"/>
          </a:solidFill>
          <a:ln w="9525" cap="flat" cmpd="sng">
            <a:solidFill>
              <a:srgbClr val="A1A1A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72" name="Google Shape;1272;p5"/>
          <p:cNvCxnSpPr/>
          <p:nvPr/>
        </p:nvCxnSpPr>
        <p:spPr>
          <a:xfrm>
            <a:off x="3478654" y="2604690"/>
            <a:ext cx="769620" cy="0"/>
          </a:xfrm>
          <a:prstGeom prst="straightConnector1">
            <a:avLst/>
          </a:prstGeom>
          <a:solidFill>
            <a:schemeClr val="lt1"/>
          </a:solidFill>
          <a:ln w="9525" cap="flat" cmpd="sng">
            <a:solidFill>
              <a:srgbClr val="A1A1A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73" name="Google Shape;1273;p5"/>
          <p:cNvCxnSpPr/>
          <p:nvPr/>
        </p:nvCxnSpPr>
        <p:spPr>
          <a:xfrm>
            <a:off x="1752218" y="2604690"/>
            <a:ext cx="769620" cy="0"/>
          </a:xfrm>
          <a:prstGeom prst="straightConnector1">
            <a:avLst/>
          </a:prstGeom>
          <a:solidFill>
            <a:schemeClr val="lt1"/>
          </a:solidFill>
          <a:ln w="9525" cap="flat" cmpd="sng">
            <a:solidFill>
              <a:srgbClr val="A1A1A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74" name="Google Shape;1274;p5"/>
          <p:cNvCxnSpPr/>
          <p:nvPr/>
        </p:nvCxnSpPr>
        <p:spPr>
          <a:xfrm>
            <a:off x="539400" y="2604690"/>
            <a:ext cx="315966" cy="0"/>
          </a:xfrm>
          <a:prstGeom prst="straightConnector1">
            <a:avLst/>
          </a:prstGeom>
          <a:solidFill>
            <a:schemeClr val="lt1"/>
          </a:solidFill>
          <a:ln w="9525" cap="flat" cmpd="sng">
            <a:solidFill>
              <a:srgbClr val="A1A1A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75" name="Google Shape;1275;p5"/>
          <p:cNvCxnSpPr/>
          <p:nvPr/>
        </p:nvCxnSpPr>
        <p:spPr>
          <a:xfrm>
            <a:off x="1966627" y="4299767"/>
            <a:ext cx="0" cy="1905297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76" name="Google Shape;1276;p5"/>
          <p:cNvGrpSpPr/>
          <p:nvPr/>
        </p:nvGrpSpPr>
        <p:grpSpPr>
          <a:xfrm>
            <a:off x="1822627" y="5108415"/>
            <a:ext cx="288000" cy="288000"/>
            <a:chOff x="550862" y="2496471"/>
            <a:chExt cx="360000" cy="360000"/>
          </a:xfrm>
        </p:grpSpPr>
        <p:sp>
          <p:nvSpPr>
            <p:cNvPr id="1277" name="Google Shape;1277;p5"/>
            <p:cNvSpPr/>
            <p:nvPr/>
          </p:nvSpPr>
          <p:spPr>
            <a:xfrm>
              <a:off x="564471" y="2510079"/>
              <a:ext cx="332784" cy="332784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78" name="Google Shape;1278;p5"/>
            <p:cNvPicPr preferRelativeResize="0"/>
            <p:nvPr/>
          </p:nvPicPr>
          <p:blipFill rotWithShape="1">
            <a:blip r:embed="rId33">
              <a:alphaModFix/>
            </a:blip>
            <a:srcRect/>
            <a:stretch/>
          </p:blipFill>
          <p:spPr>
            <a:xfrm>
              <a:off x="550862" y="2496471"/>
              <a:ext cx="360000" cy="360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279" name="Google Shape;1279;p5" descr="AboutUs – Media-ap"/>
          <p:cNvPicPr preferRelativeResize="0"/>
          <p:nvPr/>
        </p:nvPicPr>
        <p:blipFill rotWithShape="1">
          <a:blip r:embed="rId34">
            <a:alphaModFix/>
          </a:blip>
          <a:srcRect t="29181" b="25878"/>
          <a:stretch/>
        </p:blipFill>
        <p:spPr>
          <a:xfrm>
            <a:off x="10198298" y="5826644"/>
            <a:ext cx="979342" cy="32422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" name="Google Shape;1284;p6"/>
          <p:cNvSpPr/>
          <p:nvPr/>
        </p:nvSpPr>
        <p:spPr>
          <a:xfrm>
            <a:off x="-446654" y="0"/>
            <a:ext cx="4360469" cy="6857999"/>
          </a:xfrm>
          <a:custGeom>
            <a:avLst/>
            <a:gdLst/>
            <a:ahLst/>
            <a:cxnLst/>
            <a:rect l="l" t="t" r="r" b="b"/>
            <a:pathLst>
              <a:path w="4409954" h="6850992" extrusionOk="0">
                <a:moveTo>
                  <a:pt x="0" y="0"/>
                </a:moveTo>
                <a:lnTo>
                  <a:pt x="2854655" y="0"/>
                </a:lnTo>
                <a:lnTo>
                  <a:pt x="2869398" y="12911"/>
                </a:lnTo>
                <a:cubicBezTo>
                  <a:pt x="3821232" y="887164"/>
                  <a:pt x="4409954" y="2094934"/>
                  <a:pt x="4409954" y="3429000"/>
                </a:cubicBezTo>
                <a:cubicBezTo>
                  <a:pt x="4409954" y="4763066"/>
                  <a:pt x="3821232" y="5970836"/>
                  <a:pt x="2869398" y="6845090"/>
                </a:cubicBezTo>
                <a:lnTo>
                  <a:pt x="2862658" y="6850992"/>
                </a:lnTo>
                <a:lnTo>
                  <a:pt x="0" y="6850992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0" tIns="27430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1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85" name="Google Shape;1285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329807" y="0"/>
            <a:ext cx="3484098" cy="6858000"/>
          </a:xfrm>
          <a:custGeom>
            <a:avLst/>
            <a:gdLst/>
            <a:ahLst/>
            <a:cxnLst/>
            <a:rect l="l" t="t" r="r" b="b"/>
            <a:pathLst>
              <a:path w="2711987" h="5338200" extrusionOk="0">
                <a:moveTo>
                  <a:pt x="42887" y="0"/>
                </a:moveTo>
                <a:cubicBezTo>
                  <a:pt x="1516990" y="0"/>
                  <a:pt x="2711987" y="1194997"/>
                  <a:pt x="2711987" y="2669100"/>
                </a:cubicBezTo>
                <a:cubicBezTo>
                  <a:pt x="2711987" y="4143203"/>
                  <a:pt x="1516990" y="5338200"/>
                  <a:pt x="42887" y="5338200"/>
                </a:cubicBezTo>
                <a:lnTo>
                  <a:pt x="0" y="5336035"/>
                </a:lnTo>
                <a:lnTo>
                  <a:pt x="0" y="2166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286" name="Google Shape;1286;p6"/>
          <p:cNvSpPr/>
          <p:nvPr/>
        </p:nvSpPr>
        <p:spPr>
          <a:xfrm>
            <a:off x="-329807" y="0"/>
            <a:ext cx="3484098" cy="6858000"/>
          </a:xfrm>
          <a:custGeom>
            <a:avLst/>
            <a:gdLst/>
            <a:ahLst/>
            <a:cxnLst/>
            <a:rect l="l" t="t" r="r" b="b"/>
            <a:pathLst>
              <a:path w="2711987" h="5338200" extrusionOk="0">
                <a:moveTo>
                  <a:pt x="42887" y="0"/>
                </a:moveTo>
                <a:cubicBezTo>
                  <a:pt x="1516990" y="0"/>
                  <a:pt x="2711987" y="1194997"/>
                  <a:pt x="2711987" y="2669100"/>
                </a:cubicBezTo>
                <a:cubicBezTo>
                  <a:pt x="2711987" y="4143203"/>
                  <a:pt x="1516990" y="5338200"/>
                  <a:pt x="42887" y="5338200"/>
                </a:cubicBezTo>
                <a:lnTo>
                  <a:pt x="0" y="5336035"/>
                </a:lnTo>
                <a:lnTo>
                  <a:pt x="0" y="2166"/>
                </a:lnTo>
                <a:close/>
              </a:path>
            </a:pathLst>
          </a:custGeom>
          <a:gradFill>
            <a:gsLst>
              <a:gs pos="0">
                <a:srgbClr val="062379">
                  <a:alpha val="92941"/>
                </a:srgbClr>
              </a:gs>
              <a:gs pos="25000">
                <a:srgbClr val="062379">
                  <a:alpha val="92941"/>
                </a:srgbClr>
              </a:gs>
              <a:gs pos="55000">
                <a:srgbClr val="0934B6">
                  <a:alpha val="82745"/>
                </a:srgbClr>
              </a:gs>
              <a:gs pos="73000">
                <a:srgbClr val="036DFF">
                  <a:alpha val="82745"/>
                </a:srgbClr>
              </a:gs>
              <a:gs pos="89000">
                <a:srgbClr val="43E1D3"/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0" tIns="27430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1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287" name="Google Shape;1287;p6"/>
          <p:cNvGrpSpPr/>
          <p:nvPr/>
        </p:nvGrpSpPr>
        <p:grpSpPr>
          <a:xfrm>
            <a:off x="7610091" y="2754195"/>
            <a:ext cx="747458" cy="747458"/>
            <a:chOff x="6541511" y="3023275"/>
            <a:chExt cx="607739" cy="607739"/>
          </a:xfrm>
        </p:grpSpPr>
        <p:sp>
          <p:nvSpPr>
            <p:cNvPr id="1288" name="Google Shape;1288;p6"/>
            <p:cNvSpPr/>
            <p:nvPr/>
          </p:nvSpPr>
          <p:spPr>
            <a:xfrm>
              <a:off x="6541511" y="3023275"/>
              <a:ext cx="607739" cy="607739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89" name="Google Shape;1289;p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6648723" y="3126361"/>
              <a:ext cx="397581" cy="39758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90" name="Google Shape;1290;p6"/>
          <p:cNvGrpSpPr/>
          <p:nvPr/>
        </p:nvGrpSpPr>
        <p:grpSpPr>
          <a:xfrm>
            <a:off x="7663461" y="3910377"/>
            <a:ext cx="747446" cy="747446"/>
            <a:chOff x="6541511" y="3910964"/>
            <a:chExt cx="607739" cy="607739"/>
          </a:xfrm>
        </p:grpSpPr>
        <p:sp>
          <p:nvSpPr>
            <p:cNvPr id="1291" name="Google Shape;1291;p6"/>
            <p:cNvSpPr/>
            <p:nvPr/>
          </p:nvSpPr>
          <p:spPr>
            <a:xfrm>
              <a:off x="6541511" y="3910964"/>
              <a:ext cx="607739" cy="607739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292" name="Google Shape;1292;p6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676533" y="4046643"/>
              <a:ext cx="337977" cy="33797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93" name="Google Shape;1293;p6"/>
          <p:cNvSpPr/>
          <p:nvPr/>
        </p:nvSpPr>
        <p:spPr>
          <a:xfrm>
            <a:off x="8515069" y="1711373"/>
            <a:ext cx="2914931" cy="634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dk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Desk research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ting insights through free and paid data sourc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4" name="Google Shape;1294;p6"/>
          <p:cNvSpPr/>
          <p:nvPr/>
        </p:nvSpPr>
        <p:spPr>
          <a:xfrm>
            <a:off x="8434644" y="2810848"/>
            <a:ext cx="3114300" cy="63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dk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Primary research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ilding new data through interviews (cold calling or Expert Interviews), or field work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5" name="Google Shape;1295;p6"/>
          <p:cNvSpPr/>
          <p:nvPr/>
        </p:nvSpPr>
        <p:spPr>
          <a:xfrm>
            <a:off x="8515069" y="3996103"/>
            <a:ext cx="2686733" cy="634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Franklin Gothic"/>
              <a:buNone/>
            </a:pPr>
            <a:r>
              <a:rPr lang="en-US" sz="2000" b="0" i="0" u="none" strike="noStrike" cap="none">
                <a:solidFill>
                  <a:schemeClr val="dk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Tech enabled research</a:t>
            </a:r>
            <a:endParaRPr sz="2400" b="0" i="0" u="none" strike="noStrike" cap="none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ing technology to generate data and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6" name="Google Shape;1296;p6"/>
          <p:cNvSpPr txBox="1">
            <a:spLocks noGrp="1"/>
          </p:cNvSpPr>
          <p:nvPr>
            <p:ph type="title"/>
          </p:nvPr>
        </p:nvSpPr>
        <p:spPr>
          <a:xfrm>
            <a:off x="2731624" y="560588"/>
            <a:ext cx="8897747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/>
              <a:t>Infomineo offers a suite of Brainshoring services</a:t>
            </a:r>
            <a:endParaRPr/>
          </a:p>
        </p:txBody>
      </p:sp>
      <p:sp>
        <p:nvSpPr>
          <p:cNvPr id="1297" name="Google Shape;1297;p6"/>
          <p:cNvSpPr txBox="1"/>
          <p:nvPr/>
        </p:nvSpPr>
        <p:spPr>
          <a:xfrm>
            <a:off x="4338032" y="4090645"/>
            <a:ext cx="279435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0" i="0" u="none" strike="noStrike" cap="none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Language servic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8" name="Google Shape;1298;p6"/>
          <p:cNvSpPr txBox="1"/>
          <p:nvPr/>
        </p:nvSpPr>
        <p:spPr>
          <a:xfrm>
            <a:off x="4278657" y="1242442"/>
            <a:ext cx="264662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0" i="0" u="none" strike="noStrike" cap="none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Data research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9" name="Google Shape;1299;p6"/>
          <p:cNvSpPr txBox="1"/>
          <p:nvPr/>
        </p:nvSpPr>
        <p:spPr>
          <a:xfrm>
            <a:off x="4537611" y="2740886"/>
            <a:ext cx="244870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0" i="0" u="none" strike="noStrike" cap="none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Graphic desig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0" name="Google Shape;1300;p6"/>
          <p:cNvSpPr/>
          <p:nvPr/>
        </p:nvSpPr>
        <p:spPr>
          <a:xfrm>
            <a:off x="4278657" y="1688554"/>
            <a:ext cx="2310799" cy="4093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ting the right insights to make better decis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1" name="Google Shape;1301;p6"/>
          <p:cNvSpPr/>
          <p:nvPr/>
        </p:nvSpPr>
        <p:spPr>
          <a:xfrm>
            <a:off x="4338032" y="4443070"/>
            <a:ext cx="2776296" cy="818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nslating business content between languages without betraying the original message, and advising on language related issu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2" name="Google Shape;1302;p6"/>
          <p:cNvSpPr/>
          <p:nvPr/>
        </p:nvSpPr>
        <p:spPr>
          <a:xfrm>
            <a:off x="4537613" y="3116024"/>
            <a:ext cx="2536598" cy="4093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senting messages in a meaningful and beautiful wa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3" name="Google Shape;1303;p6"/>
          <p:cNvSpPr txBox="1"/>
          <p:nvPr/>
        </p:nvSpPr>
        <p:spPr>
          <a:xfrm>
            <a:off x="324540" y="3445417"/>
            <a:ext cx="2609454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1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he business of offshoring</a:t>
            </a:r>
            <a:br>
              <a:rPr lang="en-US" sz="1600" b="0" i="1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600" b="0" i="1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asks that require extensive communication and critical thinking/problem solving skills</a:t>
            </a:r>
            <a:endParaRPr sz="1600" b="0" i="1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4" name="Google Shape;1304;p6"/>
          <p:cNvSpPr txBox="1"/>
          <p:nvPr/>
        </p:nvSpPr>
        <p:spPr>
          <a:xfrm>
            <a:off x="273268" y="2936557"/>
            <a:ext cx="2711999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r>
              <a:rPr lang="en-US" sz="3200" b="0" i="0" u="none" strike="noStrike" cap="none">
                <a:solidFill>
                  <a:srgbClr val="43E1D3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“Brainshoring”</a:t>
            </a:r>
            <a:endParaRPr sz="3200" b="0" i="0" u="none" strike="noStrike" cap="none">
              <a:solidFill>
                <a:srgbClr val="43E1D3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cxnSp>
        <p:nvCxnSpPr>
          <p:cNvPr id="1305" name="Google Shape;1305;p6"/>
          <p:cNvCxnSpPr>
            <a:stCxn id="1306" idx="6"/>
          </p:cNvCxnSpPr>
          <p:nvPr/>
        </p:nvCxnSpPr>
        <p:spPr>
          <a:xfrm>
            <a:off x="4142469" y="1655899"/>
            <a:ext cx="33108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07" name="Google Shape;1307;p6"/>
          <p:cNvGrpSpPr/>
          <p:nvPr/>
        </p:nvGrpSpPr>
        <p:grpSpPr>
          <a:xfrm>
            <a:off x="3134381" y="1151855"/>
            <a:ext cx="1008088" cy="1008088"/>
            <a:chOff x="3982543" y="3333924"/>
            <a:chExt cx="1008088" cy="1008088"/>
          </a:xfrm>
        </p:grpSpPr>
        <p:sp>
          <p:nvSpPr>
            <p:cNvPr id="1306" name="Google Shape;1306;p6"/>
            <p:cNvSpPr/>
            <p:nvPr/>
          </p:nvSpPr>
          <p:spPr>
            <a:xfrm>
              <a:off x="3982543" y="3333924"/>
              <a:ext cx="1008088" cy="10080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08" name="Google Shape;1308;p6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4237191" y="3610878"/>
              <a:ext cx="466462" cy="46646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309" name="Google Shape;1309;p6"/>
          <p:cNvGrpSpPr/>
          <p:nvPr/>
        </p:nvGrpSpPr>
        <p:grpSpPr>
          <a:xfrm>
            <a:off x="3371564" y="2599580"/>
            <a:ext cx="1008088" cy="1008088"/>
            <a:chOff x="3644613" y="1746906"/>
            <a:chExt cx="1008088" cy="1008088"/>
          </a:xfrm>
        </p:grpSpPr>
        <p:sp>
          <p:nvSpPr>
            <p:cNvPr id="1310" name="Google Shape;1310;p6"/>
            <p:cNvSpPr/>
            <p:nvPr/>
          </p:nvSpPr>
          <p:spPr>
            <a:xfrm>
              <a:off x="3644613" y="1746906"/>
              <a:ext cx="1008088" cy="10080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11" name="Google Shape;1311;p6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3943132" y="2010252"/>
              <a:ext cx="465868" cy="46586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312" name="Google Shape;1312;p6"/>
          <p:cNvGrpSpPr/>
          <p:nvPr/>
        </p:nvGrpSpPr>
        <p:grpSpPr>
          <a:xfrm>
            <a:off x="3134381" y="4057307"/>
            <a:ext cx="1008088" cy="1008088"/>
            <a:chOff x="3654551" y="4907550"/>
            <a:chExt cx="1008088" cy="1008088"/>
          </a:xfrm>
        </p:grpSpPr>
        <p:sp>
          <p:nvSpPr>
            <p:cNvPr id="1313" name="Google Shape;1313;p6"/>
            <p:cNvSpPr/>
            <p:nvPr/>
          </p:nvSpPr>
          <p:spPr>
            <a:xfrm>
              <a:off x="3654551" y="4907550"/>
              <a:ext cx="1008088" cy="100808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14" name="Google Shape;1314;p6"/>
            <p:cNvGrpSpPr/>
            <p:nvPr/>
          </p:nvGrpSpPr>
          <p:grpSpPr>
            <a:xfrm>
              <a:off x="3989118" y="5163128"/>
              <a:ext cx="314264" cy="529278"/>
              <a:chOff x="6689308" y="2024976"/>
              <a:chExt cx="325986" cy="549024"/>
            </a:xfrm>
          </p:grpSpPr>
          <p:sp>
            <p:nvSpPr>
              <p:cNvPr id="1315" name="Google Shape;1315;p6"/>
              <p:cNvSpPr/>
              <p:nvPr/>
            </p:nvSpPr>
            <p:spPr>
              <a:xfrm>
                <a:off x="6689308" y="2024976"/>
                <a:ext cx="325986" cy="549024"/>
              </a:xfrm>
              <a:custGeom>
                <a:avLst/>
                <a:gdLst/>
                <a:ahLst/>
                <a:cxnLst/>
                <a:rect l="l" t="t" r="r" b="b"/>
                <a:pathLst>
                  <a:path w="325986" h="549024" extrusionOk="0">
                    <a:moveTo>
                      <a:pt x="304900" y="0"/>
                    </a:moveTo>
                    <a:lnTo>
                      <a:pt x="24663" y="0"/>
                    </a:lnTo>
                    <a:cubicBezTo>
                      <a:pt x="11049" y="17"/>
                      <a:pt x="17" y="11049"/>
                      <a:pt x="0" y="24663"/>
                    </a:cubicBezTo>
                    <a:lnTo>
                      <a:pt x="0" y="524361"/>
                    </a:lnTo>
                    <a:cubicBezTo>
                      <a:pt x="17" y="537975"/>
                      <a:pt x="11049" y="549007"/>
                      <a:pt x="24663" y="549024"/>
                    </a:cubicBezTo>
                    <a:lnTo>
                      <a:pt x="304900" y="549024"/>
                    </a:lnTo>
                    <a:cubicBezTo>
                      <a:pt x="318516" y="549011"/>
                      <a:pt x="329551" y="537975"/>
                      <a:pt x="329563" y="524361"/>
                    </a:cubicBezTo>
                    <a:lnTo>
                      <a:pt x="329563" y="24663"/>
                    </a:lnTo>
                    <a:cubicBezTo>
                      <a:pt x="329551" y="11048"/>
                      <a:pt x="318516" y="14"/>
                      <a:pt x="304900" y="0"/>
                    </a:cubicBezTo>
                    <a:close/>
                    <a:moveTo>
                      <a:pt x="240852" y="15012"/>
                    </a:moveTo>
                    <a:lnTo>
                      <a:pt x="223313" y="32538"/>
                    </a:lnTo>
                    <a:cubicBezTo>
                      <a:pt x="216691" y="39189"/>
                      <a:pt x="207684" y="42917"/>
                      <a:pt x="198298" y="42893"/>
                    </a:cubicBezTo>
                    <a:lnTo>
                      <a:pt x="131265" y="42893"/>
                    </a:lnTo>
                    <a:cubicBezTo>
                      <a:pt x="121879" y="42917"/>
                      <a:pt x="112873" y="39189"/>
                      <a:pt x="106250" y="32538"/>
                    </a:cubicBezTo>
                    <a:lnTo>
                      <a:pt x="88711" y="15012"/>
                    </a:lnTo>
                    <a:close/>
                    <a:moveTo>
                      <a:pt x="314551" y="524361"/>
                    </a:moveTo>
                    <a:cubicBezTo>
                      <a:pt x="314544" y="529688"/>
                      <a:pt x="310227" y="534003"/>
                      <a:pt x="304900" y="534012"/>
                    </a:cubicBezTo>
                    <a:lnTo>
                      <a:pt x="24663" y="534012"/>
                    </a:lnTo>
                    <a:cubicBezTo>
                      <a:pt x="19336" y="534003"/>
                      <a:pt x="15020" y="529688"/>
                      <a:pt x="15013" y="524361"/>
                    </a:cubicBezTo>
                    <a:lnTo>
                      <a:pt x="15013" y="24663"/>
                    </a:lnTo>
                    <a:cubicBezTo>
                      <a:pt x="15020" y="19336"/>
                      <a:pt x="19336" y="15019"/>
                      <a:pt x="24663" y="15012"/>
                    </a:cubicBezTo>
                    <a:lnTo>
                      <a:pt x="67471" y="15012"/>
                    </a:lnTo>
                    <a:lnTo>
                      <a:pt x="95638" y="43163"/>
                    </a:lnTo>
                    <a:cubicBezTo>
                      <a:pt x="105072" y="52633"/>
                      <a:pt x="117898" y="57940"/>
                      <a:pt x="131265" y="57905"/>
                    </a:cubicBezTo>
                    <a:lnTo>
                      <a:pt x="198298" y="57905"/>
                    </a:lnTo>
                    <a:cubicBezTo>
                      <a:pt x="211665" y="57940"/>
                      <a:pt x="224492" y="52633"/>
                      <a:pt x="233925" y="43163"/>
                    </a:cubicBezTo>
                    <a:lnTo>
                      <a:pt x="262093" y="15012"/>
                    </a:lnTo>
                    <a:lnTo>
                      <a:pt x="304900" y="15012"/>
                    </a:lnTo>
                    <a:cubicBezTo>
                      <a:pt x="310227" y="15019"/>
                      <a:pt x="314544" y="19336"/>
                      <a:pt x="314551" y="24663"/>
                    </a:cubicBez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6" name="Google Shape;1316;p6"/>
              <p:cNvSpPr/>
              <p:nvPr/>
            </p:nvSpPr>
            <p:spPr>
              <a:xfrm>
                <a:off x="6732201" y="2110795"/>
                <a:ext cx="85786" cy="98653"/>
              </a:xfrm>
              <a:custGeom>
                <a:avLst/>
                <a:gdLst/>
                <a:ahLst/>
                <a:cxnLst/>
                <a:rect l="l" t="t" r="r" b="b"/>
                <a:pathLst>
                  <a:path w="85785" h="98652" extrusionOk="0">
                    <a:moveTo>
                      <a:pt x="5040" y="98734"/>
                    </a:moveTo>
                    <a:cubicBezTo>
                      <a:pt x="8946" y="100102"/>
                      <a:pt x="13221" y="98044"/>
                      <a:pt x="14588" y="94138"/>
                    </a:cubicBezTo>
                    <a:cubicBezTo>
                      <a:pt x="14591" y="94130"/>
                      <a:pt x="14594" y="94122"/>
                      <a:pt x="14597" y="94115"/>
                    </a:cubicBezTo>
                    <a:lnTo>
                      <a:pt x="27499" y="57081"/>
                    </a:lnTo>
                    <a:lnTo>
                      <a:pt x="62242" y="57081"/>
                    </a:lnTo>
                    <a:lnTo>
                      <a:pt x="75136" y="94115"/>
                    </a:lnTo>
                    <a:cubicBezTo>
                      <a:pt x="76715" y="97948"/>
                      <a:pt x="81102" y="99776"/>
                      <a:pt x="84935" y="98197"/>
                    </a:cubicBezTo>
                    <a:cubicBezTo>
                      <a:pt x="88471" y="96740"/>
                      <a:pt x="90347" y="92858"/>
                      <a:pt x="89290" y="89182"/>
                    </a:cubicBezTo>
                    <a:lnTo>
                      <a:pt x="59994" y="5040"/>
                    </a:lnTo>
                    <a:cubicBezTo>
                      <a:pt x="58944" y="2022"/>
                      <a:pt x="56099" y="0"/>
                      <a:pt x="52904" y="0"/>
                    </a:cubicBezTo>
                    <a:lnTo>
                      <a:pt x="36819" y="0"/>
                    </a:lnTo>
                    <a:cubicBezTo>
                      <a:pt x="33624" y="0"/>
                      <a:pt x="30779" y="2022"/>
                      <a:pt x="29729" y="5040"/>
                    </a:cubicBezTo>
                    <a:lnTo>
                      <a:pt x="420" y="89182"/>
                    </a:lnTo>
                    <a:cubicBezTo>
                      <a:pt x="-944" y="93092"/>
                      <a:pt x="1120" y="97367"/>
                      <a:pt x="5030" y="98731"/>
                    </a:cubicBezTo>
                    <a:cubicBezTo>
                      <a:pt x="5034" y="98732"/>
                      <a:pt x="5037" y="98733"/>
                      <a:pt x="5040" y="98734"/>
                    </a:cubicBezTo>
                    <a:close/>
                    <a:moveTo>
                      <a:pt x="42151" y="15012"/>
                    </a:moveTo>
                    <a:lnTo>
                      <a:pt x="47568" y="15012"/>
                    </a:lnTo>
                    <a:lnTo>
                      <a:pt x="57005" y="42069"/>
                    </a:lnTo>
                    <a:lnTo>
                      <a:pt x="32727" y="42069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7" name="Google Shape;1317;p6"/>
              <p:cNvSpPr/>
              <p:nvPr/>
            </p:nvSpPr>
            <p:spPr>
              <a:xfrm>
                <a:off x="6886259" y="2110795"/>
                <a:ext cx="85786" cy="98653"/>
              </a:xfrm>
              <a:custGeom>
                <a:avLst/>
                <a:gdLst/>
                <a:ahLst/>
                <a:cxnLst/>
                <a:rect l="l" t="t" r="r" b="b"/>
                <a:pathLst>
                  <a:path w="85785" h="98652" extrusionOk="0">
                    <a:moveTo>
                      <a:pt x="82213" y="24629"/>
                    </a:moveTo>
                    <a:lnTo>
                      <a:pt x="52368" y="24629"/>
                    </a:lnTo>
                    <a:lnTo>
                      <a:pt x="52368" y="7506"/>
                    </a:lnTo>
                    <a:cubicBezTo>
                      <a:pt x="52368" y="3361"/>
                      <a:pt x="49007" y="0"/>
                      <a:pt x="44862" y="0"/>
                    </a:cubicBezTo>
                    <a:cubicBezTo>
                      <a:pt x="40716" y="0"/>
                      <a:pt x="37355" y="3361"/>
                      <a:pt x="37355" y="7506"/>
                    </a:cubicBezTo>
                    <a:lnTo>
                      <a:pt x="37355" y="24629"/>
                    </a:lnTo>
                    <a:lnTo>
                      <a:pt x="7506" y="24629"/>
                    </a:lnTo>
                    <a:cubicBezTo>
                      <a:pt x="3361" y="24629"/>
                      <a:pt x="0" y="27990"/>
                      <a:pt x="0" y="32135"/>
                    </a:cubicBezTo>
                    <a:cubicBezTo>
                      <a:pt x="0" y="36281"/>
                      <a:pt x="3361" y="39641"/>
                      <a:pt x="7506" y="39641"/>
                    </a:cubicBezTo>
                    <a:lnTo>
                      <a:pt x="17873" y="39641"/>
                    </a:lnTo>
                    <a:lnTo>
                      <a:pt x="17873" y="41027"/>
                    </a:lnTo>
                    <a:cubicBezTo>
                      <a:pt x="17867" y="52418"/>
                      <a:pt x="22457" y="63330"/>
                      <a:pt x="30604" y="71292"/>
                    </a:cubicBezTo>
                    <a:lnTo>
                      <a:pt x="4066" y="84974"/>
                    </a:lnTo>
                    <a:cubicBezTo>
                      <a:pt x="456" y="87016"/>
                      <a:pt x="-816" y="91599"/>
                      <a:pt x="1226" y="95209"/>
                    </a:cubicBezTo>
                    <a:cubicBezTo>
                      <a:pt x="3154" y="98618"/>
                      <a:pt x="7378" y="99973"/>
                      <a:pt x="10929" y="98322"/>
                    </a:cubicBezTo>
                    <a:lnTo>
                      <a:pt x="44845" y="80831"/>
                    </a:lnTo>
                    <a:lnTo>
                      <a:pt x="78756" y="98322"/>
                    </a:lnTo>
                    <a:cubicBezTo>
                      <a:pt x="82366" y="100365"/>
                      <a:pt x="86948" y="99093"/>
                      <a:pt x="88990" y="95483"/>
                    </a:cubicBezTo>
                    <a:cubicBezTo>
                      <a:pt x="91032" y="91872"/>
                      <a:pt x="89761" y="87290"/>
                      <a:pt x="86151" y="85248"/>
                    </a:cubicBezTo>
                    <a:cubicBezTo>
                      <a:pt x="85977" y="85150"/>
                      <a:pt x="85800" y="85058"/>
                      <a:pt x="85619" y="84974"/>
                    </a:cubicBezTo>
                    <a:lnTo>
                      <a:pt x="59085" y="71292"/>
                    </a:lnTo>
                    <a:cubicBezTo>
                      <a:pt x="67232" y="63329"/>
                      <a:pt x="71821" y="52415"/>
                      <a:pt x="71811" y="41022"/>
                    </a:cubicBezTo>
                    <a:lnTo>
                      <a:pt x="71811" y="39641"/>
                    </a:lnTo>
                    <a:lnTo>
                      <a:pt x="82179" y="39641"/>
                    </a:lnTo>
                    <a:cubicBezTo>
                      <a:pt x="86324" y="39641"/>
                      <a:pt x="89685" y="36281"/>
                      <a:pt x="89685" y="32135"/>
                    </a:cubicBezTo>
                    <a:cubicBezTo>
                      <a:pt x="89685" y="27990"/>
                      <a:pt x="86324" y="24629"/>
                      <a:pt x="82179" y="24629"/>
                    </a:cubicBezTo>
                    <a:close/>
                    <a:moveTo>
                      <a:pt x="56833" y="41022"/>
                    </a:moveTo>
                    <a:cubicBezTo>
                      <a:pt x="56848" y="50092"/>
                      <a:pt x="52363" y="58580"/>
                      <a:pt x="44862" y="63678"/>
                    </a:cubicBezTo>
                    <a:cubicBezTo>
                      <a:pt x="37360" y="58580"/>
                      <a:pt x="32874" y="50093"/>
                      <a:pt x="32886" y="41022"/>
                    </a:cubicBezTo>
                    <a:lnTo>
                      <a:pt x="32886" y="39641"/>
                    </a:lnTo>
                    <a:lnTo>
                      <a:pt x="56833" y="39641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8" name="Google Shape;1318;p6"/>
              <p:cNvSpPr/>
              <p:nvPr/>
            </p:nvSpPr>
            <p:spPr>
              <a:xfrm>
                <a:off x="6832510" y="2152864"/>
                <a:ext cx="42893" cy="12868"/>
              </a:xfrm>
              <a:custGeom>
                <a:avLst/>
                <a:gdLst/>
                <a:ahLst/>
                <a:cxnLst/>
                <a:rect l="l" t="t" r="r" b="b"/>
                <a:pathLst>
                  <a:path w="42892" h="12867" extrusionOk="0">
                    <a:moveTo>
                      <a:pt x="7506" y="15012"/>
                    </a:moveTo>
                    <a:lnTo>
                      <a:pt x="35653" y="15012"/>
                    </a:lnTo>
                    <a:cubicBezTo>
                      <a:pt x="39798" y="15012"/>
                      <a:pt x="43159" y="11652"/>
                      <a:pt x="43159" y="7506"/>
                    </a:cubicBezTo>
                    <a:cubicBezTo>
                      <a:pt x="43159" y="3361"/>
                      <a:pt x="39798" y="0"/>
                      <a:pt x="35653" y="0"/>
                    </a:cubicBezTo>
                    <a:lnTo>
                      <a:pt x="7506" y="0"/>
                    </a:lnTo>
                    <a:cubicBezTo>
                      <a:pt x="3361" y="0"/>
                      <a:pt x="0" y="3361"/>
                      <a:pt x="0" y="7506"/>
                    </a:cubicBezTo>
                    <a:cubicBezTo>
                      <a:pt x="0" y="11652"/>
                      <a:pt x="3361" y="15012"/>
                      <a:pt x="7506" y="15012"/>
                    </a:cubicBez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9" name="Google Shape;1319;p6"/>
              <p:cNvSpPr/>
              <p:nvPr/>
            </p:nvSpPr>
            <p:spPr>
              <a:xfrm>
                <a:off x="6732201" y="2237864"/>
                <a:ext cx="240200" cy="12868"/>
              </a:xfrm>
              <a:custGeom>
                <a:avLst/>
                <a:gdLst/>
                <a:ahLst/>
                <a:cxnLst/>
                <a:rect l="l" t="t" r="r" b="b"/>
                <a:pathLst>
                  <a:path w="240200" h="12867" extrusionOk="0">
                    <a:moveTo>
                      <a:pt x="236271" y="0"/>
                    </a:moveTo>
                    <a:lnTo>
                      <a:pt x="7506" y="0"/>
                    </a:lnTo>
                    <a:cubicBezTo>
                      <a:pt x="3361" y="0"/>
                      <a:pt x="0" y="3361"/>
                      <a:pt x="0" y="7506"/>
                    </a:cubicBezTo>
                    <a:cubicBezTo>
                      <a:pt x="0" y="11652"/>
                      <a:pt x="3361" y="15012"/>
                      <a:pt x="7506" y="15012"/>
                    </a:cubicBezTo>
                    <a:lnTo>
                      <a:pt x="236271" y="15012"/>
                    </a:lnTo>
                    <a:cubicBezTo>
                      <a:pt x="240417" y="15012"/>
                      <a:pt x="243778" y="11652"/>
                      <a:pt x="243778" y="7506"/>
                    </a:cubicBezTo>
                    <a:cubicBezTo>
                      <a:pt x="243778" y="3361"/>
                      <a:pt x="240417" y="0"/>
                      <a:pt x="236271" y="0"/>
                    </a:cubicBez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0" name="Google Shape;1320;p6"/>
              <p:cNvSpPr/>
              <p:nvPr/>
            </p:nvSpPr>
            <p:spPr>
              <a:xfrm>
                <a:off x="6756508" y="2288113"/>
                <a:ext cx="193018" cy="12868"/>
              </a:xfrm>
              <a:custGeom>
                <a:avLst/>
                <a:gdLst/>
                <a:ahLst/>
                <a:cxnLst/>
                <a:rect l="l" t="t" r="r" b="b"/>
                <a:pathLst>
                  <a:path w="193018" h="12867" extrusionOk="0">
                    <a:moveTo>
                      <a:pt x="187657" y="15012"/>
                    </a:moveTo>
                    <a:cubicBezTo>
                      <a:pt x="191802" y="15012"/>
                      <a:pt x="195163" y="11652"/>
                      <a:pt x="195163" y="7506"/>
                    </a:cubicBezTo>
                    <a:cubicBezTo>
                      <a:pt x="195163" y="3361"/>
                      <a:pt x="191802" y="0"/>
                      <a:pt x="187657" y="0"/>
                    </a:cubicBezTo>
                    <a:lnTo>
                      <a:pt x="7506" y="0"/>
                    </a:lnTo>
                    <a:cubicBezTo>
                      <a:pt x="3361" y="0"/>
                      <a:pt x="0" y="3361"/>
                      <a:pt x="0" y="7506"/>
                    </a:cubicBezTo>
                    <a:cubicBezTo>
                      <a:pt x="0" y="11652"/>
                      <a:pt x="3361" y="15012"/>
                      <a:pt x="7506" y="15012"/>
                    </a:cubicBez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1" name="Google Shape;1321;p6"/>
              <p:cNvSpPr/>
              <p:nvPr/>
            </p:nvSpPr>
            <p:spPr>
              <a:xfrm>
                <a:off x="6732201" y="2338361"/>
                <a:ext cx="240200" cy="12868"/>
              </a:xfrm>
              <a:custGeom>
                <a:avLst/>
                <a:gdLst/>
                <a:ahLst/>
                <a:cxnLst/>
                <a:rect l="l" t="t" r="r" b="b"/>
                <a:pathLst>
                  <a:path w="240200" h="12867" extrusionOk="0">
                    <a:moveTo>
                      <a:pt x="236271" y="0"/>
                    </a:moveTo>
                    <a:lnTo>
                      <a:pt x="7506" y="0"/>
                    </a:lnTo>
                    <a:cubicBezTo>
                      <a:pt x="3361" y="0"/>
                      <a:pt x="0" y="3361"/>
                      <a:pt x="0" y="7506"/>
                    </a:cubicBezTo>
                    <a:cubicBezTo>
                      <a:pt x="0" y="11652"/>
                      <a:pt x="3361" y="15012"/>
                      <a:pt x="7506" y="15012"/>
                    </a:cubicBezTo>
                    <a:lnTo>
                      <a:pt x="236271" y="15012"/>
                    </a:lnTo>
                    <a:cubicBezTo>
                      <a:pt x="240417" y="15012"/>
                      <a:pt x="243778" y="11652"/>
                      <a:pt x="243778" y="7506"/>
                    </a:cubicBezTo>
                    <a:cubicBezTo>
                      <a:pt x="243778" y="3361"/>
                      <a:pt x="240417" y="0"/>
                      <a:pt x="236271" y="0"/>
                    </a:cubicBez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2" name="Google Shape;1322;p6"/>
              <p:cNvSpPr/>
              <p:nvPr/>
            </p:nvSpPr>
            <p:spPr>
              <a:xfrm>
                <a:off x="6756508" y="2388606"/>
                <a:ext cx="193018" cy="12868"/>
              </a:xfrm>
              <a:custGeom>
                <a:avLst/>
                <a:gdLst/>
                <a:ahLst/>
                <a:cxnLst/>
                <a:rect l="l" t="t" r="r" b="b"/>
                <a:pathLst>
                  <a:path w="193018" h="12867" extrusionOk="0">
                    <a:moveTo>
                      <a:pt x="187657" y="15012"/>
                    </a:moveTo>
                    <a:cubicBezTo>
                      <a:pt x="191802" y="15012"/>
                      <a:pt x="195163" y="11652"/>
                      <a:pt x="195163" y="7506"/>
                    </a:cubicBezTo>
                    <a:cubicBezTo>
                      <a:pt x="195163" y="3361"/>
                      <a:pt x="191802" y="0"/>
                      <a:pt x="187657" y="0"/>
                    </a:cubicBezTo>
                    <a:lnTo>
                      <a:pt x="7506" y="0"/>
                    </a:lnTo>
                    <a:cubicBezTo>
                      <a:pt x="3361" y="0"/>
                      <a:pt x="0" y="3361"/>
                      <a:pt x="0" y="7506"/>
                    </a:cubicBezTo>
                    <a:cubicBezTo>
                      <a:pt x="0" y="11652"/>
                      <a:pt x="3361" y="15012"/>
                      <a:pt x="7506" y="15012"/>
                    </a:cubicBez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3" name="Google Shape;1323;p6"/>
              <p:cNvSpPr/>
              <p:nvPr/>
            </p:nvSpPr>
            <p:spPr>
              <a:xfrm>
                <a:off x="6732201" y="2438854"/>
                <a:ext cx="240200" cy="12868"/>
              </a:xfrm>
              <a:custGeom>
                <a:avLst/>
                <a:gdLst/>
                <a:ahLst/>
                <a:cxnLst/>
                <a:rect l="l" t="t" r="r" b="b"/>
                <a:pathLst>
                  <a:path w="240200" h="12867" extrusionOk="0">
                    <a:moveTo>
                      <a:pt x="236271" y="0"/>
                    </a:moveTo>
                    <a:lnTo>
                      <a:pt x="7506" y="0"/>
                    </a:lnTo>
                    <a:cubicBezTo>
                      <a:pt x="3361" y="0"/>
                      <a:pt x="0" y="3361"/>
                      <a:pt x="0" y="7506"/>
                    </a:cubicBezTo>
                    <a:cubicBezTo>
                      <a:pt x="0" y="11652"/>
                      <a:pt x="3361" y="15012"/>
                      <a:pt x="7506" y="15012"/>
                    </a:cubicBezTo>
                    <a:lnTo>
                      <a:pt x="236271" y="15012"/>
                    </a:lnTo>
                    <a:cubicBezTo>
                      <a:pt x="240417" y="15012"/>
                      <a:pt x="243778" y="11652"/>
                      <a:pt x="243778" y="7506"/>
                    </a:cubicBezTo>
                    <a:cubicBezTo>
                      <a:pt x="243778" y="3361"/>
                      <a:pt x="240417" y="0"/>
                      <a:pt x="236271" y="0"/>
                    </a:cubicBez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4" name="Google Shape;1324;p6"/>
              <p:cNvSpPr/>
              <p:nvPr/>
            </p:nvSpPr>
            <p:spPr>
              <a:xfrm>
                <a:off x="6756508" y="2491764"/>
                <a:ext cx="193018" cy="12868"/>
              </a:xfrm>
              <a:custGeom>
                <a:avLst/>
                <a:gdLst/>
                <a:ahLst/>
                <a:cxnLst/>
                <a:rect l="l" t="t" r="r" b="b"/>
                <a:pathLst>
                  <a:path w="193018" h="12867" extrusionOk="0">
                    <a:moveTo>
                      <a:pt x="187657" y="15012"/>
                    </a:moveTo>
                    <a:cubicBezTo>
                      <a:pt x="191802" y="15012"/>
                      <a:pt x="195163" y="11652"/>
                      <a:pt x="195163" y="7506"/>
                    </a:cubicBezTo>
                    <a:cubicBezTo>
                      <a:pt x="195163" y="3361"/>
                      <a:pt x="191802" y="0"/>
                      <a:pt x="187657" y="0"/>
                    </a:cubicBezTo>
                    <a:lnTo>
                      <a:pt x="7506" y="0"/>
                    </a:lnTo>
                    <a:cubicBezTo>
                      <a:pt x="3361" y="0"/>
                      <a:pt x="0" y="3361"/>
                      <a:pt x="0" y="7506"/>
                    </a:cubicBezTo>
                    <a:cubicBezTo>
                      <a:pt x="0" y="11652"/>
                      <a:pt x="3361" y="15012"/>
                      <a:pt x="7506" y="15012"/>
                    </a:cubicBez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cxnSp>
        <p:nvCxnSpPr>
          <p:cNvPr id="1325" name="Google Shape;1325;p6"/>
          <p:cNvCxnSpPr/>
          <p:nvPr/>
        </p:nvCxnSpPr>
        <p:spPr>
          <a:xfrm>
            <a:off x="2856889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26" name="Google Shape;1326;p6"/>
          <p:cNvGrpSpPr/>
          <p:nvPr/>
        </p:nvGrpSpPr>
        <p:grpSpPr>
          <a:xfrm>
            <a:off x="7663461" y="1654660"/>
            <a:ext cx="747446" cy="747446"/>
            <a:chOff x="6541511" y="2135586"/>
            <a:chExt cx="607739" cy="607739"/>
          </a:xfrm>
        </p:grpSpPr>
        <p:sp>
          <p:nvSpPr>
            <p:cNvPr id="1327" name="Google Shape;1327;p6"/>
            <p:cNvSpPr/>
            <p:nvPr/>
          </p:nvSpPr>
          <p:spPr>
            <a:xfrm>
              <a:off x="6541511" y="2135586"/>
              <a:ext cx="607739" cy="607739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28" name="Google Shape;1328;p6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6679898" y="2259322"/>
              <a:ext cx="339104" cy="339104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1329" name="Google Shape;1329;p6"/>
          <p:cNvCxnSpPr>
            <a:stCxn id="1330" idx="4"/>
            <a:endCxn id="1288" idx="2"/>
          </p:cNvCxnSpPr>
          <p:nvPr/>
        </p:nvCxnSpPr>
        <p:spPr>
          <a:xfrm rot="-5400000" flipH="1">
            <a:off x="6792906" y="2310886"/>
            <a:ext cx="1476300" cy="157800"/>
          </a:xfrm>
          <a:prstGeom prst="bentConnector2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331" name="Google Shape;1331;p6"/>
          <p:cNvCxnSpPr>
            <a:stCxn id="1330" idx="4"/>
            <a:endCxn id="1291" idx="2"/>
          </p:cNvCxnSpPr>
          <p:nvPr/>
        </p:nvCxnSpPr>
        <p:spPr>
          <a:xfrm rot="-5400000" flipH="1">
            <a:off x="6241506" y="2862286"/>
            <a:ext cx="2632500" cy="211200"/>
          </a:xfrm>
          <a:prstGeom prst="bentConnector2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332" name="Google Shape;1332;p6"/>
          <p:cNvCxnSpPr>
            <a:stCxn id="1330" idx="4"/>
            <a:endCxn id="1327" idx="2"/>
          </p:cNvCxnSpPr>
          <p:nvPr/>
        </p:nvCxnSpPr>
        <p:spPr>
          <a:xfrm rot="-5400000" flipH="1">
            <a:off x="7369356" y="1734436"/>
            <a:ext cx="376800" cy="211200"/>
          </a:xfrm>
          <a:prstGeom prst="bentConnector2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0" name="Google Shape;1330;p6"/>
          <p:cNvSpPr/>
          <p:nvPr/>
        </p:nvSpPr>
        <p:spPr>
          <a:xfrm>
            <a:off x="7352792" y="1452908"/>
            <a:ext cx="198728" cy="198728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Google Shape;507;p134">
            <a:extLst>
              <a:ext uri="{FF2B5EF4-FFF2-40B4-BE49-F238E27FC236}">
                <a16:creationId xmlns:a16="http://schemas.microsoft.com/office/drawing/2014/main" id="{08CAC317-D266-2915-0C5D-0350286C2E38}"/>
              </a:ext>
            </a:extLst>
          </p:cNvPr>
          <p:cNvSpPr txBox="1">
            <a:spLocks/>
          </p:cNvSpPr>
          <p:nvPr/>
        </p:nvSpPr>
        <p:spPr>
          <a:xfrm>
            <a:off x="4030662" y="5547202"/>
            <a:ext cx="264662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2400"/>
            </a:pPr>
            <a:r>
              <a:rPr lang="en-US" sz="2400" dirty="0">
                <a:solidFill>
                  <a:schemeClr val="accent1"/>
                </a:solidFill>
                <a:latin typeface="Franklin Gothic"/>
                <a:sym typeface="Franklin Gothic"/>
              </a:rPr>
              <a:t>Data Analytics</a:t>
            </a:r>
            <a:endParaRPr sz="2400" dirty="0">
              <a:solidFill>
                <a:schemeClr val="accent1"/>
              </a:solidFill>
              <a:latin typeface="Franklin Gothic"/>
            </a:endParaRPr>
          </a:p>
        </p:txBody>
      </p:sp>
      <p:sp>
        <p:nvSpPr>
          <p:cNvPr id="3" name="Google Shape;511;p134">
            <a:extLst>
              <a:ext uri="{FF2B5EF4-FFF2-40B4-BE49-F238E27FC236}">
                <a16:creationId xmlns:a16="http://schemas.microsoft.com/office/drawing/2014/main" id="{9DF63F05-151B-4DC4-D98A-6CC0B52B462D}"/>
              </a:ext>
            </a:extLst>
          </p:cNvPr>
          <p:cNvSpPr>
            <a:spLocks/>
          </p:cNvSpPr>
          <p:nvPr/>
        </p:nvSpPr>
        <p:spPr>
          <a:xfrm>
            <a:off x="4030662" y="5960078"/>
            <a:ext cx="2955656" cy="6140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Analyzing data to extract relevant insights and identify trends to answer business questions</a:t>
            </a:r>
            <a:endParaRPr lang="en-US" sz="1400" b="0" i="0" u="none" strike="noStrike" cap="none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" name="Google Shape;523;p134">
            <a:extLst>
              <a:ext uri="{FF2B5EF4-FFF2-40B4-BE49-F238E27FC236}">
                <a16:creationId xmlns:a16="http://schemas.microsoft.com/office/drawing/2014/main" id="{B8CF521A-634A-E07B-D406-D3BCBA93836C}"/>
              </a:ext>
            </a:extLst>
          </p:cNvPr>
          <p:cNvSpPr/>
          <p:nvPr/>
        </p:nvSpPr>
        <p:spPr>
          <a:xfrm>
            <a:off x="2804471" y="5579183"/>
            <a:ext cx="1008088" cy="1008088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4A8757-EDC4-EA26-C4FB-1D6D441B987D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/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41571" y="5797265"/>
            <a:ext cx="540098" cy="54009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8" name="Google Shape;1388;p74"/>
          <p:cNvSpPr txBox="1">
            <a:spLocks noGrp="1"/>
          </p:cNvSpPr>
          <p:nvPr>
            <p:ph type="title"/>
          </p:nvPr>
        </p:nvSpPr>
        <p:spPr>
          <a:xfrm>
            <a:off x="737591" y="4477767"/>
            <a:ext cx="8494899" cy="830997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8235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</a:pPr>
            <a:r>
              <a:rPr lang="en-US"/>
              <a:t>Data Research</a:t>
            </a:r>
            <a:endParaRPr/>
          </a:p>
        </p:txBody>
      </p:sp>
      <p:sp>
        <p:nvSpPr>
          <p:cNvPr id="1389" name="Google Shape;1389;p7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7" name="Google Shape;1407;p9"/>
          <p:cNvSpPr/>
          <p:nvPr/>
        </p:nvSpPr>
        <p:spPr>
          <a:xfrm>
            <a:off x="550863" y="1562582"/>
            <a:ext cx="3387145" cy="4734829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3333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8" name="Google Shape;1408;p9"/>
          <p:cNvSpPr/>
          <p:nvPr/>
        </p:nvSpPr>
        <p:spPr>
          <a:xfrm>
            <a:off x="4412108" y="1562582"/>
            <a:ext cx="3387145" cy="4734829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3333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9" name="Google Shape;1409;p9"/>
          <p:cNvSpPr/>
          <p:nvPr/>
        </p:nvSpPr>
        <p:spPr>
          <a:xfrm>
            <a:off x="8273352" y="1562582"/>
            <a:ext cx="3387145" cy="4734829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3333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0" name="Google Shape;1410;p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/>
              <a:t>Infomineo offers a complete range of Research services</a:t>
            </a:r>
            <a:endParaRPr/>
          </a:p>
        </p:txBody>
      </p:sp>
      <p:sp>
        <p:nvSpPr>
          <p:cNvPr id="1411" name="Google Shape;1411;p9"/>
          <p:cNvSpPr txBox="1"/>
          <p:nvPr/>
        </p:nvSpPr>
        <p:spPr>
          <a:xfrm>
            <a:off x="1922076" y="2346436"/>
            <a:ext cx="1867604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Country selection, demographics, economy, doing business etc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2" name="Google Shape;1412;p9"/>
          <p:cNvSpPr/>
          <p:nvPr/>
        </p:nvSpPr>
        <p:spPr>
          <a:xfrm>
            <a:off x="8690485" y="1772498"/>
            <a:ext cx="255287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Three Types of Suppor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3" name="Google Shape;1413;p9"/>
          <p:cNvSpPr/>
          <p:nvPr/>
        </p:nvSpPr>
        <p:spPr>
          <a:xfrm>
            <a:off x="4549902" y="1772498"/>
            <a:ext cx="311155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ombination of Approach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4" name="Google Shape;1414;p9"/>
          <p:cNvSpPr/>
          <p:nvPr/>
        </p:nvSpPr>
        <p:spPr>
          <a:xfrm>
            <a:off x="902337" y="1772498"/>
            <a:ext cx="26841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Four Levels of Research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5" name="Google Shape;1415;p9"/>
          <p:cNvSpPr/>
          <p:nvPr/>
        </p:nvSpPr>
        <p:spPr>
          <a:xfrm rot="5400000">
            <a:off x="740300" y="2260293"/>
            <a:ext cx="1039080" cy="1029893"/>
          </a:xfrm>
          <a:prstGeom prst="homePlate">
            <a:avLst>
              <a:gd name="adj" fmla="val 18367"/>
            </a:avLst>
          </a:prstGeom>
          <a:solidFill>
            <a:schemeClr val="lt1">
              <a:alpha val="48235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6" name="Google Shape;1416;p9"/>
          <p:cNvSpPr/>
          <p:nvPr/>
        </p:nvSpPr>
        <p:spPr>
          <a:xfrm rot="5400000">
            <a:off x="743513" y="3217739"/>
            <a:ext cx="1039080" cy="1029893"/>
          </a:xfrm>
          <a:prstGeom prst="chevron">
            <a:avLst>
              <a:gd name="adj" fmla="val 17686"/>
            </a:avLst>
          </a:prstGeom>
          <a:solidFill>
            <a:schemeClr val="lt1">
              <a:alpha val="48235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7" name="Google Shape;1417;p9"/>
          <p:cNvSpPr/>
          <p:nvPr/>
        </p:nvSpPr>
        <p:spPr>
          <a:xfrm rot="5400000">
            <a:off x="743513" y="4175186"/>
            <a:ext cx="1039080" cy="1029893"/>
          </a:xfrm>
          <a:prstGeom prst="chevron">
            <a:avLst>
              <a:gd name="adj" fmla="val 17686"/>
            </a:avLst>
          </a:prstGeom>
          <a:solidFill>
            <a:schemeClr val="lt1">
              <a:alpha val="48235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9"/>
          <p:cNvSpPr/>
          <p:nvPr/>
        </p:nvSpPr>
        <p:spPr>
          <a:xfrm rot="5400000">
            <a:off x="743513" y="5132633"/>
            <a:ext cx="1039080" cy="1029893"/>
          </a:xfrm>
          <a:prstGeom prst="chevron">
            <a:avLst>
              <a:gd name="adj" fmla="val 17686"/>
            </a:avLst>
          </a:prstGeom>
          <a:solidFill>
            <a:schemeClr val="lt1">
              <a:alpha val="48235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9" name="Google Shape;1419;p9"/>
          <p:cNvSpPr txBox="1"/>
          <p:nvPr/>
        </p:nvSpPr>
        <p:spPr>
          <a:xfrm>
            <a:off x="787400" y="2520379"/>
            <a:ext cx="944880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Country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0" name="Google Shape;1420;p9"/>
          <p:cNvSpPr txBox="1"/>
          <p:nvPr/>
        </p:nvSpPr>
        <p:spPr>
          <a:xfrm>
            <a:off x="787400" y="3589586"/>
            <a:ext cx="944880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arket</a:t>
            </a:r>
            <a:endParaRPr sz="1200" b="0" i="0" u="none" strike="noStrike" cap="none">
              <a:solidFill>
                <a:srgbClr val="3D3D3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1" name="Google Shape;1421;p9"/>
          <p:cNvSpPr txBox="1"/>
          <p:nvPr/>
        </p:nvSpPr>
        <p:spPr>
          <a:xfrm>
            <a:off x="787400" y="4536873"/>
            <a:ext cx="944880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Company</a:t>
            </a:r>
            <a:endParaRPr sz="1200" b="0" i="0" u="none" strike="noStrike" cap="none">
              <a:solidFill>
                <a:srgbClr val="3D3D3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2" name="Google Shape;1422;p9"/>
          <p:cNvSpPr txBox="1"/>
          <p:nvPr/>
        </p:nvSpPr>
        <p:spPr>
          <a:xfrm>
            <a:off x="787400" y="5465315"/>
            <a:ext cx="944880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Consumer/ Expert</a:t>
            </a:r>
            <a:endParaRPr sz="1200" b="0" i="0" u="none" strike="noStrike" cap="none">
              <a:solidFill>
                <a:srgbClr val="3D3D3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3" name="Google Shape;1423;p9"/>
          <p:cNvSpPr txBox="1"/>
          <p:nvPr/>
        </p:nvSpPr>
        <p:spPr>
          <a:xfrm>
            <a:off x="1922076" y="3211006"/>
            <a:ext cx="1867604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arket sizing, competitive landscaping, road to market/value chain mapping etc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4" name="Google Shape;1424;p9"/>
          <p:cNvSpPr txBox="1"/>
          <p:nvPr/>
        </p:nvSpPr>
        <p:spPr>
          <a:xfrm>
            <a:off x="1922076" y="4190912"/>
            <a:ext cx="1867604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Company financials, company profiling, supplier/client identification etc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5" name="Google Shape;1425;p9"/>
          <p:cNvSpPr txBox="1"/>
          <p:nvPr/>
        </p:nvSpPr>
        <p:spPr>
          <a:xfrm>
            <a:off x="1922076" y="5155031"/>
            <a:ext cx="1867604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Performing online surveys, getting insights from social listening, organising expert interview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26" name="Google Shape;1426;p9"/>
          <p:cNvGrpSpPr/>
          <p:nvPr/>
        </p:nvGrpSpPr>
        <p:grpSpPr>
          <a:xfrm>
            <a:off x="4972362" y="3358004"/>
            <a:ext cx="2266638" cy="2074300"/>
            <a:chOff x="4972362" y="3358004"/>
            <a:chExt cx="2266638" cy="2074300"/>
          </a:xfrm>
        </p:grpSpPr>
        <p:sp>
          <p:nvSpPr>
            <p:cNvPr id="1427" name="Google Shape;1427;p9"/>
            <p:cNvSpPr/>
            <p:nvPr/>
          </p:nvSpPr>
          <p:spPr>
            <a:xfrm>
              <a:off x="4972362" y="3358004"/>
              <a:ext cx="1254110" cy="1254111"/>
            </a:xfrm>
            <a:prstGeom prst="flowChartConnector">
              <a:avLst/>
            </a:prstGeom>
            <a:solidFill>
              <a:schemeClr val="lt1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8" name="Google Shape;1428;p9"/>
            <p:cNvSpPr/>
            <p:nvPr/>
          </p:nvSpPr>
          <p:spPr>
            <a:xfrm>
              <a:off x="5984890" y="3358004"/>
              <a:ext cx="1254110" cy="1254111"/>
            </a:xfrm>
            <a:prstGeom prst="flowChartConnector">
              <a:avLst/>
            </a:prstGeom>
            <a:solidFill>
              <a:schemeClr val="lt1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9" name="Google Shape;1429;p9"/>
            <p:cNvSpPr/>
            <p:nvPr/>
          </p:nvSpPr>
          <p:spPr>
            <a:xfrm>
              <a:off x="5478626" y="4178193"/>
              <a:ext cx="1254110" cy="1254111"/>
            </a:xfrm>
            <a:prstGeom prst="flowChartConnector">
              <a:avLst/>
            </a:prstGeom>
            <a:solidFill>
              <a:schemeClr val="lt1"/>
            </a:solidFill>
            <a:ln w="2857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30" name="Google Shape;1430;p9"/>
          <p:cNvSpPr txBox="1"/>
          <p:nvPr/>
        </p:nvSpPr>
        <p:spPr>
          <a:xfrm>
            <a:off x="5186824" y="3782758"/>
            <a:ext cx="635046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esk</a:t>
            </a:r>
            <a:b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research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1" name="Google Shape;1431;p9"/>
          <p:cNvSpPr txBox="1"/>
          <p:nvPr/>
        </p:nvSpPr>
        <p:spPr>
          <a:xfrm>
            <a:off x="6388685" y="3782758"/>
            <a:ext cx="635046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Primary</a:t>
            </a:r>
            <a:b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research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2" name="Google Shape;1432;p9"/>
          <p:cNvSpPr txBox="1"/>
          <p:nvPr/>
        </p:nvSpPr>
        <p:spPr>
          <a:xfrm>
            <a:off x="5635505" y="4757294"/>
            <a:ext cx="975139" cy="38779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Tech enabled</a:t>
            </a:r>
            <a:b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research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3" name="Google Shape;1433;p9"/>
          <p:cNvSpPr txBox="1"/>
          <p:nvPr/>
        </p:nvSpPr>
        <p:spPr>
          <a:xfrm>
            <a:off x="4688194" y="2459099"/>
            <a:ext cx="1361221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Open sources and paid sources such as Orbis, Capital IQ and Factiv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4" name="Google Shape;1434;p9"/>
          <p:cNvSpPr txBox="1"/>
          <p:nvPr/>
        </p:nvSpPr>
        <p:spPr>
          <a:xfrm>
            <a:off x="6133874" y="2687986"/>
            <a:ext cx="1505683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Via online surveys,  cold calling, and Expert interview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5" name="Google Shape;1435;p9"/>
          <p:cNvSpPr txBox="1"/>
          <p:nvPr/>
        </p:nvSpPr>
        <p:spPr>
          <a:xfrm>
            <a:off x="5031283" y="5511020"/>
            <a:ext cx="2148794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Social listening, web scrap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6" name="Google Shape;1436;p9"/>
          <p:cNvSpPr/>
          <p:nvPr/>
        </p:nvSpPr>
        <p:spPr>
          <a:xfrm>
            <a:off x="8415054" y="2255699"/>
            <a:ext cx="1115025" cy="1115026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" name="Google Shape;1437;p9"/>
          <p:cNvSpPr/>
          <p:nvPr/>
        </p:nvSpPr>
        <p:spPr>
          <a:xfrm>
            <a:off x="8415054" y="3633852"/>
            <a:ext cx="1115025" cy="1115026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8" name="Google Shape;1438;p9"/>
          <p:cNvSpPr/>
          <p:nvPr/>
        </p:nvSpPr>
        <p:spPr>
          <a:xfrm>
            <a:off x="8415054" y="5012004"/>
            <a:ext cx="1115025" cy="1115026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9" name="Google Shape;1439;p9"/>
          <p:cNvSpPr txBox="1"/>
          <p:nvPr/>
        </p:nvSpPr>
        <p:spPr>
          <a:xfrm>
            <a:off x="8708872" y="2716263"/>
            <a:ext cx="527388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Ad-hoc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0" name="Google Shape;1440;p9"/>
          <p:cNvSpPr txBox="1"/>
          <p:nvPr/>
        </p:nvSpPr>
        <p:spPr>
          <a:xfrm>
            <a:off x="8604070" y="4093963"/>
            <a:ext cx="676082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Tracking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9"/>
          <p:cNvSpPr txBox="1"/>
          <p:nvPr/>
        </p:nvSpPr>
        <p:spPr>
          <a:xfrm>
            <a:off x="8478553" y="5375618"/>
            <a:ext cx="988026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Content</a:t>
            </a:r>
            <a:b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1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evelopment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2" name="Google Shape;1442;p9"/>
          <p:cNvSpPr txBox="1"/>
          <p:nvPr/>
        </p:nvSpPr>
        <p:spPr>
          <a:xfrm>
            <a:off x="9653405" y="5278668"/>
            <a:ext cx="1790489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base creation, thought leadership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3" name="Google Shape;1443;p9"/>
          <p:cNvSpPr txBox="1"/>
          <p:nvPr/>
        </p:nvSpPr>
        <p:spPr>
          <a:xfrm>
            <a:off x="9653405" y="3790395"/>
            <a:ext cx="1790489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Preparing newsletters, regular benchmarking, tracking competitive moves etc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4" name="Google Shape;1444;p9"/>
          <p:cNvSpPr txBox="1"/>
          <p:nvPr/>
        </p:nvSpPr>
        <p:spPr>
          <a:xfrm>
            <a:off x="9653405" y="2328465"/>
            <a:ext cx="1790489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Answering research requests to support project execution, proposal development or internal discuss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45" name="Google Shape;1445;p9"/>
          <p:cNvGrpSpPr/>
          <p:nvPr/>
        </p:nvGrpSpPr>
        <p:grpSpPr>
          <a:xfrm>
            <a:off x="10976464" y="135255"/>
            <a:ext cx="1046733" cy="468742"/>
            <a:chOff x="10976464" y="135255"/>
            <a:chExt cx="1046733" cy="468742"/>
          </a:xfrm>
        </p:grpSpPr>
        <p:sp>
          <p:nvSpPr>
            <p:cNvPr id="1446" name="Google Shape;1446;p9"/>
            <p:cNvSpPr txBox="1"/>
            <p:nvPr/>
          </p:nvSpPr>
          <p:spPr>
            <a:xfrm>
              <a:off x="10976464" y="292682"/>
              <a:ext cx="533800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0" i="0" u="none" strike="noStrike" cap="none">
                  <a:solidFill>
                    <a:schemeClr val="dk2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Research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47" name="Google Shape;1447;p9"/>
            <p:cNvSpPr/>
            <p:nvPr/>
          </p:nvSpPr>
          <p:spPr>
            <a:xfrm>
              <a:off x="11554453" y="135255"/>
              <a:ext cx="468744" cy="468742"/>
            </a:xfrm>
            <a:prstGeom prst="ellipse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48" name="Google Shape;1448;p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1641138" y="237175"/>
              <a:ext cx="269974" cy="269974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9" name="Google Shape;1509;p2"/>
          <p:cNvPicPr preferRelativeResize="0"/>
          <p:nvPr/>
        </p:nvPicPr>
        <p:blipFill rotWithShape="1">
          <a:blip r:embed="rId3">
            <a:alphaModFix/>
          </a:blip>
          <a:srcRect t="4770" b="9326"/>
          <a:stretch/>
        </p:blipFill>
        <p:spPr>
          <a:xfrm>
            <a:off x="531813" y="4560671"/>
            <a:ext cx="1359853" cy="292034"/>
          </a:xfrm>
          <a:prstGeom prst="rect">
            <a:avLst/>
          </a:prstGeom>
          <a:noFill/>
          <a:ln>
            <a:noFill/>
          </a:ln>
        </p:spPr>
      </p:pic>
      <p:pic>
        <p:nvPicPr>
          <p:cNvPr id="1510" name="Google Shape;1510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31813" y="3034337"/>
            <a:ext cx="1176802" cy="3661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11" name="Google Shape;1511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31813" y="5057924"/>
            <a:ext cx="1743554" cy="495967"/>
          </a:xfrm>
          <a:prstGeom prst="rect">
            <a:avLst/>
          </a:prstGeom>
          <a:noFill/>
          <a:ln>
            <a:noFill/>
          </a:ln>
        </p:spPr>
      </p:pic>
      <p:pic>
        <p:nvPicPr>
          <p:cNvPr id="1512" name="Google Shape;1512;p2" descr="Factiva - Global News Monitoring &amp; Search Engine | Dow Jones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66317" y="3915843"/>
            <a:ext cx="1970429" cy="383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13" name="Google Shape;1513;p2" descr="In a rush to learn S&amp;P Capital IQ? Watch some videos! | SFU Library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31813" y="1742226"/>
            <a:ext cx="1892606" cy="588497"/>
          </a:xfrm>
          <a:prstGeom prst="rect">
            <a:avLst/>
          </a:prstGeom>
          <a:noFill/>
          <a:ln>
            <a:noFill/>
          </a:ln>
        </p:spPr>
      </p:pic>
      <p:sp>
        <p:nvSpPr>
          <p:cNvPr id="1514" name="Google Shape;1514;p2"/>
          <p:cNvSpPr txBox="1">
            <a:spLocks noGrp="1"/>
          </p:cNvSpPr>
          <p:nvPr>
            <p:ph type="title"/>
          </p:nvPr>
        </p:nvSpPr>
        <p:spPr>
          <a:xfrm>
            <a:off x="53181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</a:pPr>
            <a:r>
              <a:rPr lang="en-US"/>
              <a:t>Some databases and tools we subscribe to</a:t>
            </a:r>
            <a:endParaRPr/>
          </a:p>
        </p:txBody>
      </p:sp>
      <p:sp>
        <p:nvSpPr>
          <p:cNvPr id="1515" name="Google Shape;1515;p2"/>
          <p:cNvSpPr txBox="1"/>
          <p:nvPr/>
        </p:nvSpPr>
        <p:spPr>
          <a:xfrm>
            <a:off x="2932662" y="993008"/>
            <a:ext cx="1513235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00B9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Functionalities</a:t>
            </a:r>
            <a:endParaRPr sz="1100" b="0" i="0" u="none" strike="noStrike" cap="none">
              <a:solidFill>
                <a:srgbClr val="000000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sp>
        <p:nvSpPr>
          <p:cNvPr id="1516" name="Google Shape;1516;p2"/>
          <p:cNvSpPr txBox="1"/>
          <p:nvPr/>
        </p:nvSpPr>
        <p:spPr>
          <a:xfrm>
            <a:off x="8090499" y="993008"/>
            <a:ext cx="205505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0F47F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Use cases examples</a:t>
            </a:r>
            <a:endParaRPr sz="1100" b="0" i="0" u="none" strike="noStrike" cap="none">
              <a:solidFill>
                <a:srgbClr val="000000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sp>
        <p:nvSpPr>
          <p:cNvPr id="1517" name="Google Shape;1517;p2"/>
          <p:cNvSpPr txBox="1"/>
          <p:nvPr/>
        </p:nvSpPr>
        <p:spPr>
          <a:xfrm>
            <a:off x="531813" y="993008"/>
            <a:ext cx="963405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00B9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Database</a:t>
            </a:r>
            <a:endParaRPr sz="1100" b="0" i="0" u="none" strike="noStrike" cap="none">
              <a:solidFill>
                <a:srgbClr val="000000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sp>
        <p:nvSpPr>
          <p:cNvPr id="1518" name="Google Shape;1518;p2"/>
          <p:cNvSpPr txBox="1"/>
          <p:nvPr/>
        </p:nvSpPr>
        <p:spPr>
          <a:xfrm>
            <a:off x="2932662" y="2829596"/>
            <a:ext cx="4727416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Qualitative and quantitative information on public and private compan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Generating a list of companies based on criteria (eg: location, industry, siz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9" name="Google Shape;1519;p2"/>
          <p:cNvSpPr txBox="1"/>
          <p:nvPr/>
        </p:nvSpPr>
        <p:spPr>
          <a:xfrm>
            <a:off x="2932662" y="3719667"/>
            <a:ext cx="4727416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Press search based on advanced and proprietary Boolean operato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News alerts on companies/ industr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Access to premium and sectorial press sources (eg: FT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0" name="Google Shape;1520;p2"/>
          <p:cNvSpPr txBox="1"/>
          <p:nvPr/>
        </p:nvSpPr>
        <p:spPr>
          <a:xfrm>
            <a:off x="2932662" y="4609738"/>
            <a:ext cx="4727416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Social listening</a:t>
            </a:r>
            <a:endParaRPr sz="1400" b="0" i="0" u="none" strike="noStrike" cap="none">
              <a:solidFill>
                <a:srgbClr val="33333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1" name="Google Shape;1521;p2"/>
          <p:cNvSpPr txBox="1"/>
          <p:nvPr/>
        </p:nvSpPr>
        <p:spPr>
          <a:xfrm>
            <a:off x="2932662" y="1357827"/>
            <a:ext cx="4727416" cy="1357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Qualitative and quantitative information on public and private compan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Generating a list of companies based on criteria (eg: location, industry, siz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Generating a list of transactions (M&amp;A or other forms) based on the same criteri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Creating advanced excel models using proprietary formula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22" name="Google Shape;1522;p2"/>
          <p:cNvCxnSpPr/>
          <p:nvPr/>
        </p:nvCxnSpPr>
        <p:spPr>
          <a:xfrm>
            <a:off x="550863" y="1300590"/>
            <a:ext cx="11107737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523" name="Google Shape;1523;p2"/>
          <p:cNvCxnSpPr/>
          <p:nvPr/>
        </p:nvCxnSpPr>
        <p:spPr>
          <a:xfrm>
            <a:off x="550842" y="6308718"/>
            <a:ext cx="111078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524" name="Google Shape;1524;p2"/>
          <p:cNvCxnSpPr/>
          <p:nvPr/>
        </p:nvCxnSpPr>
        <p:spPr>
          <a:xfrm>
            <a:off x="539401" y="2772359"/>
            <a:ext cx="111192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525" name="Google Shape;1525;p2"/>
          <p:cNvCxnSpPr/>
          <p:nvPr/>
        </p:nvCxnSpPr>
        <p:spPr>
          <a:xfrm>
            <a:off x="539401" y="3662430"/>
            <a:ext cx="111192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526" name="Google Shape;1526;p2"/>
          <p:cNvCxnSpPr/>
          <p:nvPr/>
        </p:nvCxnSpPr>
        <p:spPr>
          <a:xfrm>
            <a:off x="539401" y="4552501"/>
            <a:ext cx="111192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527" name="Google Shape;1527;p2"/>
          <p:cNvSpPr txBox="1"/>
          <p:nvPr/>
        </p:nvSpPr>
        <p:spPr>
          <a:xfrm>
            <a:off x="8090499" y="2829596"/>
            <a:ext cx="3550638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op XX companies in YY industr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Financial ratios for a list of compan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Batch search for 100+ compan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8" name="Google Shape;1528;p2"/>
          <p:cNvSpPr txBox="1"/>
          <p:nvPr/>
        </p:nvSpPr>
        <p:spPr>
          <a:xfrm>
            <a:off x="8090499" y="3719667"/>
            <a:ext cx="3550638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Weekly newsletter on XX industr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Key developments of a company in the past xx yea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Market trends and analys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9" name="Google Shape;1529;p2"/>
          <p:cNvSpPr txBox="1"/>
          <p:nvPr/>
        </p:nvSpPr>
        <p:spPr>
          <a:xfrm>
            <a:off x="8090499" y="4609738"/>
            <a:ext cx="3550638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Evaluating brand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0" name="Google Shape;1530;p2"/>
          <p:cNvSpPr txBox="1"/>
          <p:nvPr/>
        </p:nvSpPr>
        <p:spPr>
          <a:xfrm>
            <a:off x="8090499" y="1357827"/>
            <a:ext cx="3550638" cy="1357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op XX companies in YY industr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List of IPOs in a specific timeframe and industr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High level company profile of 10 play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CEOs change in S&amp;P 500 companies in the last xx yea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SR and stock data for a list of compan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31" name="Google Shape;1531;p2"/>
          <p:cNvCxnSpPr/>
          <p:nvPr/>
        </p:nvCxnSpPr>
        <p:spPr>
          <a:xfrm>
            <a:off x="539401" y="4860874"/>
            <a:ext cx="111192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532" name="Google Shape;1532;p2"/>
          <p:cNvSpPr txBox="1"/>
          <p:nvPr/>
        </p:nvSpPr>
        <p:spPr>
          <a:xfrm>
            <a:off x="2932662" y="4918111"/>
            <a:ext cx="4727416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Market data and pric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Company data (including investment research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M&amp;A transact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Projects data in MEA reg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3" name="Google Shape;1533;p2"/>
          <p:cNvSpPr txBox="1"/>
          <p:nvPr/>
        </p:nvSpPr>
        <p:spPr>
          <a:xfrm>
            <a:off x="8090499" y="4918111"/>
            <a:ext cx="3550638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List of projects in specific industries with their projects valu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Analyst reports on public compan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34" name="Google Shape;1534;p2"/>
          <p:cNvCxnSpPr/>
          <p:nvPr/>
        </p:nvCxnSpPr>
        <p:spPr>
          <a:xfrm>
            <a:off x="582527" y="5735694"/>
            <a:ext cx="111192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dash"/>
            <a:miter lim="800000"/>
            <a:headEnd type="none" w="sm" len="sm"/>
            <a:tailEnd type="none" w="sm" len="sm"/>
          </a:ln>
        </p:spPr>
      </p:cxnSp>
      <p:pic>
        <p:nvPicPr>
          <p:cNvPr id="1535" name="Google Shape;1535;p2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481295" y="5845340"/>
            <a:ext cx="1844590" cy="381114"/>
          </a:xfrm>
          <a:prstGeom prst="rect">
            <a:avLst/>
          </a:prstGeom>
          <a:noFill/>
          <a:ln>
            <a:noFill/>
          </a:ln>
        </p:spPr>
      </p:pic>
      <p:sp>
        <p:nvSpPr>
          <p:cNvPr id="1536" name="Google Shape;1536;p2"/>
          <p:cNvSpPr txBox="1"/>
          <p:nvPr/>
        </p:nvSpPr>
        <p:spPr>
          <a:xfrm>
            <a:off x="2913310" y="5777681"/>
            <a:ext cx="4727416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Market and consumer data on 80 000 topics</a:t>
            </a:r>
            <a:endParaRPr sz="1400" b="0" i="0" u="none" strike="noStrike" cap="none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37" name="Google Shape;1537;p2"/>
          <p:cNvSpPr txBox="1"/>
          <p:nvPr/>
        </p:nvSpPr>
        <p:spPr>
          <a:xfrm>
            <a:off x="8071147" y="5777681"/>
            <a:ext cx="3550638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Consumer trend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" marR="0" lvl="1" indent="-18288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Market driv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D12684-BF2D-36DF-BC22-3B98C9072B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D12684-BF2D-36DF-BC22-3B98C9072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8" name="Google Shape;1388;p74"/>
          <p:cNvSpPr txBox="1">
            <a:spLocks noGrp="1"/>
          </p:cNvSpPr>
          <p:nvPr>
            <p:ph type="title"/>
          </p:nvPr>
        </p:nvSpPr>
        <p:spPr>
          <a:xfrm>
            <a:off x="737591" y="4477767"/>
            <a:ext cx="8494899" cy="830997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</a:pPr>
            <a:r>
              <a:rPr lang="en-US" dirty="0"/>
              <a:t>Data Analytics</a:t>
            </a:r>
            <a:endParaRPr dirty="0"/>
          </a:p>
        </p:txBody>
      </p:sp>
      <p:sp>
        <p:nvSpPr>
          <p:cNvPr id="1389" name="Google Shape;1389;p7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803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FA31E36-F37D-35BF-1D9C-E46E1E6E1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FA31E36-F37D-35BF-1D9C-E46E1E6E1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4" name="Google Shape;1394;p8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5205071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/>
              <a:t>Infomineo has a unique</a:t>
            </a:r>
            <a:br>
              <a:rPr lang="en-US" dirty="0"/>
            </a:br>
            <a:r>
              <a:rPr lang="en-US" dirty="0"/>
              <a:t>approach to Data Analytics</a:t>
            </a:r>
            <a:endParaRPr dirty="0"/>
          </a:p>
        </p:txBody>
      </p:sp>
      <p:sp>
        <p:nvSpPr>
          <p:cNvPr id="1395" name="Google Shape;1395;p8"/>
          <p:cNvSpPr txBox="1"/>
          <p:nvPr/>
        </p:nvSpPr>
        <p:spPr>
          <a:xfrm>
            <a:off x="550863" y="2343394"/>
            <a:ext cx="5193608" cy="41857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st Data analytics companies provide </a:t>
            </a: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ndard models </a:t>
            </a:r>
            <a:r>
              <a:rPr lang="en-US" sz="160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at they transpose from a client to another</a:t>
            </a: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sz="16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ten Data analytics companies provides models that </a:t>
            </a:r>
            <a:r>
              <a:rPr lang="en-US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y in the state of Proof-Of-Concept because integration with IT teams is not complete</a:t>
            </a: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st Data analytics providers are specialized in Visualization tools : Tableau, Power Bi etc.</a:t>
            </a: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lvl="1" indent="-176213"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st providers work on a </a:t>
            </a: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ject basis – </a:t>
            </a:r>
            <a:r>
              <a:rPr lang="en-US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models are afterwards difficult to maintain over time by the clients' teams</a:t>
            </a: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providers retain rights on the Intellectual property they generate</a:t>
            </a:r>
            <a:b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sz="16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6" name="Google Shape;1396;p8"/>
          <p:cNvSpPr txBox="1"/>
          <p:nvPr/>
        </p:nvSpPr>
        <p:spPr>
          <a:xfrm>
            <a:off x="550863" y="1857375"/>
            <a:ext cx="5193608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accent1"/>
                </a:solidFill>
                <a:latin typeface="Lato Black"/>
                <a:ea typeface="Lato Black"/>
                <a:cs typeface="Lato Black"/>
                <a:sym typeface="Lato Black"/>
              </a:rPr>
              <a:t>Traditional mode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7" name="Google Shape;1397;p8"/>
          <p:cNvSpPr txBox="1"/>
          <p:nvPr/>
        </p:nvSpPr>
        <p:spPr>
          <a:xfrm>
            <a:off x="6447529" y="2343394"/>
            <a:ext cx="5193608" cy="3693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 are </a:t>
            </a:r>
            <a:r>
              <a:rPr lang="en-US" sz="16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oblem solvers</a:t>
            </a: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, we need to understand your question or challenge and will find the data &amp; models which answers your questio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84773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None/>
            </a:pPr>
            <a:endParaRPr sz="1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 have a multi capabilities team that can provide you an end-to-end approach from cleaning the data to visualizing the model outpu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84773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None/>
            </a:pPr>
            <a:endParaRPr sz="1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 work on a </a:t>
            </a:r>
            <a:r>
              <a:rPr lang="en-US" sz="16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tainer basis</a:t>
            </a: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, we are an extension of your team, and make it easy to work with us, which 1/minimizes the time you spend on paperwork and 2/allows you to work with us on an iterative basi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84773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None/>
            </a:pPr>
            <a:endParaRPr sz="1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he output is co-constructed with our client and not a model taken off the shelf</a:t>
            </a:r>
            <a:endParaRPr sz="1400" b="0" i="0" u="none" strike="noStrike" cap="none" dirty="0">
              <a:solidFill>
                <a:srgbClr val="000000"/>
              </a:solidFill>
              <a:highlight>
                <a:srgbClr val="0080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8" name="Google Shape;1398;p8"/>
          <p:cNvSpPr txBox="1"/>
          <p:nvPr/>
        </p:nvSpPr>
        <p:spPr>
          <a:xfrm>
            <a:off x="6447529" y="1857375"/>
            <a:ext cx="5193608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accent1"/>
                </a:solidFill>
                <a:latin typeface="Lato Black"/>
                <a:ea typeface="Lato Black"/>
                <a:cs typeface="Lato Black"/>
                <a:sym typeface="Lato Black"/>
              </a:rPr>
              <a:t>Infomineo mode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99" name="Google Shape;1399;p8"/>
          <p:cNvGrpSpPr/>
          <p:nvPr/>
        </p:nvGrpSpPr>
        <p:grpSpPr>
          <a:xfrm>
            <a:off x="10976464" y="135255"/>
            <a:ext cx="1046733" cy="468742"/>
            <a:chOff x="10976464" y="135255"/>
            <a:chExt cx="1046733" cy="468742"/>
          </a:xfrm>
        </p:grpSpPr>
        <p:sp>
          <p:nvSpPr>
            <p:cNvPr id="1400" name="Google Shape;1400;p8"/>
            <p:cNvSpPr txBox="1"/>
            <p:nvPr/>
          </p:nvSpPr>
          <p:spPr>
            <a:xfrm>
              <a:off x="10976464" y="292682"/>
              <a:ext cx="533800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0" i="0" u="none" strike="noStrike" cap="none" dirty="0">
                  <a:solidFill>
                    <a:schemeClr val="lt1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Analytics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1" name="Google Shape;1401;p8"/>
            <p:cNvSpPr/>
            <p:nvPr/>
          </p:nvSpPr>
          <p:spPr>
            <a:xfrm>
              <a:off x="11554453" y="135255"/>
              <a:ext cx="468744" cy="468742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DF02F8F0-C73C-571A-BF70-C42A2FFC5F62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/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612672" y="193473"/>
            <a:ext cx="352305" cy="3523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458727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9</TotalTime>
  <Words>1532</Words>
  <Application>Microsoft Office PowerPoint</Application>
  <PresentationFormat>Widescreen</PresentationFormat>
  <Paragraphs>249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Calibri</vt:lpstr>
      <vt:lpstr>Lato Black</vt:lpstr>
      <vt:lpstr>Arial</vt:lpstr>
      <vt:lpstr>Franklin Gothic</vt:lpstr>
      <vt:lpstr>Libre Franklin</vt:lpstr>
      <vt:lpstr>Noto Sans Symbols</vt:lpstr>
      <vt:lpstr>Office Theme</vt:lpstr>
      <vt:lpstr>think-cell Slide</vt:lpstr>
      <vt:lpstr>Infomineo presentation  </vt:lpstr>
      <vt:lpstr>Infomineo provides global research coverage</vt:lpstr>
      <vt:lpstr>Infomineo, the leader in Brainshoring</vt:lpstr>
      <vt:lpstr>Infomineo offers a suite of Brainshoring services</vt:lpstr>
      <vt:lpstr>Data Research</vt:lpstr>
      <vt:lpstr>Infomineo offers a complete range of Research services</vt:lpstr>
      <vt:lpstr>Some databases and tools we subscribe to</vt:lpstr>
      <vt:lpstr>Data Analytics</vt:lpstr>
      <vt:lpstr>Infomineo has a unique approach to Data Analytics</vt:lpstr>
      <vt:lpstr>Infomineo offers a full suite of Data Analytics Services</vt:lpstr>
      <vt:lpstr>Our approach to helping you</vt:lpstr>
      <vt:lpstr>Technologies Infomineo can handl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mineo  presentation</dc:title>
  <dc:creator>Samson Mathew</dc:creator>
  <cp:lastModifiedBy>Cairo 4</cp:lastModifiedBy>
  <cp:revision>30</cp:revision>
  <dcterms:created xsi:type="dcterms:W3CDTF">2020-10-06T08:44:21Z</dcterms:created>
  <dcterms:modified xsi:type="dcterms:W3CDTF">2023-01-18T07:00:55Z</dcterms:modified>
</cp:coreProperties>
</file>